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sldIdLst>
    <p:sldId id="304" r:id="rId2"/>
    <p:sldId id="316" r:id="rId3"/>
    <p:sldId id="279" r:id="rId4"/>
    <p:sldId id="297" r:id="rId5"/>
    <p:sldId id="317" r:id="rId6"/>
    <p:sldId id="298" r:id="rId7"/>
    <p:sldId id="256" r:id="rId8"/>
    <p:sldId id="275" r:id="rId9"/>
    <p:sldId id="273" r:id="rId10"/>
    <p:sldId id="274" r:id="rId11"/>
    <p:sldId id="320" r:id="rId12"/>
    <p:sldId id="312" r:id="rId13"/>
    <p:sldId id="314" r:id="rId14"/>
    <p:sldId id="259" r:id="rId15"/>
    <p:sldId id="315" r:id="rId16"/>
    <p:sldId id="302" r:id="rId17"/>
    <p:sldId id="291" r:id="rId18"/>
    <p:sldId id="292" r:id="rId19"/>
    <p:sldId id="303" r:id="rId20"/>
    <p:sldId id="305" r:id="rId21"/>
    <p:sldId id="319" r:id="rId22"/>
    <p:sldId id="307" r:id="rId23"/>
    <p:sldId id="309" r:id="rId24"/>
    <p:sldId id="268" r:id="rId25"/>
    <p:sldId id="310" r:id="rId26"/>
    <p:sldId id="313" r:id="rId27"/>
    <p:sldId id="276" r:id="rId28"/>
    <p:sldId id="306" r:id="rId29"/>
    <p:sldId id="308" r:id="rId30"/>
    <p:sldId id="301" r:id="rId31"/>
    <p:sldId id="318" r:id="rId32"/>
    <p:sldId id="300" r:id="rId33"/>
    <p:sldId id="289" r:id="rId34"/>
    <p:sldId id="288" r:id="rId35"/>
    <p:sldId id="285" r:id="rId36"/>
    <p:sldId id="287" r:id="rId37"/>
    <p:sldId id="293" r:id="rId38"/>
    <p:sldId id="294" r:id="rId39"/>
    <p:sldId id="286" r:id="rId40"/>
    <p:sldId id="282" r:id="rId41"/>
    <p:sldId id="284" r:id="rId42"/>
    <p:sldId id="270" r:id="rId43"/>
    <p:sldId id="269" r:id="rId44"/>
    <p:sldId id="272" r:id="rId45"/>
    <p:sldId id="267" r:id="rId46"/>
    <p:sldId id="295" r:id="rId47"/>
    <p:sldId id="265" r:id="rId48"/>
    <p:sldId id="264" r:id="rId49"/>
    <p:sldId id="266" r:id="rId50"/>
    <p:sldId id="263" r:id="rId51"/>
    <p:sldId id="271" r:id="rId52"/>
    <p:sldId id="261" r:id="rId53"/>
    <p:sldId id="260" r:id="rId54"/>
    <p:sldId id="283" r:id="rId55"/>
    <p:sldId id="258" r:id="rId56"/>
    <p:sldId id="257" r:id="rId57"/>
    <p:sldId id="290" r:id="rId58"/>
    <p:sldId id="299" r:id="rId59"/>
    <p:sldId id="280" r:id="rId60"/>
    <p:sldId id="296" r:id="rId61"/>
    <p:sldId id="277" r:id="rId62"/>
    <p:sldId id="278" r:id="rId63"/>
  </p:sldIdLst>
  <p:sldSz cx="12192000" cy="6858000"/>
  <p:notesSz cx="6858000" cy="9144000"/>
  <p:custDataLst>
    <p:tags r:id="rId6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2"/>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4660"/>
  </p:normalViewPr>
  <p:slideViewPr>
    <p:cSldViewPr snapToGrid="0">
      <p:cViewPr varScale="1">
        <p:scale>
          <a:sx n="111" d="100"/>
          <a:sy n="111" d="100"/>
        </p:scale>
        <p:origin x="918" y="9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a:xfrm>
            <a:off x="838200" y="365125"/>
            <a:ext cx="10515600" cy="601033"/>
          </a:xfrm>
        </p:spPr>
        <p:txBody>
          <a:bodyPr>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37.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5297762" y="640080"/>
            <a:ext cx="6251110" cy="3566160"/>
          </a:xfrm>
        </p:spPr>
        <p:txBody>
          <a:bodyPr anchor="b">
            <a:normAutofit/>
          </a:bodyPr>
          <a:lstStyle/>
          <a:p>
            <a:pPr algn="l"/>
            <a:r>
              <a:rPr lang="en-US" sz="5400"/>
              <a:t>SDN based Network Management in Emulated Environment</a:t>
            </a:r>
            <a:endParaRPr lang="en-DE" sz="540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5297760" y="4636008"/>
            <a:ext cx="6251111" cy="1572768"/>
          </a:xfrm>
        </p:spPr>
        <p:txBody>
          <a:bodyPr>
            <a:normAutofit/>
          </a:bodyPr>
          <a:lstStyle/>
          <a:p>
            <a:pPr algn="l"/>
            <a:r>
              <a:rPr lang="en-US" sz="1400" b="0" i="0" u="none" strike="noStrike" baseline="0" dirty="0">
                <a:latin typeface="Times New Roman" panose="02020603050405020304" pitchFamily="18" charset="0"/>
              </a:rPr>
              <a:t>Submitted by: 	Harshal Rajan Vaze 	</a:t>
            </a:r>
          </a:p>
          <a:p>
            <a:pPr algn="l"/>
            <a:r>
              <a:rPr lang="en-US" sz="1400" b="0" i="0" u="none" strike="noStrike" baseline="0" dirty="0">
                <a:latin typeface="Times New Roman" panose="02020603050405020304" pitchFamily="18" charset="0"/>
              </a:rPr>
              <a:t>Matriculation no.: 	1269879 	</a:t>
            </a:r>
          </a:p>
          <a:p>
            <a:pPr algn="l"/>
            <a:r>
              <a:rPr lang="en-US" sz="1400" b="0" i="0" u="none" strike="noStrike" baseline="0" dirty="0">
                <a:latin typeface="Times New Roman" panose="02020603050405020304" pitchFamily="18" charset="0"/>
              </a:rPr>
              <a:t>First examiner: 	Prof. Dr. Ulrich Trick 	</a:t>
            </a:r>
          </a:p>
          <a:p>
            <a:pPr algn="l"/>
            <a:r>
              <a:rPr lang="en-US" sz="1400" b="0" i="0" u="none" strike="noStrike" baseline="0" dirty="0">
                <a:latin typeface="Times New Roman" panose="02020603050405020304" pitchFamily="18" charset="0"/>
              </a:rPr>
              <a:t>Second examiner: 	Prof. Dr. Armin Lehmann 	</a:t>
            </a:r>
          </a:p>
          <a:p>
            <a:pPr algn="l"/>
            <a:r>
              <a:rPr lang="sv-SE" sz="1400" b="0" i="0" u="none" strike="noStrike" baseline="0" dirty="0">
                <a:latin typeface="Times New Roman" panose="02020603050405020304" pitchFamily="18" charset="0"/>
              </a:rPr>
              <a:t>External supervisor: 	Dr. Peter Gröschke </a:t>
            </a:r>
          </a:p>
        </p:txBody>
      </p:sp>
      <p:pic>
        <p:nvPicPr>
          <p:cNvPr id="5" name="Picture 4" descr="3D white lines connected with dots">
            <a:extLst>
              <a:ext uri="{FF2B5EF4-FFF2-40B4-BE49-F238E27FC236}">
                <a16:creationId xmlns:a16="http://schemas.microsoft.com/office/drawing/2014/main" id="{FC74ABD7-9D79-3962-B2C2-9EF72DE2B335}"/>
              </a:ext>
            </a:extLst>
          </p:cNvPr>
          <p:cNvPicPr>
            <a:picLocks noChangeAspect="1"/>
          </p:cNvPicPr>
          <p:nvPr/>
        </p:nvPicPr>
        <p:blipFill rotWithShape="1">
          <a:blip r:embed="rId2"/>
          <a:srcRect l="40029" r="19224"/>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1"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AB7A32-4A25-55A8-49A0-975011BFC2D9}"/>
              </a:ext>
            </a:extLst>
          </p:cNvPr>
          <p:cNvSpPr/>
          <p:nvPr/>
        </p:nvSpPr>
        <p:spPr>
          <a:xfrm>
            <a:off x="5461267" y="4062655"/>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s</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418345" y="2689988"/>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vswitchd</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7624682" y="2675135"/>
            <a:ext cx="1220202"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db-server</a:t>
            </a:r>
            <a:endParaRPr lang="en-DE" sz="1400" dirty="0">
              <a:solidFill>
                <a:sysClr val="windowText" lastClr="000000"/>
              </a:solidFill>
            </a:endParaRPr>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299987" y="1422507"/>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5030862" y="1885939"/>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a:stCxn id="20" idx="0"/>
            <a:endCxn id="10" idx="0"/>
          </p:cNvCxnSpPr>
          <p:nvPr/>
        </p:nvCxnSpPr>
        <p:spPr>
          <a:xfrm>
            <a:off x="5520196" y="1654223"/>
            <a:ext cx="2714587" cy="1020912"/>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151560" y="2003682"/>
            <a:ext cx="927754" cy="523220"/>
          </a:xfrm>
          <a:prstGeom prst="rect">
            <a:avLst/>
          </a:prstGeom>
          <a:noFill/>
        </p:spPr>
        <p:txBody>
          <a:bodyPr wrap="none" rtlCol="0">
            <a:spAutoFit/>
          </a:bodyPr>
          <a:lstStyle/>
          <a:p>
            <a:pPr algn="ctr"/>
            <a:r>
              <a:rPr lang="en-US" sz="1400" dirty="0"/>
              <a:t>OpenFlow</a:t>
            </a:r>
          </a:p>
          <a:p>
            <a:pPr algn="ctr"/>
            <a:r>
              <a:rPr lang="en-US" sz="1400" dirty="0"/>
              <a:t>Protocol</a:t>
            </a:r>
            <a:endParaRPr lang="en-DE" sz="1400"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2998598" y="2512100"/>
            <a:ext cx="868186" cy="276999"/>
          </a:xfrm>
          <a:prstGeom prst="rect">
            <a:avLst/>
          </a:prstGeom>
          <a:noFill/>
        </p:spPr>
        <p:txBody>
          <a:bodyPr wrap="none" rtlCol="0">
            <a:spAutoFit/>
          </a:bodyPr>
          <a:lstStyle/>
          <a:p>
            <a:r>
              <a:rPr lang="en-US" sz="1200" i="1" dirty="0"/>
              <a:t>User Space</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 vSwitch</a:t>
            </a:r>
            <a:endParaRPr lang="en-DE" sz="3600" dirty="0"/>
          </a:p>
        </p:txBody>
      </p:sp>
      <p:sp>
        <p:nvSpPr>
          <p:cNvPr id="22" name="Rectangle: Rounded Corners 21">
            <a:extLst>
              <a:ext uri="{FF2B5EF4-FFF2-40B4-BE49-F238E27FC236}">
                <a16:creationId xmlns:a16="http://schemas.microsoft.com/office/drawing/2014/main" id="{A384E0EB-647D-069E-24E3-4672B514490B}"/>
              </a:ext>
            </a:extLst>
          </p:cNvPr>
          <p:cNvSpPr/>
          <p:nvPr/>
        </p:nvSpPr>
        <p:spPr>
          <a:xfrm>
            <a:off x="3572312" y="4062655"/>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Kernel module</a:t>
            </a:r>
            <a:endParaRPr lang="en-DE" sz="1400" dirty="0">
              <a:solidFill>
                <a:sysClr val="windowText" lastClr="000000"/>
              </a:solidFill>
            </a:endParaRPr>
          </a:p>
        </p:txBody>
      </p:sp>
      <p:cxnSp>
        <p:nvCxnSpPr>
          <p:cNvPr id="32" name="Connector: Elbow 31">
            <a:extLst>
              <a:ext uri="{FF2B5EF4-FFF2-40B4-BE49-F238E27FC236}">
                <a16:creationId xmlns:a16="http://schemas.microsoft.com/office/drawing/2014/main" id="{7267D7B5-B51F-78CF-16C6-BCB7A23A7EC4}"/>
              </a:ext>
            </a:extLst>
          </p:cNvPr>
          <p:cNvCxnSpPr>
            <a:cxnSpLocks/>
            <a:endCxn id="22" idx="0"/>
          </p:cNvCxnSpPr>
          <p:nvPr/>
        </p:nvCxnSpPr>
        <p:spPr>
          <a:xfrm rot="5400000">
            <a:off x="4144229" y="3296791"/>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30953D9-24AE-02B6-AB99-56BE8D53BB4B}"/>
              </a:ext>
            </a:extLst>
          </p:cNvPr>
          <p:cNvCxnSpPr>
            <a:cxnSpLocks/>
          </p:cNvCxnSpPr>
          <p:nvPr/>
        </p:nvCxnSpPr>
        <p:spPr>
          <a:xfrm rot="16200000" flipV="1">
            <a:off x="5107839" y="3299402"/>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9466226-64A5-9344-4965-CCA2ABFF8221}"/>
              </a:ext>
            </a:extLst>
          </p:cNvPr>
          <p:cNvSpPr txBox="1"/>
          <p:nvPr/>
        </p:nvSpPr>
        <p:spPr>
          <a:xfrm>
            <a:off x="6594001" y="1779062"/>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cxnSp>
        <p:nvCxnSpPr>
          <p:cNvPr id="37" name="Straight Arrow Connector 36">
            <a:extLst>
              <a:ext uri="{FF2B5EF4-FFF2-40B4-BE49-F238E27FC236}">
                <a16:creationId xmlns:a16="http://schemas.microsoft.com/office/drawing/2014/main" id="{006C6A1B-EA40-A834-4041-304853618BAA}"/>
              </a:ext>
            </a:extLst>
          </p:cNvPr>
          <p:cNvCxnSpPr>
            <a:cxnSpLocks/>
            <a:stCxn id="10" idx="1"/>
            <a:endCxn id="9" idx="3"/>
          </p:cNvCxnSpPr>
          <p:nvPr/>
        </p:nvCxnSpPr>
        <p:spPr>
          <a:xfrm flipH="1">
            <a:off x="5638548" y="2959444"/>
            <a:ext cx="1986134" cy="1485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EBEDBF5-1BFE-514B-FC52-409DB43CAF6C}"/>
              </a:ext>
            </a:extLst>
          </p:cNvPr>
          <p:cNvSpPr txBox="1"/>
          <p:nvPr/>
        </p:nvSpPr>
        <p:spPr>
          <a:xfrm>
            <a:off x="5810049" y="2953354"/>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sp>
        <p:nvSpPr>
          <p:cNvPr id="41" name="TextBox 40">
            <a:extLst>
              <a:ext uri="{FF2B5EF4-FFF2-40B4-BE49-F238E27FC236}">
                <a16:creationId xmlns:a16="http://schemas.microsoft.com/office/drawing/2014/main" id="{3E5229CD-81E5-AE78-12A1-865327BCDE2B}"/>
              </a:ext>
            </a:extLst>
          </p:cNvPr>
          <p:cNvSpPr txBox="1"/>
          <p:nvPr/>
        </p:nvSpPr>
        <p:spPr>
          <a:xfrm>
            <a:off x="4207912" y="3411711"/>
            <a:ext cx="709490" cy="307777"/>
          </a:xfrm>
          <a:prstGeom prst="rect">
            <a:avLst/>
          </a:prstGeom>
          <a:noFill/>
        </p:spPr>
        <p:txBody>
          <a:bodyPr wrap="none" rtlCol="0">
            <a:spAutoFit/>
          </a:bodyPr>
          <a:lstStyle/>
          <a:p>
            <a:pPr algn="ctr"/>
            <a:r>
              <a:rPr lang="en-US" sz="1400" dirty="0"/>
              <a:t>Netlink</a:t>
            </a:r>
            <a:endParaRPr lang="en-DE" sz="1400" dirty="0"/>
          </a:p>
        </p:txBody>
      </p:sp>
      <p:cxnSp>
        <p:nvCxnSpPr>
          <p:cNvPr id="43" name="Straight Connector 42">
            <a:extLst>
              <a:ext uri="{FF2B5EF4-FFF2-40B4-BE49-F238E27FC236}">
                <a16:creationId xmlns:a16="http://schemas.microsoft.com/office/drawing/2014/main" id="{E1FA58BD-4611-8E35-4554-48152030D4DC}"/>
              </a:ext>
            </a:extLst>
          </p:cNvPr>
          <p:cNvCxnSpPr/>
          <p:nvPr/>
        </p:nvCxnSpPr>
        <p:spPr>
          <a:xfrm flipV="1">
            <a:off x="3079817" y="2464623"/>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66B377A-DE6C-409E-A5CF-AA1364527F98}"/>
              </a:ext>
            </a:extLst>
          </p:cNvPr>
          <p:cNvCxnSpPr/>
          <p:nvPr/>
        </p:nvCxnSpPr>
        <p:spPr>
          <a:xfrm flipV="1">
            <a:off x="3079817" y="3429000"/>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DB8B9C6-32DC-F2E1-D6A1-61344FCEDC17}"/>
              </a:ext>
            </a:extLst>
          </p:cNvPr>
          <p:cNvCxnSpPr>
            <a:cxnSpLocks/>
            <a:stCxn id="4" idx="1"/>
            <a:endCxn id="22" idx="3"/>
          </p:cNvCxnSpPr>
          <p:nvPr/>
        </p:nvCxnSpPr>
        <p:spPr>
          <a:xfrm flipH="1">
            <a:off x="4792515" y="4346964"/>
            <a:ext cx="668752"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Top Corners Snipped 47">
            <a:extLst>
              <a:ext uri="{FF2B5EF4-FFF2-40B4-BE49-F238E27FC236}">
                <a16:creationId xmlns:a16="http://schemas.microsoft.com/office/drawing/2014/main" id="{BC514921-06CE-37E2-7AF9-D91A7081A391}"/>
              </a:ext>
            </a:extLst>
          </p:cNvPr>
          <p:cNvSpPr/>
          <p:nvPr/>
        </p:nvSpPr>
        <p:spPr>
          <a:xfrm>
            <a:off x="3329931" y="5217354"/>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In-Port</a:t>
            </a:r>
            <a:endParaRPr lang="en-DE" sz="1100" dirty="0">
              <a:solidFill>
                <a:sysClr val="windowText" lastClr="000000"/>
              </a:solidFill>
            </a:endParaRPr>
          </a:p>
        </p:txBody>
      </p:sp>
      <p:sp>
        <p:nvSpPr>
          <p:cNvPr id="49" name="Rectangle: Top Corners Snipped 48">
            <a:extLst>
              <a:ext uri="{FF2B5EF4-FFF2-40B4-BE49-F238E27FC236}">
                <a16:creationId xmlns:a16="http://schemas.microsoft.com/office/drawing/2014/main" id="{CB6FAE98-7E95-025A-70D4-7ED0C198F7C8}"/>
              </a:ext>
            </a:extLst>
          </p:cNvPr>
          <p:cNvSpPr/>
          <p:nvPr/>
        </p:nvSpPr>
        <p:spPr>
          <a:xfrm>
            <a:off x="4320681" y="5218952"/>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Out-Port</a:t>
            </a:r>
            <a:endParaRPr lang="en-DE" sz="1100" dirty="0">
              <a:solidFill>
                <a:sysClr val="windowText" lastClr="000000"/>
              </a:solidFill>
            </a:endParaRPr>
          </a:p>
        </p:txBody>
      </p:sp>
      <p:cxnSp>
        <p:nvCxnSpPr>
          <p:cNvPr id="51" name="Connector: Elbow 50">
            <a:extLst>
              <a:ext uri="{FF2B5EF4-FFF2-40B4-BE49-F238E27FC236}">
                <a16:creationId xmlns:a16="http://schemas.microsoft.com/office/drawing/2014/main" id="{1FD181F3-402D-3691-BBB6-7E6065CEDB74}"/>
              </a:ext>
            </a:extLst>
          </p:cNvPr>
          <p:cNvCxnSpPr>
            <a:cxnSpLocks/>
            <a:stCxn id="48" idx="3"/>
          </p:cNvCxnSpPr>
          <p:nvPr/>
        </p:nvCxnSpPr>
        <p:spPr>
          <a:xfrm rot="5400000" flipH="1" flipV="1">
            <a:off x="3567186" y="4761818"/>
            <a:ext cx="586081" cy="32499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00290AC-4CCF-C38B-585C-C55F214CB9DE}"/>
              </a:ext>
            </a:extLst>
          </p:cNvPr>
          <p:cNvCxnSpPr>
            <a:cxnSpLocks/>
            <a:endCxn id="49" idx="3"/>
          </p:cNvCxnSpPr>
          <p:nvPr/>
        </p:nvCxnSpPr>
        <p:spPr>
          <a:xfrm rot="16200000" flipH="1">
            <a:off x="4230001" y="4760473"/>
            <a:ext cx="590594" cy="3263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9014E64-ACD5-FBE1-7457-08EB2497576E}"/>
              </a:ext>
            </a:extLst>
          </p:cNvPr>
          <p:cNvSpPr txBox="1"/>
          <p:nvPr/>
        </p:nvSpPr>
        <p:spPr>
          <a:xfrm>
            <a:off x="3019867" y="3459483"/>
            <a:ext cx="575799" cy="276999"/>
          </a:xfrm>
          <a:prstGeom prst="rect">
            <a:avLst/>
          </a:prstGeom>
          <a:noFill/>
        </p:spPr>
        <p:txBody>
          <a:bodyPr wrap="none" rtlCol="0">
            <a:spAutoFit/>
          </a:bodyPr>
          <a:lstStyle/>
          <a:p>
            <a:r>
              <a:rPr lang="en-US" sz="1200" i="1" dirty="0"/>
              <a:t>Kernel</a:t>
            </a:r>
            <a:endParaRPr lang="en-DE" sz="1200" i="1" dirty="0"/>
          </a:p>
        </p:txBody>
      </p:sp>
      <p:sp>
        <p:nvSpPr>
          <p:cNvPr id="60" name="TextBox 59">
            <a:extLst>
              <a:ext uri="{FF2B5EF4-FFF2-40B4-BE49-F238E27FC236}">
                <a16:creationId xmlns:a16="http://schemas.microsoft.com/office/drawing/2014/main" id="{A73F27AE-C89E-59F5-3DBC-8D87152B259B}"/>
              </a:ext>
            </a:extLst>
          </p:cNvPr>
          <p:cNvSpPr txBox="1"/>
          <p:nvPr/>
        </p:nvSpPr>
        <p:spPr>
          <a:xfrm>
            <a:off x="2998598" y="2235351"/>
            <a:ext cx="1027974" cy="276999"/>
          </a:xfrm>
          <a:prstGeom prst="rect">
            <a:avLst/>
          </a:prstGeom>
          <a:noFill/>
        </p:spPr>
        <p:txBody>
          <a:bodyPr wrap="none" rtlCol="0">
            <a:spAutoFit/>
          </a:bodyPr>
          <a:lstStyle/>
          <a:p>
            <a:r>
              <a:rPr lang="en-US" sz="1200" i="1" dirty="0"/>
              <a:t>Management</a:t>
            </a:r>
            <a:endParaRPr lang="en-DE" sz="1200" i="1" dirty="0"/>
          </a:p>
        </p:txBody>
      </p:sp>
    </p:spTree>
    <p:extLst>
      <p:ext uri="{BB962C8B-B14F-4D97-AF65-F5344CB8AC3E}">
        <p14:creationId xmlns:p14="http://schemas.microsoft.com/office/powerpoint/2010/main" val="3092454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4259614" y="2901074"/>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Rectangle: Rounded Corners 3">
            <a:extLst>
              <a:ext uri="{FF2B5EF4-FFF2-40B4-BE49-F238E27FC236}">
                <a16:creationId xmlns:a16="http://schemas.microsoft.com/office/drawing/2014/main" id="{3EAB7A32-4A25-55A8-49A0-975011BFC2D9}"/>
              </a:ext>
            </a:extLst>
          </p:cNvPr>
          <p:cNvSpPr/>
          <p:nvPr/>
        </p:nvSpPr>
        <p:spPr>
          <a:xfrm>
            <a:off x="4641984"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6783469" y="3209631"/>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7576256" y="3209631"/>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375703"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5429789"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7277215" y="4379453"/>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5672169"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4017234"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8205032"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5429789"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6459974"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7019485"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6644275" y="4431582"/>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138992"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5424066"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2</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4869867"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5893535"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909617" y="2451142"/>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7073274" y="2648887"/>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6014363" y="4951724"/>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7177935" y="2944648"/>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4839158" y="3590704"/>
            <a:ext cx="1189043" cy="276999"/>
          </a:xfrm>
          <a:prstGeom prst="rect">
            <a:avLst/>
          </a:prstGeom>
          <a:noFill/>
        </p:spPr>
        <p:txBody>
          <a:bodyPr wrap="none" rtlCol="0">
            <a:spAutoFit/>
          </a:bodyPr>
          <a:lstStyle/>
          <a:p>
            <a:r>
              <a:rPr lang="en-US" sz="1200" i="1" dirty="0"/>
              <a:t>Control Channel</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Flow Protocol</a:t>
            </a:r>
            <a:endParaRPr lang="en-DE" sz="3600" dirty="0"/>
          </a:p>
        </p:txBody>
      </p:sp>
    </p:spTree>
    <p:extLst>
      <p:ext uri="{BB962C8B-B14F-4D97-AF65-F5344CB8AC3E}">
        <p14:creationId xmlns:p14="http://schemas.microsoft.com/office/powerpoint/2010/main" val="3571027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6"/>
            <a:ext cx="10515600" cy="603595"/>
          </a:xfrm>
        </p:spPr>
        <p:txBody>
          <a:bodyPr>
            <a:normAutofit/>
          </a:bodyPr>
          <a:lstStyle/>
          <a:p>
            <a:r>
              <a:rPr lang="en-US" sz="3600" dirty="0"/>
              <a:t>SDN network emulator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a:xfrm>
            <a:off x="838200" y="1190445"/>
            <a:ext cx="5181600" cy="4986518"/>
          </a:xfrm>
        </p:spPr>
        <p:txBody>
          <a:bodyPr/>
          <a:lstStyle/>
          <a:p>
            <a:pPr>
              <a:buFont typeface="Wingdings" panose="05000000000000000000" pitchFamily="2" charset="2"/>
              <a:buChar char="v"/>
            </a:pPr>
            <a:r>
              <a:rPr lang="en-US" dirty="0"/>
              <a:t> GNS3</a:t>
            </a:r>
          </a:p>
        </p:txBody>
      </p:sp>
      <p:sp>
        <p:nvSpPr>
          <p:cNvPr id="4" name="Content Placeholder 3">
            <a:extLst>
              <a:ext uri="{FF2B5EF4-FFF2-40B4-BE49-F238E27FC236}">
                <a16:creationId xmlns:a16="http://schemas.microsoft.com/office/drawing/2014/main" id="{A4BBF3A9-595E-719E-574D-05079701D6DF}"/>
              </a:ext>
            </a:extLst>
          </p:cNvPr>
          <p:cNvSpPr>
            <a:spLocks noGrp="1"/>
          </p:cNvSpPr>
          <p:nvPr>
            <p:ph sz="half" idx="2"/>
          </p:nvPr>
        </p:nvSpPr>
        <p:spPr>
          <a:xfrm>
            <a:off x="6172200" y="1190445"/>
            <a:ext cx="5181600" cy="4986518"/>
          </a:xfrm>
        </p:spPr>
        <p:txBody>
          <a:bodyPr/>
          <a:lstStyle/>
          <a:p>
            <a:pPr>
              <a:buFont typeface="Wingdings" panose="05000000000000000000" pitchFamily="2" charset="2"/>
              <a:buChar char="v"/>
            </a:pPr>
            <a:r>
              <a:rPr lang="en-US" dirty="0"/>
              <a:t> Mininet</a:t>
            </a:r>
            <a:endParaRPr lang="en-DE" dirty="0"/>
          </a:p>
          <a:p>
            <a:endParaRPr lang="en-DE" dirty="0"/>
          </a:p>
        </p:txBody>
      </p:sp>
    </p:spTree>
    <p:extLst>
      <p:ext uri="{BB962C8B-B14F-4D97-AF65-F5344CB8AC3E}">
        <p14:creationId xmlns:p14="http://schemas.microsoft.com/office/powerpoint/2010/main" val="186336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Flow Rule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155940"/>
            <a:ext cx="10515600" cy="5021023"/>
          </a:xfrm>
        </p:spPr>
        <p:txBody>
          <a:bodyPr/>
          <a:lstStyle/>
          <a:p>
            <a:endParaRPr lang="en-DE" dirty="0"/>
          </a:p>
        </p:txBody>
      </p:sp>
    </p:spTree>
    <p:extLst>
      <p:ext uri="{BB962C8B-B14F-4D97-AF65-F5344CB8AC3E}">
        <p14:creationId xmlns:p14="http://schemas.microsoft.com/office/powerpoint/2010/main" val="87266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2196481"/>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4331452"/>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4303574"/>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4303574"/>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2705165"/>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4295526"/>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4288997"/>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3398716"/>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4288997"/>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3570829"/>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3516394"/>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2283635"/>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955550"/>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3618335"/>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3627516"/>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3618335"/>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3618335"/>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2425357"/>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
        <p:nvSpPr>
          <p:cNvPr id="2" name="Title 1">
            <a:extLst>
              <a:ext uri="{FF2B5EF4-FFF2-40B4-BE49-F238E27FC236}">
                <a16:creationId xmlns:a16="http://schemas.microsoft.com/office/drawing/2014/main" id="{D2FB5873-94E9-030B-2D69-8156F1F9C804}"/>
              </a:ext>
            </a:extLst>
          </p:cNvPr>
          <p:cNvSpPr txBox="1">
            <a:spLocks/>
          </p:cNvSpPr>
          <p:nvPr/>
        </p:nvSpPr>
        <p:spPr>
          <a:xfrm>
            <a:off x="838200" y="365125"/>
            <a:ext cx="10515600" cy="117276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dirty="0">
                <a:effectLst/>
                <a:ea typeface="Times New Roman" panose="02020603050405020304" pitchFamily="18" charset="0"/>
                <a:cs typeface="Times New Roman" panose="02020603050405020304" pitchFamily="18" charset="0"/>
              </a:rPr>
              <a:t>Packet transmission through flow tables within an Open vSwitch</a:t>
            </a:r>
            <a:endParaRPr lang="en-DE" sz="3600" dirty="0"/>
          </a:p>
        </p:txBody>
      </p:sp>
    </p:spTree>
    <p:extLst>
      <p:ext uri="{BB962C8B-B14F-4D97-AF65-F5344CB8AC3E}">
        <p14:creationId xmlns:p14="http://schemas.microsoft.com/office/powerpoint/2010/main" val="3322915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Intent</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207698"/>
            <a:ext cx="10515600" cy="4969265"/>
          </a:xfrm>
        </p:spPr>
        <p:txBody>
          <a:bodyPr/>
          <a:lstStyle/>
          <a:p>
            <a:endParaRPr lang="en-DE" dirty="0"/>
          </a:p>
        </p:txBody>
      </p:sp>
    </p:spTree>
    <p:extLst>
      <p:ext uri="{BB962C8B-B14F-4D97-AF65-F5344CB8AC3E}">
        <p14:creationId xmlns:p14="http://schemas.microsoft.com/office/powerpoint/2010/main" val="3084829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654982"/>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2" name="Title 1">
            <a:extLst>
              <a:ext uri="{FF2B5EF4-FFF2-40B4-BE49-F238E27FC236}">
                <a16:creationId xmlns:a16="http://schemas.microsoft.com/office/drawing/2014/main" id="{077563F1-5EF6-0A38-ADED-B7DA272E4640}"/>
              </a:ext>
            </a:extLst>
          </p:cNvPr>
          <p:cNvSpPr txBox="1">
            <a:spLocks/>
          </p:cNvSpPr>
          <p:nvPr/>
        </p:nvSpPr>
        <p:spPr>
          <a:xfrm>
            <a:off x="838200" y="365125"/>
            <a:ext cx="10515600" cy="104721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1: </a:t>
            </a:r>
            <a:r>
              <a:rPr lang="en-GB" sz="3600" dirty="0">
                <a:effectLst/>
                <a:ea typeface="Times New Roman" panose="02020603050405020304" pitchFamily="18" charset="0"/>
                <a:cs typeface="Times New Roman" panose="02020603050405020304" pitchFamily="18" charset="0"/>
              </a:rPr>
              <a:t>Testing the ONOS Controller with Isolated Layer 2 Overlay Networks</a:t>
            </a:r>
            <a:r>
              <a:rPr lang="en-US" sz="3600" dirty="0"/>
              <a:t> </a:t>
            </a:r>
            <a:endParaRPr lang="en-DE" sz="3600" dirty="0"/>
          </a:p>
        </p:txBody>
      </p:sp>
    </p:spTree>
    <p:extLst>
      <p:ext uri="{BB962C8B-B14F-4D97-AF65-F5344CB8AC3E}">
        <p14:creationId xmlns:p14="http://schemas.microsoft.com/office/powerpoint/2010/main" val="400580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
        <p:nvSpPr>
          <p:cNvPr id="114" name="Title 1">
            <a:extLst>
              <a:ext uri="{FF2B5EF4-FFF2-40B4-BE49-F238E27FC236}">
                <a16:creationId xmlns:a16="http://schemas.microsoft.com/office/drawing/2014/main" id="{D2D2B4CC-8414-9770-37CC-2B5E6411AC0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pic>
        <p:nvPicPr>
          <p:cNvPr id="116" name="Picture 115">
            <a:extLst>
              <a:ext uri="{FF2B5EF4-FFF2-40B4-BE49-F238E27FC236}">
                <a16:creationId xmlns:a16="http://schemas.microsoft.com/office/drawing/2014/main" id="{0F0C8EB1-73D9-DE62-C6CF-2A58B1C9DD20}"/>
              </a:ext>
            </a:extLst>
          </p:cNvPr>
          <p:cNvPicPr>
            <a:picLocks noChangeAspect="1"/>
          </p:cNvPicPr>
          <p:nvPr/>
        </p:nvPicPr>
        <p:blipFill>
          <a:blip r:embed="rId6"/>
          <a:stretch>
            <a:fillRect/>
          </a:stretch>
        </p:blipFill>
        <p:spPr>
          <a:xfrm>
            <a:off x="1335194" y="1278712"/>
            <a:ext cx="9723153" cy="5069520"/>
          </a:xfrm>
          <a:prstGeom prst="rect">
            <a:avLst/>
          </a:prstGeom>
        </p:spPr>
      </p:pic>
    </p:spTree>
    <p:extLst>
      <p:ext uri="{BB962C8B-B14F-4D97-AF65-F5344CB8AC3E}">
        <p14:creationId xmlns:p14="http://schemas.microsoft.com/office/powerpoint/2010/main" val="1089168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318881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714715"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545176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31888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7147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545176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79585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795854"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795855" y="2330502"/>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8305098"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6058802"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795854" y="2330502"/>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795854" y="2330502"/>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6058804" y="2330502"/>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605880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4402892" y="2007774"/>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665842" y="2016097"/>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3370896" y="1385182"/>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633845" y="1385181"/>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880141" y="1385180"/>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89272" y="4625588"/>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71277" y="4613093"/>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8423376" y="4625588"/>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757894" y="2973523"/>
            <a:ext cx="1021305" cy="276999"/>
          </a:xfrm>
          <a:prstGeom prst="rect">
            <a:avLst/>
          </a:prstGeom>
          <a:noFill/>
        </p:spPr>
        <p:txBody>
          <a:bodyPr wrap="none" rtlCol="0">
            <a:spAutoFit/>
          </a:bodyPr>
          <a:lstStyle/>
          <a:p>
            <a:r>
              <a:rPr lang="en-US" sz="1200" b="1" dirty="0"/>
              <a:t>Raft protocol</a:t>
            </a:r>
            <a:endParaRPr lang="en-DE" sz="1200" b="1" dirty="0"/>
          </a:p>
        </p:txBody>
      </p:sp>
      <p:sp>
        <p:nvSpPr>
          <p:cNvPr id="10" name="Title 1">
            <a:extLst>
              <a:ext uri="{FF2B5EF4-FFF2-40B4-BE49-F238E27FC236}">
                <a16:creationId xmlns:a16="http://schemas.microsoft.com/office/drawing/2014/main" id="{F26D4AD0-AE60-689A-CE89-B9E258F7E620}"/>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
        <p:nvSpPr>
          <p:cNvPr id="11" name="Rectangle: Rounded Corners 10">
            <a:extLst>
              <a:ext uri="{FF2B5EF4-FFF2-40B4-BE49-F238E27FC236}">
                <a16:creationId xmlns:a16="http://schemas.microsoft.com/office/drawing/2014/main" id="{4EEC76B6-150C-3C3E-9D58-C5CCEF1FD024}"/>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12" name="Cloud 11">
            <a:extLst>
              <a:ext uri="{FF2B5EF4-FFF2-40B4-BE49-F238E27FC236}">
                <a16:creationId xmlns:a16="http://schemas.microsoft.com/office/drawing/2014/main" id="{6C2B7DBC-6806-10BB-A37E-F3F358AB2366}"/>
              </a:ext>
            </a:extLst>
          </p:cNvPr>
          <p:cNvSpPr/>
          <p:nvPr/>
        </p:nvSpPr>
        <p:spPr>
          <a:xfrm>
            <a:off x="2757894" y="5132962"/>
            <a:ext cx="6615794" cy="1132508"/>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TextBox 12">
            <a:extLst>
              <a:ext uri="{FF2B5EF4-FFF2-40B4-BE49-F238E27FC236}">
                <a16:creationId xmlns:a16="http://schemas.microsoft.com/office/drawing/2014/main" id="{7DAC97F1-8F8B-F34F-9A0F-4834BA127E0B}"/>
              </a:ext>
            </a:extLst>
          </p:cNvPr>
          <p:cNvSpPr txBox="1"/>
          <p:nvPr/>
        </p:nvSpPr>
        <p:spPr>
          <a:xfrm>
            <a:off x="5354217" y="5607102"/>
            <a:ext cx="1423147" cy="276999"/>
          </a:xfrm>
          <a:prstGeom prst="rect">
            <a:avLst/>
          </a:prstGeom>
          <a:noFill/>
        </p:spPr>
        <p:txBody>
          <a:bodyPr wrap="none" rtlCol="0">
            <a:spAutoFit/>
          </a:bodyPr>
          <a:lstStyle/>
          <a:p>
            <a:r>
              <a:rPr lang="en-US" sz="1200" dirty="0"/>
              <a:t>Underlying network</a:t>
            </a:r>
            <a:endParaRPr lang="en-DE" sz="1200" dirty="0"/>
          </a:p>
        </p:txBody>
      </p:sp>
      <p:cxnSp>
        <p:nvCxnSpPr>
          <p:cNvPr id="14" name="Straight Connector 13">
            <a:extLst>
              <a:ext uri="{FF2B5EF4-FFF2-40B4-BE49-F238E27FC236}">
                <a16:creationId xmlns:a16="http://schemas.microsoft.com/office/drawing/2014/main" id="{C076DBAD-90D2-B324-1655-D61189B2979D}"/>
              </a:ext>
            </a:extLst>
          </p:cNvPr>
          <p:cNvCxnSpPr>
            <a:cxnSpLocks/>
          </p:cNvCxnSpPr>
          <p:nvPr/>
        </p:nvCxnSpPr>
        <p:spPr>
          <a:xfrm flipV="1">
            <a:off x="5279296" y="4672212"/>
            <a:ext cx="796163"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636413-44FE-0DC7-57CE-201888336B5A}"/>
              </a:ext>
            </a:extLst>
          </p:cNvPr>
          <p:cNvCxnSpPr>
            <a:cxnSpLocks/>
          </p:cNvCxnSpPr>
          <p:nvPr/>
        </p:nvCxnSpPr>
        <p:spPr>
          <a:xfrm flipV="1">
            <a:off x="3426278" y="4672212"/>
            <a:ext cx="386231" cy="70368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2EFC8D-4740-4BA8-77F0-D1413DD9C60D}"/>
              </a:ext>
            </a:extLst>
          </p:cNvPr>
          <p:cNvCxnSpPr>
            <a:cxnSpLocks/>
          </p:cNvCxnSpPr>
          <p:nvPr/>
        </p:nvCxnSpPr>
        <p:spPr>
          <a:xfrm flipV="1">
            <a:off x="7714715" y="4672212"/>
            <a:ext cx="623694"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190188-EE38-5756-BECC-098E1463651B}"/>
              </a:ext>
            </a:extLst>
          </p:cNvPr>
          <p:cNvCxnSpPr>
            <a:cxnSpLocks/>
          </p:cNvCxnSpPr>
          <p:nvPr/>
        </p:nvCxnSpPr>
        <p:spPr>
          <a:xfrm flipH="1" flipV="1">
            <a:off x="8321753" y="4672212"/>
            <a:ext cx="434569" cy="63994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F67E75-46ED-8188-433D-D8F64D0F8A1A}"/>
              </a:ext>
            </a:extLst>
          </p:cNvPr>
          <p:cNvCxnSpPr>
            <a:cxnSpLocks/>
          </p:cNvCxnSpPr>
          <p:nvPr/>
        </p:nvCxnSpPr>
        <p:spPr>
          <a:xfrm flipV="1">
            <a:off x="5656715" y="4672212"/>
            <a:ext cx="418742" cy="492672"/>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32D0EE-B0FE-363A-C0A2-E4E68A80A767}"/>
              </a:ext>
            </a:extLst>
          </p:cNvPr>
          <p:cNvCxnSpPr>
            <a:cxnSpLocks/>
          </p:cNvCxnSpPr>
          <p:nvPr/>
        </p:nvCxnSpPr>
        <p:spPr>
          <a:xfrm flipH="1" flipV="1">
            <a:off x="3812509" y="4672212"/>
            <a:ext cx="1048873" cy="588588"/>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C597D7-1966-5E0A-469F-A5FD53048EFA}"/>
              </a:ext>
            </a:extLst>
          </p:cNvPr>
          <p:cNvCxnSpPr>
            <a:cxnSpLocks/>
          </p:cNvCxnSpPr>
          <p:nvPr/>
        </p:nvCxnSpPr>
        <p:spPr>
          <a:xfrm flipH="1" flipV="1">
            <a:off x="3812509" y="4672212"/>
            <a:ext cx="2680866"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47A116-7BAC-57E9-9EC9-2FFC01B7DD79}"/>
              </a:ext>
            </a:extLst>
          </p:cNvPr>
          <p:cNvCxnSpPr>
            <a:cxnSpLocks/>
          </p:cNvCxnSpPr>
          <p:nvPr/>
        </p:nvCxnSpPr>
        <p:spPr>
          <a:xfrm flipH="1" flipV="1">
            <a:off x="6075459" y="4672212"/>
            <a:ext cx="1259351"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2837913-A265-9E72-0D68-385F076E4B92}"/>
              </a:ext>
            </a:extLst>
          </p:cNvPr>
          <p:cNvCxnSpPr>
            <a:cxnSpLocks/>
          </p:cNvCxnSpPr>
          <p:nvPr/>
        </p:nvCxnSpPr>
        <p:spPr>
          <a:xfrm flipV="1">
            <a:off x="5829185" y="4672212"/>
            <a:ext cx="2509224"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5117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rotWithShape="1">
          <a:blip r:embed="rId2"/>
          <a:srcRect l="1906" t="1902" r="2435" b="4820"/>
          <a:stretch/>
        </p:blipFill>
        <p:spPr>
          <a:xfrm>
            <a:off x="1400783" y="1561585"/>
            <a:ext cx="9338553" cy="481003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4732" y="2221504"/>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6310" y="2109983"/>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0733" y="4995457"/>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7982" y="4995457"/>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57213" y="5145936"/>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2462"/>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5949" y="4990197"/>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13198" y="4990197"/>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4713"/>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sp>
        <p:nvSpPr>
          <p:cNvPr id="18" name="Title 1">
            <a:extLst>
              <a:ext uri="{FF2B5EF4-FFF2-40B4-BE49-F238E27FC236}">
                <a16:creationId xmlns:a16="http://schemas.microsoft.com/office/drawing/2014/main" id="{23963E75-8EFC-EF80-2E88-3BA19A0C8C61}"/>
              </a:ext>
            </a:extLst>
          </p:cNvPr>
          <p:cNvSpPr txBox="1">
            <a:spLocks/>
          </p:cNvSpPr>
          <p:nvPr/>
        </p:nvSpPr>
        <p:spPr>
          <a:xfrm>
            <a:off x="838200" y="256662"/>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3: Testing the ONOS Controller with IPv6 Addressing</a:t>
            </a:r>
            <a:endParaRPr lang="en-DE" sz="3600" dirty="0"/>
          </a:p>
        </p:txBody>
      </p:sp>
      <p:sp>
        <p:nvSpPr>
          <p:cNvPr id="22" name="Rectangle: Rounded Corners 21">
            <a:extLst>
              <a:ext uri="{FF2B5EF4-FFF2-40B4-BE49-F238E27FC236}">
                <a16:creationId xmlns:a16="http://schemas.microsoft.com/office/drawing/2014/main" id="{DED28E90-848B-11CA-AF04-F8411C6C5035}"/>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5731-8AA9-29F9-C483-126725CEAE6F}"/>
              </a:ext>
            </a:extLst>
          </p:cNvPr>
          <p:cNvSpPr>
            <a:spLocks noGrp="1"/>
          </p:cNvSpPr>
          <p:nvPr>
            <p:ph type="title"/>
          </p:nvPr>
        </p:nvSpPr>
        <p:spPr/>
        <p:txBody>
          <a:bodyPr>
            <a:normAutofit fontScale="90000"/>
          </a:bodyPr>
          <a:lstStyle/>
          <a:p>
            <a:r>
              <a:rPr lang="en-US" dirty="0"/>
              <a:t>Agenda</a:t>
            </a:r>
            <a:endParaRPr lang="en-DE" dirty="0"/>
          </a:p>
        </p:txBody>
      </p:sp>
      <p:sp>
        <p:nvSpPr>
          <p:cNvPr id="3" name="Content Placeholder 2">
            <a:extLst>
              <a:ext uri="{FF2B5EF4-FFF2-40B4-BE49-F238E27FC236}">
                <a16:creationId xmlns:a16="http://schemas.microsoft.com/office/drawing/2014/main" id="{9C1210D8-DBCB-ABE6-DA1F-485BB0C07B53}"/>
              </a:ext>
            </a:extLst>
          </p:cNvPr>
          <p:cNvSpPr>
            <a:spLocks noGrp="1"/>
          </p:cNvSpPr>
          <p:nvPr>
            <p:ph idx="1"/>
          </p:nvPr>
        </p:nvSpPr>
        <p:spPr>
          <a:xfrm>
            <a:off x="2242868" y="1492370"/>
            <a:ext cx="9110932" cy="4684593"/>
          </a:xfrm>
        </p:spPr>
        <p:txBody>
          <a:bodyPr/>
          <a:lstStyle/>
          <a:p>
            <a:pPr marL="514350" indent="-514350">
              <a:buFont typeface="+mj-lt"/>
              <a:buAutoNum type="arabicPeriod"/>
            </a:pPr>
            <a:r>
              <a:rPr lang="en-US" dirty="0"/>
              <a:t>SDN Architecture</a:t>
            </a:r>
          </a:p>
          <a:p>
            <a:pPr marL="514350" indent="-514350">
              <a:buFont typeface="+mj-lt"/>
              <a:buAutoNum type="arabicPeriod"/>
            </a:pPr>
            <a:r>
              <a:rPr lang="en-US" dirty="0"/>
              <a:t>Different SDN Architectures</a:t>
            </a:r>
          </a:p>
          <a:p>
            <a:pPr marL="514350" indent="-514350">
              <a:buFont typeface="+mj-lt"/>
              <a:buAutoNum type="arabicPeriod"/>
            </a:pPr>
            <a:r>
              <a:rPr lang="en-US" dirty="0"/>
              <a:t>Open-source SDN Controllers</a:t>
            </a:r>
          </a:p>
          <a:p>
            <a:pPr marL="514350" indent="-514350">
              <a:buFont typeface="+mj-lt"/>
              <a:buAutoNum type="arabicPeriod"/>
            </a:pPr>
            <a:r>
              <a:rPr lang="en-US" dirty="0"/>
              <a:t>Open vSwitch</a:t>
            </a:r>
          </a:p>
          <a:p>
            <a:pPr marL="514350" indent="-514350">
              <a:buFont typeface="+mj-lt"/>
              <a:buAutoNum type="arabicPeriod"/>
            </a:pPr>
            <a:r>
              <a:rPr lang="en-US" dirty="0"/>
              <a:t>OpenFlow</a:t>
            </a:r>
          </a:p>
          <a:p>
            <a:pPr marL="514350" indent="-514350">
              <a:buFont typeface="+mj-lt"/>
              <a:buAutoNum type="arabicPeriod"/>
            </a:pPr>
            <a:r>
              <a:rPr lang="en-US" dirty="0"/>
              <a:t>Creation of Flows</a:t>
            </a:r>
          </a:p>
          <a:p>
            <a:pPr marL="514350" indent="-514350">
              <a:buFont typeface="+mj-lt"/>
              <a:buAutoNum type="arabicPeriod"/>
            </a:pPr>
            <a:r>
              <a:rPr lang="en-US" dirty="0"/>
              <a:t>Creations of Intents</a:t>
            </a:r>
          </a:p>
          <a:p>
            <a:pPr marL="514350" indent="-514350">
              <a:buFont typeface="+mj-lt"/>
              <a:buAutoNum type="arabicPeriod"/>
            </a:pPr>
            <a:r>
              <a:rPr lang="en-US" dirty="0"/>
              <a:t>Use-cases</a:t>
            </a:r>
          </a:p>
          <a:p>
            <a:pPr marL="514350" indent="-514350">
              <a:buFont typeface="+mj-lt"/>
              <a:buAutoNum type="arabicPeriod"/>
            </a:pPr>
            <a:endParaRPr lang="en-DE" dirty="0"/>
          </a:p>
        </p:txBody>
      </p:sp>
    </p:spTree>
    <p:extLst>
      <p:ext uri="{BB962C8B-B14F-4D97-AF65-F5344CB8AC3E}">
        <p14:creationId xmlns:p14="http://schemas.microsoft.com/office/powerpoint/2010/main" val="33422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707365" y="1070651"/>
            <a:ext cx="10475343" cy="4980847"/>
          </a:xfrm>
          <a:prstGeom prst="rect">
            <a:avLst/>
          </a:prstGeom>
        </p:spPr>
      </p:pic>
      <p:sp>
        <p:nvSpPr>
          <p:cNvPr id="2" name="Title 1">
            <a:extLst>
              <a:ext uri="{FF2B5EF4-FFF2-40B4-BE49-F238E27FC236}">
                <a16:creationId xmlns:a16="http://schemas.microsoft.com/office/drawing/2014/main" id="{0A05C258-4C1F-00B4-479D-6F39C66B7D83}"/>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spTree>
    <p:extLst>
      <p:ext uri="{BB962C8B-B14F-4D97-AF65-F5344CB8AC3E}">
        <p14:creationId xmlns:p14="http://schemas.microsoft.com/office/powerpoint/2010/main" val="5591441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 name="Cloud 666">
            <a:extLst>
              <a:ext uri="{FF2B5EF4-FFF2-40B4-BE49-F238E27FC236}">
                <a16:creationId xmlns:a16="http://schemas.microsoft.com/office/drawing/2014/main" id="{B0F622A9-EAC8-580D-4871-86C9EC1BA6E1}"/>
              </a:ext>
            </a:extLst>
          </p:cNvPr>
          <p:cNvSpPr/>
          <p:nvPr/>
        </p:nvSpPr>
        <p:spPr>
          <a:xfrm>
            <a:off x="3368219" y="1358018"/>
            <a:ext cx="5285047" cy="4767603"/>
          </a:xfrm>
          <a:prstGeom prst="cloud">
            <a:avLst/>
          </a:prstGeom>
          <a:solidFill>
            <a:schemeClr val="accent3">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790968" y="2818970"/>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8144426" y="256720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274286" y="286862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842950" y="2570012"/>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598622" y="2923375"/>
            <a:ext cx="546945" cy="261610"/>
          </a:xfrm>
          <a:prstGeom prst="rect">
            <a:avLst/>
          </a:prstGeom>
          <a:no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00479" y="2905356"/>
            <a:ext cx="546945" cy="261610"/>
          </a:xfrm>
          <a:prstGeom prst="rect">
            <a:avLst/>
          </a:prstGeom>
          <a:no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929828" y="2294671"/>
            <a:ext cx="546945" cy="261610"/>
          </a:xfrm>
          <a:prstGeom prst="rect">
            <a:avLst/>
          </a:prstGeom>
          <a:no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9451" y="2336214"/>
            <a:ext cx="546945" cy="261610"/>
          </a:xfrm>
          <a:prstGeom prst="rect">
            <a:avLst/>
          </a:prstGeom>
          <a:no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2983118" y="2773398"/>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8189833" y="3904043"/>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205290" y="4155006"/>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577524" y="4517703"/>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596360" y="4865506"/>
            <a:ext cx="546945" cy="261610"/>
          </a:xfrm>
          <a:prstGeom prst="rect">
            <a:avLst/>
          </a:prstGeom>
          <a:noFill/>
        </p:spPr>
        <p:txBody>
          <a:bodyPr wrap="squar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989642" y="4237562"/>
            <a:ext cx="546945" cy="261610"/>
          </a:xfrm>
          <a:prstGeom prst="rect">
            <a:avLst/>
          </a:prstGeom>
          <a:no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37922" y="4235765"/>
            <a:ext cx="546945" cy="261610"/>
          </a:xfrm>
          <a:prstGeom prst="rect">
            <a:avLst/>
          </a:prstGeom>
          <a:noFill/>
        </p:spPr>
        <p:txBody>
          <a:bodyPr wrap="none" rtlCol="0">
            <a:spAutoFit/>
          </a:bodyPr>
          <a:lstStyle/>
          <a:p>
            <a:r>
              <a:rPr lang="en-US" sz="1100" b="1" dirty="0"/>
              <a:t>OVS-4</a:t>
            </a:r>
            <a:endParaRPr lang="en-DE" sz="1100" b="1" dirty="0"/>
          </a:p>
        </p:txBody>
      </p:sp>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052508" y="2771535"/>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2783640" y="4729067"/>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73842" y="451003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505587" y="274730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552581" y="407777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5002636" y="2554151"/>
            <a:ext cx="325472" cy="31447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2732540" y="4513935"/>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722886" y="4591589"/>
            <a:ext cx="720069" cy="507831"/>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p:txBody>
      </p:sp>
      <p:sp>
        <p:nvSpPr>
          <p:cNvPr id="716" name="TextBox 715">
            <a:extLst>
              <a:ext uri="{FF2B5EF4-FFF2-40B4-BE49-F238E27FC236}">
                <a16:creationId xmlns:a16="http://schemas.microsoft.com/office/drawing/2014/main" id="{9D68AFE0-A88F-E504-91E5-451DF6B1A51D}"/>
              </a:ext>
            </a:extLst>
          </p:cNvPr>
          <p:cNvSpPr txBox="1"/>
          <p:nvPr/>
        </p:nvSpPr>
        <p:spPr>
          <a:xfrm>
            <a:off x="8651328" y="2717762"/>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698903" y="3873518"/>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886020" y="5143397"/>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683362" y="2559386"/>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418794" y="4524764"/>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9300259" y="2575898"/>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9338995" y="3924238"/>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208905" y="506659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815757" y="2180393"/>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131963" y="2193446"/>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7156243" y="2556601"/>
            <a:ext cx="162599" cy="26393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142432" y="487435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571989" y="515179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5096233" y="2503353"/>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567857" y="2524532"/>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522173" y="513129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6981409" y="514523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517" name="Cloud 516">
            <a:extLst>
              <a:ext uri="{FF2B5EF4-FFF2-40B4-BE49-F238E27FC236}">
                <a16:creationId xmlns:a16="http://schemas.microsoft.com/office/drawing/2014/main" id="{5573ED8C-B28B-9761-DFD3-540A37D81B7E}"/>
              </a:ext>
            </a:extLst>
          </p:cNvPr>
          <p:cNvSpPr/>
          <p:nvPr/>
        </p:nvSpPr>
        <p:spPr>
          <a:xfrm>
            <a:off x="9621325" y="2188096"/>
            <a:ext cx="1560836" cy="907495"/>
          </a:xfrm>
          <a:prstGeom prst="cloud">
            <a:avLst/>
          </a:prstGeom>
          <a:solidFill>
            <a:schemeClr val="accent4">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8" name="Cloud 517">
            <a:extLst>
              <a:ext uri="{FF2B5EF4-FFF2-40B4-BE49-F238E27FC236}">
                <a16:creationId xmlns:a16="http://schemas.microsoft.com/office/drawing/2014/main" id="{B0E88F5F-2A37-D9AA-4FF6-3618C775366A}"/>
              </a:ext>
            </a:extLst>
          </p:cNvPr>
          <p:cNvSpPr/>
          <p:nvPr/>
        </p:nvSpPr>
        <p:spPr>
          <a:xfrm>
            <a:off x="9680799" y="3668739"/>
            <a:ext cx="1560836" cy="907495"/>
          </a:xfrm>
          <a:prstGeom prst="cloud">
            <a:avLst/>
          </a:prstGeom>
          <a:solidFill>
            <a:schemeClr val="accent6">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9" name="Cloud 518">
            <a:extLst>
              <a:ext uri="{FF2B5EF4-FFF2-40B4-BE49-F238E27FC236}">
                <a16:creationId xmlns:a16="http://schemas.microsoft.com/office/drawing/2014/main" id="{1BA10AC5-5D55-33A8-A492-D8FCAC87900F}"/>
              </a:ext>
            </a:extLst>
          </p:cNvPr>
          <p:cNvSpPr/>
          <p:nvPr/>
        </p:nvSpPr>
        <p:spPr>
          <a:xfrm>
            <a:off x="1144630" y="2270854"/>
            <a:ext cx="1560836" cy="907495"/>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20" name="Cloud 519">
            <a:extLst>
              <a:ext uri="{FF2B5EF4-FFF2-40B4-BE49-F238E27FC236}">
                <a16:creationId xmlns:a16="http://schemas.microsoft.com/office/drawing/2014/main" id="{C8386F20-877E-2F1F-CCA4-022EE76FD297}"/>
              </a:ext>
            </a:extLst>
          </p:cNvPr>
          <p:cNvSpPr/>
          <p:nvPr/>
        </p:nvSpPr>
        <p:spPr>
          <a:xfrm>
            <a:off x="855880" y="4326653"/>
            <a:ext cx="1560836" cy="907495"/>
          </a:xfrm>
          <a:prstGeom prst="cloud">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521" name="TextBox 520">
            <a:extLst>
              <a:ext uri="{FF2B5EF4-FFF2-40B4-BE49-F238E27FC236}">
                <a16:creationId xmlns:a16="http://schemas.microsoft.com/office/drawing/2014/main" id="{089BCECF-3337-9607-62A3-4BCC8469CA5A}"/>
              </a:ext>
            </a:extLst>
          </p:cNvPr>
          <p:cNvSpPr txBox="1"/>
          <p:nvPr/>
        </p:nvSpPr>
        <p:spPr>
          <a:xfrm>
            <a:off x="5343625" y="4583766"/>
            <a:ext cx="720069" cy="507831"/>
          </a:xfrm>
          <a:prstGeom prst="rect">
            <a:avLst/>
          </a:prstGeom>
          <a:noFill/>
        </p:spPr>
        <p:txBody>
          <a:bodyPr wrap="none" rtlCol="0">
            <a:spAutoFit/>
          </a:bodyPr>
          <a:lstStyle/>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522" name="TextBox 521">
            <a:extLst>
              <a:ext uri="{FF2B5EF4-FFF2-40B4-BE49-F238E27FC236}">
                <a16:creationId xmlns:a16="http://schemas.microsoft.com/office/drawing/2014/main" id="{F632A1F8-7AF4-41AD-DC5F-3EEE2BAFF34D}"/>
              </a:ext>
            </a:extLst>
          </p:cNvPr>
          <p:cNvSpPr txBox="1"/>
          <p:nvPr/>
        </p:nvSpPr>
        <p:spPr>
          <a:xfrm>
            <a:off x="1675905" y="2570047"/>
            <a:ext cx="585417" cy="261610"/>
          </a:xfrm>
          <a:prstGeom prst="rect">
            <a:avLst/>
          </a:prstGeom>
          <a:noFill/>
        </p:spPr>
        <p:txBody>
          <a:bodyPr wrap="none" rtlCol="0">
            <a:spAutoFit/>
          </a:bodyPr>
          <a:lstStyle/>
          <a:p>
            <a:r>
              <a:rPr lang="en-US" sz="1100" b="1" dirty="0"/>
              <a:t>AS 100</a:t>
            </a:r>
            <a:endParaRPr lang="en-DE" sz="1100" b="1" dirty="0"/>
          </a:p>
        </p:txBody>
      </p:sp>
      <p:sp>
        <p:nvSpPr>
          <p:cNvPr id="523" name="TextBox 522">
            <a:extLst>
              <a:ext uri="{FF2B5EF4-FFF2-40B4-BE49-F238E27FC236}">
                <a16:creationId xmlns:a16="http://schemas.microsoft.com/office/drawing/2014/main" id="{3519ACD7-257D-C4DA-0C9D-8FD69500A965}"/>
              </a:ext>
            </a:extLst>
          </p:cNvPr>
          <p:cNvSpPr txBox="1"/>
          <p:nvPr/>
        </p:nvSpPr>
        <p:spPr>
          <a:xfrm>
            <a:off x="1365631" y="4623251"/>
            <a:ext cx="585417" cy="261610"/>
          </a:xfrm>
          <a:prstGeom prst="rect">
            <a:avLst/>
          </a:prstGeom>
          <a:noFill/>
        </p:spPr>
        <p:txBody>
          <a:bodyPr wrap="none" rtlCol="0">
            <a:spAutoFit/>
          </a:bodyPr>
          <a:lstStyle/>
          <a:p>
            <a:r>
              <a:rPr lang="en-US" sz="1100" b="1" dirty="0"/>
              <a:t>AS 200</a:t>
            </a:r>
            <a:endParaRPr lang="en-DE" sz="1100" b="1" dirty="0"/>
          </a:p>
        </p:txBody>
      </p:sp>
      <p:sp>
        <p:nvSpPr>
          <p:cNvPr id="524" name="TextBox 523">
            <a:extLst>
              <a:ext uri="{FF2B5EF4-FFF2-40B4-BE49-F238E27FC236}">
                <a16:creationId xmlns:a16="http://schemas.microsoft.com/office/drawing/2014/main" id="{B5ADF10B-3D5B-CD61-8E43-71ACAEA02232}"/>
              </a:ext>
            </a:extLst>
          </p:cNvPr>
          <p:cNvSpPr txBox="1"/>
          <p:nvPr/>
        </p:nvSpPr>
        <p:spPr>
          <a:xfrm>
            <a:off x="10109034" y="2514134"/>
            <a:ext cx="585417" cy="261610"/>
          </a:xfrm>
          <a:prstGeom prst="rect">
            <a:avLst/>
          </a:prstGeom>
          <a:noFill/>
        </p:spPr>
        <p:txBody>
          <a:bodyPr wrap="none" rtlCol="0">
            <a:spAutoFit/>
          </a:bodyPr>
          <a:lstStyle/>
          <a:p>
            <a:r>
              <a:rPr lang="en-US" sz="1100" b="1" dirty="0"/>
              <a:t>AS 300</a:t>
            </a:r>
            <a:endParaRPr lang="en-DE" sz="1100" b="1" dirty="0"/>
          </a:p>
        </p:txBody>
      </p:sp>
      <p:sp>
        <p:nvSpPr>
          <p:cNvPr id="525" name="TextBox 524">
            <a:extLst>
              <a:ext uri="{FF2B5EF4-FFF2-40B4-BE49-F238E27FC236}">
                <a16:creationId xmlns:a16="http://schemas.microsoft.com/office/drawing/2014/main" id="{484314E5-8E78-E7BB-7EC1-E37D4DD2B6DA}"/>
              </a:ext>
            </a:extLst>
          </p:cNvPr>
          <p:cNvSpPr txBox="1"/>
          <p:nvPr/>
        </p:nvSpPr>
        <p:spPr>
          <a:xfrm>
            <a:off x="10184979" y="3972205"/>
            <a:ext cx="585417" cy="261610"/>
          </a:xfrm>
          <a:prstGeom prst="rect">
            <a:avLst/>
          </a:prstGeom>
          <a:noFill/>
        </p:spPr>
        <p:txBody>
          <a:bodyPr wrap="none" rtlCol="0">
            <a:spAutoFit/>
          </a:bodyPr>
          <a:lstStyle/>
          <a:p>
            <a:r>
              <a:rPr lang="en-US" sz="1100" b="1" dirty="0"/>
              <a:t>AS 400</a:t>
            </a:r>
            <a:endParaRPr lang="en-DE" sz="1100" b="1" dirty="0"/>
          </a:p>
        </p:txBody>
      </p:sp>
      <p:sp>
        <p:nvSpPr>
          <p:cNvPr id="526" name="TextBox 525">
            <a:extLst>
              <a:ext uri="{FF2B5EF4-FFF2-40B4-BE49-F238E27FC236}">
                <a16:creationId xmlns:a16="http://schemas.microsoft.com/office/drawing/2014/main" id="{3619C93C-CC86-7008-DC23-480CED84B365}"/>
              </a:ext>
            </a:extLst>
          </p:cNvPr>
          <p:cNvSpPr txBox="1"/>
          <p:nvPr/>
        </p:nvSpPr>
        <p:spPr>
          <a:xfrm>
            <a:off x="9115461" y="3639791"/>
            <a:ext cx="768159" cy="261610"/>
          </a:xfrm>
          <a:prstGeom prst="rect">
            <a:avLst/>
          </a:prstGeom>
          <a:noFill/>
        </p:spPr>
        <p:txBody>
          <a:bodyPr wrap="none" rtlCol="0">
            <a:spAutoFit/>
          </a:bodyPr>
          <a:lstStyle/>
          <a:p>
            <a:r>
              <a:rPr lang="en-US" sz="1100" b="1" dirty="0"/>
              <a:t>Border R4</a:t>
            </a:r>
            <a:endParaRPr lang="en-DE" sz="1100" b="1" dirty="0"/>
          </a:p>
        </p:txBody>
      </p:sp>
      <p:sp>
        <p:nvSpPr>
          <p:cNvPr id="527" name="TextBox 526">
            <a:extLst>
              <a:ext uri="{FF2B5EF4-FFF2-40B4-BE49-F238E27FC236}">
                <a16:creationId xmlns:a16="http://schemas.microsoft.com/office/drawing/2014/main" id="{A54D9992-37C4-A034-A628-7E4080C5C7DB}"/>
              </a:ext>
            </a:extLst>
          </p:cNvPr>
          <p:cNvSpPr txBox="1"/>
          <p:nvPr/>
        </p:nvSpPr>
        <p:spPr>
          <a:xfrm>
            <a:off x="2308009" y="4269206"/>
            <a:ext cx="768159" cy="261610"/>
          </a:xfrm>
          <a:prstGeom prst="rect">
            <a:avLst/>
          </a:prstGeom>
          <a:noFill/>
        </p:spPr>
        <p:txBody>
          <a:bodyPr wrap="none" rtlCol="0">
            <a:spAutoFit/>
          </a:bodyPr>
          <a:lstStyle/>
          <a:p>
            <a:r>
              <a:rPr lang="en-US" sz="1100" b="1" dirty="0"/>
              <a:t>Border R2</a:t>
            </a:r>
            <a:endParaRPr lang="en-DE" sz="1100" b="1" dirty="0"/>
          </a:p>
        </p:txBody>
      </p:sp>
      <p:sp>
        <p:nvSpPr>
          <p:cNvPr id="528" name="TextBox 527">
            <a:extLst>
              <a:ext uri="{FF2B5EF4-FFF2-40B4-BE49-F238E27FC236}">
                <a16:creationId xmlns:a16="http://schemas.microsoft.com/office/drawing/2014/main" id="{4FB5369B-ED54-CF23-7467-D69341823FAE}"/>
              </a:ext>
            </a:extLst>
          </p:cNvPr>
          <p:cNvSpPr txBox="1"/>
          <p:nvPr/>
        </p:nvSpPr>
        <p:spPr>
          <a:xfrm>
            <a:off x="9034892" y="2270400"/>
            <a:ext cx="768159" cy="261610"/>
          </a:xfrm>
          <a:prstGeom prst="rect">
            <a:avLst/>
          </a:prstGeom>
          <a:noFill/>
        </p:spPr>
        <p:txBody>
          <a:bodyPr wrap="none" rtlCol="0">
            <a:spAutoFit/>
          </a:bodyPr>
          <a:lstStyle/>
          <a:p>
            <a:r>
              <a:rPr lang="en-US" sz="1100" b="1" dirty="0"/>
              <a:t>Border R3</a:t>
            </a:r>
            <a:endParaRPr lang="en-DE" sz="1100" b="1" dirty="0"/>
          </a:p>
        </p:txBody>
      </p:sp>
      <p:sp>
        <p:nvSpPr>
          <p:cNvPr id="529" name="TextBox 528">
            <a:extLst>
              <a:ext uri="{FF2B5EF4-FFF2-40B4-BE49-F238E27FC236}">
                <a16:creationId xmlns:a16="http://schemas.microsoft.com/office/drawing/2014/main" id="{9E662C2E-E911-F46B-D8B1-7D5113AF61C1}"/>
              </a:ext>
            </a:extLst>
          </p:cNvPr>
          <p:cNvSpPr txBox="1"/>
          <p:nvPr/>
        </p:nvSpPr>
        <p:spPr>
          <a:xfrm>
            <a:off x="2606256" y="2314750"/>
            <a:ext cx="768159" cy="261610"/>
          </a:xfrm>
          <a:prstGeom prst="rect">
            <a:avLst/>
          </a:prstGeom>
          <a:noFill/>
        </p:spPr>
        <p:txBody>
          <a:bodyPr wrap="none" rtlCol="0">
            <a:spAutoFit/>
          </a:bodyPr>
          <a:lstStyle/>
          <a:p>
            <a:r>
              <a:rPr lang="en-US" sz="1100" b="1" dirty="0"/>
              <a:t>Border R1</a:t>
            </a:r>
            <a:endParaRPr lang="en-DE" sz="1100" b="1" dirty="0"/>
          </a:p>
        </p:txBody>
      </p:sp>
      <p:sp>
        <p:nvSpPr>
          <p:cNvPr id="530" name="TextBox 529">
            <a:extLst>
              <a:ext uri="{FF2B5EF4-FFF2-40B4-BE49-F238E27FC236}">
                <a16:creationId xmlns:a16="http://schemas.microsoft.com/office/drawing/2014/main" id="{8BF24783-6D93-1637-6F75-D5D214F85A58}"/>
              </a:ext>
            </a:extLst>
          </p:cNvPr>
          <p:cNvSpPr txBox="1"/>
          <p:nvPr/>
        </p:nvSpPr>
        <p:spPr>
          <a:xfrm>
            <a:off x="4509371" y="1980798"/>
            <a:ext cx="830677" cy="261610"/>
          </a:xfrm>
          <a:prstGeom prst="rect">
            <a:avLst/>
          </a:prstGeom>
          <a:noFill/>
        </p:spPr>
        <p:txBody>
          <a:bodyPr wrap="none" rtlCol="0">
            <a:spAutoFit/>
          </a:bodyPr>
          <a:lstStyle/>
          <a:p>
            <a:r>
              <a:rPr lang="en-US" sz="1100" b="1" dirty="0"/>
              <a:t>Internal R5</a:t>
            </a:r>
            <a:endParaRPr lang="en-DE" sz="1100" b="1" dirty="0"/>
          </a:p>
        </p:txBody>
      </p:sp>
      <p:sp>
        <p:nvSpPr>
          <p:cNvPr id="531" name="TextBox 530">
            <a:extLst>
              <a:ext uri="{FF2B5EF4-FFF2-40B4-BE49-F238E27FC236}">
                <a16:creationId xmlns:a16="http://schemas.microsoft.com/office/drawing/2014/main" id="{74A7C54B-12C6-4F1C-571D-CDFE9B7BD0B1}"/>
              </a:ext>
            </a:extLst>
          </p:cNvPr>
          <p:cNvSpPr txBox="1"/>
          <p:nvPr/>
        </p:nvSpPr>
        <p:spPr>
          <a:xfrm>
            <a:off x="6902252" y="1934206"/>
            <a:ext cx="830677" cy="261610"/>
          </a:xfrm>
          <a:prstGeom prst="rect">
            <a:avLst/>
          </a:prstGeom>
          <a:noFill/>
        </p:spPr>
        <p:txBody>
          <a:bodyPr wrap="none" rtlCol="0">
            <a:spAutoFit/>
          </a:bodyPr>
          <a:lstStyle/>
          <a:p>
            <a:r>
              <a:rPr lang="en-US" sz="1100" b="1" dirty="0"/>
              <a:t>Internal R6</a:t>
            </a:r>
            <a:endParaRPr lang="en-DE" sz="1100" b="1" dirty="0"/>
          </a:p>
        </p:txBody>
      </p:sp>
      <p:sp>
        <p:nvSpPr>
          <p:cNvPr id="532" name="TextBox 531">
            <a:extLst>
              <a:ext uri="{FF2B5EF4-FFF2-40B4-BE49-F238E27FC236}">
                <a16:creationId xmlns:a16="http://schemas.microsoft.com/office/drawing/2014/main" id="{021D732B-4513-825F-25AF-5AF23BC7A5D7}"/>
              </a:ext>
            </a:extLst>
          </p:cNvPr>
          <p:cNvSpPr txBox="1"/>
          <p:nvPr/>
        </p:nvSpPr>
        <p:spPr>
          <a:xfrm>
            <a:off x="6949597" y="4598443"/>
            <a:ext cx="776175" cy="261610"/>
          </a:xfrm>
          <a:prstGeom prst="rect">
            <a:avLst/>
          </a:prstGeom>
          <a:noFill/>
        </p:spPr>
        <p:txBody>
          <a:bodyPr wrap="none" rtlCol="0">
            <a:spAutoFit/>
          </a:bodyPr>
          <a:lstStyle/>
          <a:p>
            <a:r>
              <a:rPr lang="en-US" sz="1100" b="1" dirty="0"/>
              <a:t>Controller</a:t>
            </a:r>
            <a:endParaRPr lang="en-DE" sz="1100" b="1" dirty="0"/>
          </a:p>
        </p:txBody>
      </p:sp>
      <p:sp>
        <p:nvSpPr>
          <p:cNvPr id="533" name="TextBox 532">
            <a:extLst>
              <a:ext uri="{FF2B5EF4-FFF2-40B4-BE49-F238E27FC236}">
                <a16:creationId xmlns:a16="http://schemas.microsoft.com/office/drawing/2014/main" id="{11A3019A-951A-B6EA-C348-DCD363D45E14}"/>
              </a:ext>
            </a:extLst>
          </p:cNvPr>
          <p:cNvSpPr txBox="1"/>
          <p:nvPr/>
        </p:nvSpPr>
        <p:spPr>
          <a:xfrm>
            <a:off x="4969858" y="5367533"/>
            <a:ext cx="930063" cy="261610"/>
          </a:xfrm>
          <a:prstGeom prst="rect">
            <a:avLst/>
          </a:prstGeom>
          <a:noFill/>
        </p:spPr>
        <p:txBody>
          <a:bodyPr wrap="none" rtlCol="0">
            <a:spAutoFit/>
          </a:bodyPr>
          <a:lstStyle/>
          <a:p>
            <a:r>
              <a:rPr lang="en-US" sz="1100" b="1" dirty="0"/>
              <a:t>BGP Speaker</a:t>
            </a:r>
            <a:endParaRPr lang="en-DE" sz="1100" b="1" dirty="0"/>
          </a:p>
        </p:txBody>
      </p:sp>
      <p:sp>
        <p:nvSpPr>
          <p:cNvPr id="534" name="Title 1">
            <a:extLst>
              <a:ext uri="{FF2B5EF4-FFF2-40B4-BE49-F238E27FC236}">
                <a16:creationId xmlns:a16="http://schemas.microsoft.com/office/drawing/2014/main" id="{CBAC814A-FBA0-6D1D-3A6E-C0B4B0B016F9}"/>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
        <p:nvSpPr>
          <p:cNvPr id="535" name="Rectangle: Rounded Corners 534">
            <a:extLst>
              <a:ext uri="{FF2B5EF4-FFF2-40B4-BE49-F238E27FC236}">
                <a16:creationId xmlns:a16="http://schemas.microsoft.com/office/drawing/2014/main" id="{D4F3D124-50F6-3EF1-8E6C-6D0D4B94A7F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1706748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11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018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73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5"/>
            <a:ext cx="10515600" cy="585489"/>
          </a:xfrm>
        </p:spPr>
        <p:txBody>
          <a:bodyPr>
            <a:normAutofit/>
          </a:bodyPr>
          <a:lstStyle/>
          <a:p>
            <a:r>
              <a:rPr lang="en-US" sz="3600" dirty="0"/>
              <a:t>SDN network component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p:txBody>
          <a:bodyPr/>
          <a:lstStyle/>
          <a:p>
            <a:r>
              <a:rPr lang="en-US" dirty="0"/>
              <a:t>Open vSwitch</a:t>
            </a:r>
          </a:p>
        </p:txBody>
      </p:sp>
      <p:sp>
        <p:nvSpPr>
          <p:cNvPr id="4" name="Content Placeholder 3">
            <a:extLst>
              <a:ext uri="{FF2B5EF4-FFF2-40B4-BE49-F238E27FC236}">
                <a16:creationId xmlns:a16="http://schemas.microsoft.com/office/drawing/2014/main" id="{248D6B96-4FE0-28EE-A20E-166223C8CC3D}"/>
              </a:ext>
            </a:extLst>
          </p:cNvPr>
          <p:cNvSpPr>
            <a:spLocks noGrp="1"/>
          </p:cNvSpPr>
          <p:nvPr>
            <p:ph sz="half" idx="2"/>
          </p:nvPr>
        </p:nvSpPr>
        <p:spPr/>
        <p:txBody>
          <a:bodyPr/>
          <a:lstStyle/>
          <a:p>
            <a:r>
              <a:rPr lang="en-US" dirty="0"/>
              <a:t>OpenFlow</a:t>
            </a:r>
            <a:endParaRPr lang="en-DE" dirty="0"/>
          </a:p>
          <a:p>
            <a:endParaRPr lang="en-DE" dirty="0"/>
          </a:p>
        </p:txBody>
      </p:sp>
    </p:spTree>
    <p:extLst>
      <p:ext uri="{BB962C8B-B14F-4D97-AF65-F5344CB8AC3E}">
        <p14:creationId xmlns:p14="http://schemas.microsoft.com/office/powerpoint/2010/main" val="16330460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
        <p:nvSpPr>
          <p:cNvPr id="7" name="Title 6">
            <a:extLst>
              <a:ext uri="{FF2B5EF4-FFF2-40B4-BE49-F238E27FC236}">
                <a16:creationId xmlns:a16="http://schemas.microsoft.com/office/drawing/2014/main" id="{D40ADFC5-D09E-7A08-AFF7-6FAABA6492AB}"/>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26838923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19D86-4206-CAAE-9EF7-AE9865CDC1F5}"/>
              </a:ext>
            </a:extLst>
          </p:cNvPr>
          <p:cNvPicPr>
            <a:picLocks noChangeAspect="1"/>
          </p:cNvPicPr>
          <p:nvPr/>
        </p:nvPicPr>
        <p:blipFill>
          <a:blip r:embed="rId2"/>
          <a:stretch>
            <a:fillRect/>
          </a:stretch>
        </p:blipFill>
        <p:spPr>
          <a:xfrm>
            <a:off x="724278" y="1586776"/>
            <a:ext cx="11069370" cy="4523449"/>
          </a:xfrm>
          <a:prstGeom prst="rect">
            <a:avLst/>
          </a:prstGeom>
        </p:spPr>
      </p:pic>
      <p:sp>
        <p:nvSpPr>
          <p:cNvPr id="2" name="Title 1">
            <a:extLst>
              <a:ext uri="{FF2B5EF4-FFF2-40B4-BE49-F238E27FC236}">
                <a16:creationId xmlns:a16="http://schemas.microsoft.com/office/drawing/2014/main" id="{09D5D489-98C9-B5C4-5AEB-AD5ABB5CECEF}"/>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Tree>
    <p:extLst>
      <p:ext uri="{BB962C8B-B14F-4D97-AF65-F5344CB8AC3E}">
        <p14:creationId xmlns:p14="http://schemas.microsoft.com/office/powerpoint/2010/main" val="42840208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DCE3D2-E628-094D-5308-EECDC5524781}"/>
              </a:ext>
            </a:extLst>
          </p:cNvPr>
          <p:cNvPicPr>
            <a:picLocks noChangeAspect="1"/>
          </p:cNvPicPr>
          <p:nvPr/>
        </p:nvPicPr>
        <p:blipFill>
          <a:blip r:embed="rId2"/>
          <a:stretch>
            <a:fillRect/>
          </a:stretch>
        </p:blipFill>
        <p:spPr>
          <a:xfrm>
            <a:off x="956662" y="1172563"/>
            <a:ext cx="10278676" cy="5436246"/>
          </a:xfrm>
          <a:prstGeom prst="rect">
            <a:avLst/>
          </a:prstGeom>
        </p:spPr>
      </p:pic>
      <p:sp>
        <p:nvSpPr>
          <p:cNvPr id="2" name="Title 1">
            <a:extLst>
              <a:ext uri="{FF2B5EF4-FFF2-40B4-BE49-F238E27FC236}">
                <a16:creationId xmlns:a16="http://schemas.microsoft.com/office/drawing/2014/main" id="{42ACC8E5-D89E-16B4-86B3-636051B78FAA}"/>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Tree>
    <p:extLst>
      <p:ext uri="{BB962C8B-B14F-4D97-AF65-F5344CB8AC3E}">
        <p14:creationId xmlns:p14="http://schemas.microsoft.com/office/powerpoint/2010/main" val="68072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037658" y="113818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089117" y="3167747"/>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037658" y="5197305"/>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5844619" y="4117317"/>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5844619" y="2087759"/>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5986018" y="3404626"/>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071844" y="5527389"/>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414834" y="5527389"/>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531598" y="1390528"/>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544338" y="1412255"/>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588780" y="5364121"/>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503674" y="3319366"/>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341485" y="1289809"/>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749594" y="2461439"/>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749595" y="4488033"/>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105775" y="2429552"/>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100143" y="4445162"/>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03765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248379" y="3404626"/>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886243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073159" y="3404626"/>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600120" y="3642532"/>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2826800" y="3642532"/>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6743339" y="5527389"/>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086329" y="5527389"/>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2939955" y="3353137"/>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7680308" y="3334563"/>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
        <p:nvSpPr>
          <p:cNvPr id="8" name="Title 7">
            <a:extLst>
              <a:ext uri="{FF2B5EF4-FFF2-40B4-BE49-F238E27FC236}">
                <a16:creationId xmlns:a16="http://schemas.microsoft.com/office/drawing/2014/main" id="{ED79758E-FC75-3681-94A5-FE0089ABB317}"/>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323800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023249" y="211316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6745951" y="2626968"/>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4961987" y="215230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161141" y="2509127"/>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103558" y="1781458"/>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5996253" y="1744987"/>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6671891" y="2282305"/>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4060376" y="215896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7" name="TextBox 266">
            <a:extLst>
              <a:ext uri="{FF2B5EF4-FFF2-40B4-BE49-F238E27FC236}">
                <a16:creationId xmlns:a16="http://schemas.microsoft.com/office/drawing/2014/main" id="{AFFDEE78-1795-3C3F-29DC-B66DBF9D6D08}"/>
              </a:ext>
            </a:extLst>
          </p:cNvPr>
          <p:cNvSpPr txBox="1"/>
          <p:nvPr/>
        </p:nvSpPr>
        <p:spPr>
          <a:xfrm>
            <a:off x="3778235" y="2536146"/>
            <a:ext cx="456823" cy="230832"/>
          </a:xfrm>
          <a:prstGeom prst="rect">
            <a:avLst/>
          </a:prstGeom>
          <a:noFill/>
        </p:spPr>
        <p:txBody>
          <a:bodyPr wrap="square" rtlCol="0">
            <a:spAutoFit/>
          </a:bodyPr>
          <a:lstStyle/>
          <a:p>
            <a:r>
              <a:rPr lang="en-US" sz="900" dirty="0"/>
              <a:t>eth14</a:t>
            </a:r>
            <a:endParaRPr lang="en-DE" sz="900" dirty="0"/>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6596810" y="3393681"/>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3667" y="3820620"/>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6533672" y="3781868"/>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704005" y="4176121"/>
            <a:ext cx="546945" cy="261610"/>
          </a:xfrm>
          <a:prstGeom prst="rect">
            <a:avLst/>
          </a:prstGeom>
          <a:solidFill>
            <a:schemeClr val="bg2"/>
          </a:solidFill>
        </p:spPr>
        <p:txBody>
          <a:bodyPr wrap="none" rtlCol="0">
            <a:spAutoFit/>
          </a:bodyPr>
          <a:lstStyle/>
          <a:p>
            <a:r>
              <a:rPr lang="en-US" sz="1100" b="1" dirty="0"/>
              <a:t>OVS-4</a:t>
            </a:r>
            <a:endParaRPr lang="en-DE" sz="1100" b="1" dirty="0"/>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4263" y="4186541"/>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045080" y="2626967"/>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6896654" y="3544995"/>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093321" y="4194873"/>
            <a:ext cx="456823" cy="230832"/>
          </a:xfrm>
          <a:prstGeom prst="rect">
            <a:avLst/>
          </a:prstGeom>
          <a:noFill/>
        </p:spPr>
        <p:txBody>
          <a:bodyPr wrap="square" rtlCol="0">
            <a:spAutoFit/>
          </a:bodyPr>
          <a:lstStyle/>
          <a:p>
            <a:r>
              <a:rPr lang="en-US" sz="900" dirty="0"/>
              <a:t>eth14</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388524" y="1369828"/>
            <a:ext cx="644751" cy="7449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52853" y="4550860"/>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682410" y="4828299"/>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4207812" y="2352151"/>
            <a:ext cx="264606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81415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520656" y="431126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7965" y="4399801"/>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013871" y="5052499"/>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55719" y="486782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endCxn id="757" idx="6"/>
          </p:cNvCxnSpPr>
          <p:nvPr/>
        </p:nvCxnSpPr>
        <p:spPr>
          <a:xfrm flipV="1">
            <a:off x="6546860" y="1369828"/>
            <a:ext cx="486415" cy="642762"/>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89246" y="467558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718803" y="495302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68987" y="493252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128223" y="494646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3976895" y="1923936"/>
            <a:ext cx="3091255" cy="2378949"/>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2323530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C74A06-FDCB-93E7-93BE-83899F9CE870}"/>
              </a:ext>
            </a:extLst>
          </p:cNvPr>
          <p:cNvSpPr/>
          <p:nvPr/>
        </p:nvSpPr>
        <p:spPr>
          <a:xfrm>
            <a:off x="591675" y="2243475"/>
            <a:ext cx="1381244" cy="5969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witchport</a:t>
            </a:r>
            <a:endParaRPr lang="en-DE" sz="1400" dirty="0">
              <a:solidFill>
                <a:schemeClr val="tx1"/>
              </a:solidFill>
            </a:endParaRPr>
          </a:p>
        </p:txBody>
      </p:sp>
      <p:sp>
        <p:nvSpPr>
          <p:cNvPr id="3" name="Rectangle 2">
            <a:extLst>
              <a:ext uri="{FF2B5EF4-FFF2-40B4-BE49-F238E27FC236}">
                <a16:creationId xmlns:a16="http://schemas.microsoft.com/office/drawing/2014/main" id="{F7C8FD6C-B21F-E9A5-62F9-67BF2F906AFF}"/>
              </a:ext>
            </a:extLst>
          </p:cNvPr>
          <p:cNvSpPr/>
          <p:nvPr/>
        </p:nvSpPr>
        <p:spPr>
          <a:xfrm>
            <a:off x="1974798"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LAN ID</a:t>
            </a:r>
            <a:endParaRPr lang="en-DE" sz="1400" dirty="0">
              <a:solidFill>
                <a:schemeClr val="tx1"/>
              </a:solidFill>
            </a:endParaRPr>
          </a:p>
        </p:txBody>
      </p:sp>
      <p:sp>
        <p:nvSpPr>
          <p:cNvPr id="4" name="Rectangle 3">
            <a:extLst>
              <a:ext uri="{FF2B5EF4-FFF2-40B4-BE49-F238E27FC236}">
                <a16:creationId xmlns:a16="http://schemas.microsoft.com/office/drawing/2014/main" id="{92095C5A-9FD7-D180-6F09-F4B5DDE5B33D}"/>
              </a:ext>
            </a:extLst>
          </p:cNvPr>
          <p:cNvSpPr/>
          <p:nvPr/>
        </p:nvSpPr>
        <p:spPr>
          <a:xfrm>
            <a:off x="3359323"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MAC</a:t>
            </a:r>
            <a:endParaRPr lang="en-DE" sz="1400" dirty="0">
              <a:solidFill>
                <a:schemeClr val="tx1"/>
              </a:solidFill>
            </a:endParaRPr>
          </a:p>
        </p:txBody>
      </p:sp>
      <p:sp>
        <p:nvSpPr>
          <p:cNvPr id="5" name="Rectangle 4">
            <a:extLst>
              <a:ext uri="{FF2B5EF4-FFF2-40B4-BE49-F238E27FC236}">
                <a16:creationId xmlns:a16="http://schemas.microsoft.com/office/drawing/2014/main" id="{EE2491F0-16D2-4CE5-8F81-83E7B6AE680D}"/>
              </a:ext>
            </a:extLst>
          </p:cNvPr>
          <p:cNvSpPr/>
          <p:nvPr/>
        </p:nvSpPr>
        <p:spPr>
          <a:xfrm>
            <a:off x="4741181" y="2243473"/>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MAC</a:t>
            </a:r>
            <a:endParaRPr lang="en-DE" sz="1400" dirty="0">
              <a:solidFill>
                <a:schemeClr val="tx1"/>
              </a:solidFill>
            </a:endParaRPr>
          </a:p>
        </p:txBody>
      </p:sp>
      <p:sp>
        <p:nvSpPr>
          <p:cNvPr id="6" name="Rectangle 5">
            <a:extLst>
              <a:ext uri="{FF2B5EF4-FFF2-40B4-BE49-F238E27FC236}">
                <a16:creationId xmlns:a16="http://schemas.microsoft.com/office/drawing/2014/main" id="{D60AE4E7-1935-BB48-963F-008B3D9CC77A}"/>
              </a:ext>
            </a:extLst>
          </p:cNvPr>
          <p:cNvSpPr/>
          <p:nvPr/>
        </p:nvSpPr>
        <p:spPr>
          <a:xfrm>
            <a:off x="8910529" y="2243473"/>
            <a:ext cx="1381244" cy="5969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Match-fields</a:t>
            </a:r>
            <a:endParaRPr lang="en-DE" sz="1400" dirty="0">
              <a:solidFill>
                <a:schemeClr val="tx1"/>
              </a:solidFill>
            </a:endParaRPr>
          </a:p>
        </p:txBody>
      </p:sp>
      <p:sp>
        <p:nvSpPr>
          <p:cNvPr id="7" name="Rectangle 6">
            <a:extLst>
              <a:ext uri="{FF2B5EF4-FFF2-40B4-BE49-F238E27FC236}">
                <a16:creationId xmlns:a16="http://schemas.microsoft.com/office/drawing/2014/main" id="{FA1A2EB5-EB23-62ED-E94D-0EE6DC4F8932}"/>
              </a:ext>
            </a:extLst>
          </p:cNvPr>
          <p:cNvSpPr/>
          <p:nvPr/>
        </p:nvSpPr>
        <p:spPr>
          <a:xfrm>
            <a:off x="10291773" y="2243473"/>
            <a:ext cx="1381244" cy="596900"/>
          </a:xfrm>
          <a:prstGeom prst="rect">
            <a:avLst/>
          </a:prstGeom>
          <a:solidFill>
            <a:srgbClr val="E4D0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Action</a:t>
            </a:r>
            <a:endParaRPr lang="en-DE" sz="1400" dirty="0">
              <a:solidFill>
                <a:schemeClr val="tx1"/>
              </a:solidFill>
            </a:endParaRPr>
          </a:p>
        </p:txBody>
      </p:sp>
      <p:sp>
        <p:nvSpPr>
          <p:cNvPr id="8" name="Rectangle 7">
            <a:extLst>
              <a:ext uri="{FF2B5EF4-FFF2-40B4-BE49-F238E27FC236}">
                <a16:creationId xmlns:a16="http://schemas.microsoft.com/office/drawing/2014/main" id="{CDBF138C-8CE9-632A-26A2-86017C3ECFE1}"/>
              </a:ext>
            </a:extLst>
          </p:cNvPr>
          <p:cNvSpPr/>
          <p:nvPr/>
        </p:nvSpPr>
        <p:spPr>
          <a:xfrm>
            <a:off x="6133677"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IP</a:t>
            </a:r>
            <a:endParaRPr lang="en-DE" sz="1400" dirty="0">
              <a:solidFill>
                <a:schemeClr val="tx1"/>
              </a:solidFill>
            </a:endParaRPr>
          </a:p>
        </p:txBody>
      </p:sp>
      <p:sp>
        <p:nvSpPr>
          <p:cNvPr id="9" name="Rectangle 8">
            <a:extLst>
              <a:ext uri="{FF2B5EF4-FFF2-40B4-BE49-F238E27FC236}">
                <a16:creationId xmlns:a16="http://schemas.microsoft.com/office/drawing/2014/main" id="{A6508ABD-8842-0CE6-9A00-91933FD38115}"/>
              </a:ext>
            </a:extLst>
          </p:cNvPr>
          <p:cNvSpPr/>
          <p:nvPr/>
        </p:nvSpPr>
        <p:spPr>
          <a:xfrm>
            <a:off x="7526173"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IP</a:t>
            </a:r>
            <a:endParaRPr lang="en-DE" sz="1400" dirty="0">
              <a:solidFill>
                <a:schemeClr val="tx1"/>
              </a:solidFill>
            </a:endParaRPr>
          </a:p>
        </p:txBody>
      </p:sp>
      <p:sp>
        <p:nvSpPr>
          <p:cNvPr id="10" name="TextBox 9">
            <a:extLst>
              <a:ext uri="{FF2B5EF4-FFF2-40B4-BE49-F238E27FC236}">
                <a16:creationId xmlns:a16="http://schemas.microsoft.com/office/drawing/2014/main" id="{00A644CE-4BDD-A273-71D0-D7D22CB683A5}"/>
              </a:ext>
            </a:extLst>
          </p:cNvPr>
          <p:cNvSpPr txBox="1"/>
          <p:nvPr/>
        </p:nvSpPr>
        <p:spPr>
          <a:xfrm>
            <a:off x="1144278" y="2849978"/>
            <a:ext cx="276038" cy="307777"/>
          </a:xfrm>
          <a:prstGeom prst="rect">
            <a:avLst/>
          </a:prstGeom>
          <a:noFill/>
        </p:spPr>
        <p:txBody>
          <a:bodyPr wrap="none" rtlCol="0">
            <a:spAutoFit/>
          </a:bodyPr>
          <a:lstStyle/>
          <a:p>
            <a:r>
              <a:rPr lang="en-US" sz="1400" dirty="0"/>
              <a:t>1</a:t>
            </a:r>
            <a:endParaRPr lang="en-DE" sz="1400" dirty="0"/>
          </a:p>
        </p:txBody>
      </p:sp>
      <p:sp>
        <p:nvSpPr>
          <p:cNvPr id="11" name="TextBox 10">
            <a:extLst>
              <a:ext uri="{FF2B5EF4-FFF2-40B4-BE49-F238E27FC236}">
                <a16:creationId xmlns:a16="http://schemas.microsoft.com/office/drawing/2014/main" id="{92A308E8-AE17-0E71-380B-55C72AA22F3A}"/>
              </a:ext>
            </a:extLst>
          </p:cNvPr>
          <p:cNvSpPr txBox="1"/>
          <p:nvPr/>
        </p:nvSpPr>
        <p:spPr>
          <a:xfrm>
            <a:off x="10347830" y="2840375"/>
            <a:ext cx="1269130" cy="307777"/>
          </a:xfrm>
          <a:prstGeom prst="rect">
            <a:avLst/>
          </a:prstGeom>
          <a:noFill/>
        </p:spPr>
        <p:txBody>
          <a:bodyPr wrap="none" rtlCol="0">
            <a:spAutoFit/>
          </a:bodyPr>
          <a:lstStyle/>
          <a:p>
            <a:r>
              <a:rPr lang="en-US" sz="1400" dirty="0"/>
              <a:t>Egress port 2,3</a:t>
            </a:r>
            <a:endParaRPr lang="en-DE" sz="1400" dirty="0"/>
          </a:p>
        </p:txBody>
      </p:sp>
      <p:sp>
        <p:nvSpPr>
          <p:cNvPr id="12" name="TextBox 11">
            <a:extLst>
              <a:ext uri="{FF2B5EF4-FFF2-40B4-BE49-F238E27FC236}">
                <a16:creationId xmlns:a16="http://schemas.microsoft.com/office/drawing/2014/main" id="{83F21955-4807-5567-4A68-0FAB80660819}"/>
              </a:ext>
            </a:extLst>
          </p:cNvPr>
          <p:cNvSpPr txBox="1"/>
          <p:nvPr/>
        </p:nvSpPr>
        <p:spPr>
          <a:xfrm>
            <a:off x="4775188" y="2840375"/>
            <a:ext cx="1406154" cy="307777"/>
          </a:xfrm>
          <a:prstGeom prst="rect">
            <a:avLst/>
          </a:prstGeom>
          <a:noFill/>
        </p:spPr>
        <p:txBody>
          <a:bodyPr wrap="none" rtlCol="0">
            <a:spAutoFit/>
          </a:bodyPr>
          <a:lstStyle/>
          <a:p>
            <a:r>
              <a:rPr lang="en-US" sz="1400" dirty="0"/>
              <a:t>FF:FF:FF:FF:FF:FF</a:t>
            </a:r>
            <a:endParaRPr lang="en-DE" sz="1400" dirty="0"/>
          </a:p>
        </p:txBody>
      </p:sp>
      <p:sp>
        <p:nvSpPr>
          <p:cNvPr id="13" name="TextBox 12">
            <a:extLst>
              <a:ext uri="{FF2B5EF4-FFF2-40B4-BE49-F238E27FC236}">
                <a16:creationId xmlns:a16="http://schemas.microsoft.com/office/drawing/2014/main" id="{A2F7A25F-BF01-5428-9D5F-41C9CB4C1630}"/>
              </a:ext>
            </a:extLst>
          </p:cNvPr>
          <p:cNvSpPr txBox="1"/>
          <p:nvPr/>
        </p:nvSpPr>
        <p:spPr>
          <a:xfrm>
            <a:off x="9071677" y="2840373"/>
            <a:ext cx="1052724" cy="738664"/>
          </a:xfrm>
          <a:prstGeom prst="rect">
            <a:avLst/>
          </a:prstGeom>
          <a:noFill/>
        </p:spPr>
        <p:txBody>
          <a:bodyPr wrap="none" rtlCol="0">
            <a:spAutoFit/>
          </a:bodyPr>
          <a:lstStyle/>
          <a:p>
            <a:r>
              <a:rPr lang="en-US" sz="1400" dirty="0"/>
              <a:t>Ingress port</a:t>
            </a:r>
          </a:p>
          <a:p>
            <a:r>
              <a:rPr lang="en-US" sz="1400" dirty="0"/>
              <a:t>Dest MAC</a:t>
            </a:r>
          </a:p>
          <a:p>
            <a:r>
              <a:rPr lang="en-US" sz="1400" dirty="0"/>
              <a:t>VLAN ID</a:t>
            </a:r>
            <a:endParaRPr lang="en-DE" sz="1400" dirty="0"/>
          </a:p>
        </p:txBody>
      </p:sp>
      <p:sp>
        <p:nvSpPr>
          <p:cNvPr id="14" name="TextBox 13">
            <a:extLst>
              <a:ext uri="{FF2B5EF4-FFF2-40B4-BE49-F238E27FC236}">
                <a16:creationId xmlns:a16="http://schemas.microsoft.com/office/drawing/2014/main" id="{4EE1865F-0AAF-EA23-0B4A-CC4501D76220}"/>
              </a:ext>
            </a:extLst>
          </p:cNvPr>
          <p:cNvSpPr txBox="1"/>
          <p:nvPr/>
        </p:nvSpPr>
        <p:spPr>
          <a:xfrm>
            <a:off x="2528203" y="2849978"/>
            <a:ext cx="367408" cy="307777"/>
          </a:xfrm>
          <a:prstGeom prst="rect">
            <a:avLst/>
          </a:prstGeom>
          <a:noFill/>
        </p:spPr>
        <p:txBody>
          <a:bodyPr wrap="none" rtlCol="0">
            <a:spAutoFit/>
          </a:bodyPr>
          <a:lstStyle/>
          <a:p>
            <a:r>
              <a:rPr lang="en-US" sz="1400" dirty="0"/>
              <a:t>10</a:t>
            </a:r>
            <a:endParaRPr lang="en-DE" sz="1400" dirty="0"/>
          </a:p>
        </p:txBody>
      </p:sp>
      <p:sp>
        <p:nvSpPr>
          <p:cNvPr id="15" name="TextBox 14">
            <a:extLst>
              <a:ext uri="{FF2B5EF4-FFF2-40B4-BE49-F238E27FC236}">
                <a16:creationId xmlns:a16="http://schemas.microsoft.com/office/drawing/2014/main" id="{46E62BD3-570B-3B37-1804-078F9F2B8815}"/>
              </a:ext>
            </a:extLst>
          </p:cNvPr>
          <p:cNvSpPr txBox="1"/>
          <p:nvPr/>
        </p:nvSpPr>
        <p:spPr>
          <a:xfrm>
            <a:off x="3921950" y="2849978"/>
            <a:ext cx="274434" cy="307777"/>
          </a:xfrm>
          <a:prstGeom prst="rect">
            <a:avLst/>
          </a:prstGeom>
          <a:noFill/>
        </p:spPr>
        <p:txBody>
          <a:bodyPr wrap="none" rtlCol="0">
            <a:spAutoFit/>
          </a:bodyPr>
          <a:lstStyle/>
          <a:p>
            <a:r>
              <a:rPr lang="en-US" sz="1400" dirty="0"/>
              <a:t>*</a:t>
            </a:r>
            <a:endParaRPr lang="en-DE" sz="1400" dirty="0"/>
          </a:p>
        </p:txBody>
      </p:sp>
      <p:sp>
        <p:nvSpPr>
          <p:cNvPr id="16" name="TextBox 15">
            <a:extLst>
              <a:ext uri="{FF2B5EF4-FFF2-40B4-BE49-F238E27FC236}">
                <a16:creationId xmlns:a16="http://schemas.microsoft.com/office/drawing/2014/main" id="{CFFA7BCD-865B-CC08-35B6-3B510424201C}"/>
              </a:ext>
            </a:extLst>
          </p:cNvPr>
          <p:cNvSpPr txBox="1"/>
          <p:nvPr/>
        </p:nvSpPr>
        <p:spPr>
          <a:xfrm>
            <a:off x="6697713" y="2854945"/>
            <a:ext cx="274434" cy="307777"/>
          </a:xfrm>
          <a:prstGeom prst="rect">
            <a:avLst/>
          </a:prstGeom>
          <a:noFill/>
        </p:spPr>
        <p:txBody>
          <a:bodyPr wrap="none" rtlCol="0">
            <a:spAutoFit/>
          </a:bodyPr>
          <a:lstStyle/>
          <a:p>
            <a:r>
              <a:rPr lang="en-US" sz="1400" dirty="0"/>
              <a:t>*</a:t>
            </a:r>
            <a:endParaRPr lang="en-DE" sz="1400" dirty="0"/>
          </a:p>
        </p:txBody>
      </p:sp>
      <p:sp>
        <p:nvSpPr>
          <p:cNvPr id="17" name="TextBox 16">
            <a:extLst>
              <a:ext uri="{FF2B5EF4-FFF2-40B4-BE49-F238E27FC236}">
                <a16:creationId xmlns:a16="http://schemas.microsoft.com/office/drawing/2014/main" id="{DB1ABAF7-C978-66C3-CC35-5F563B00B58A}"/>
              </a:ext>
            </a:extLst>
          </p:cNvPr>
          <p:cNvSpPr txBox="1"/>
          <p:nvPr/>
        </p:nvSpPr>
        <p:spPr>
          <a:xfrm>
            <a:off x="8091460" y="2854945"/>
            <a:ext cx="274434" cy="307777"/>
          </a:xfrm>
          <a:prstGeom prst="rect">
            <a:avLst/>
          </a:prstGeom>
          <a:noFill/>
        </p:spPr>
        <p:txBody>
          <a:bodyPr wrap="none" rtlCol="0">
            <a:spAutoFit/>
          </a:bodyPr>
          <a:lstStyle/>
          <a:p>
            <a:r>
              <a:rPr lang="en-US" sz="1400" dirty="0"/>
              <a:t>*</a:t>
            </a:r>
            <a:endParaRPr lang="en-DE" sz="1400" dirty="0"/>
          </a:p>
        </p:txBody>
      </p:sp>
    </p:spTree>
    <p:extLst>
      <p:ext uri="{BB962C8B-B14F-4D97-AF65-F5344CB8AC3E}">
        <p14:creationId xmlns:p14="http://schemas.microsoft.com/office/powerpoint/2010/main" val="39061398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BFF6F1-C87F-CA3E-FA21-0EE3182C0A2D}"/>
              </a:ext>
            </a:extLst>
          </p:cNvPr>
          <p:cNvPicPr>
            <a:picLocks noChangeAspect="1"/>
          </p:cNvPicPr>
          <p:nvPr/>
        </p:nvPicPr>
        <p:blipFill>
          <a:blip r:embed="rId2"/>
          <a:stretch>
            <a:fillRect/>
          </a:stretch>
        </p:blipFill>
        <p:spPr>
          <a:xfrm>
            <a:off x="3314312" y="693899"/>
            <a:ext cx="5563376" cy="2657846"/>
          </a:xfrm>
          <a:prstGeom prst="rect">
            <a:avLst/>
          </a:prstGeom>
        </p:spPr>
      </p:pic>
      <p:pic>
        <p:nvPicPr>
          <p:cNvPr id="5" name="Picture 4">
            <a:extLst>
              <a:ext uri="{FF2B5EF4-FFF2-40B4-BE49-F238E27FC236}">
                <a16:creationId xmlns:a16="http://schemas.microsoft.com/office/drawing/2014/main" id="{0F808626-4869-07B6-CAAB-9B8DC1F1F91E}"/>
              </a:ext>
            </a:extLst>
          </p:cNvPr>
          <p:cNvPicPr>
            <a:picLocks noChangeAspect="1"/>
          </p:cNvPicPr>
          <p:nvPr/>
        </p:nvPicPr>
        <p:blipFill>
          <a:blip r:embed="rId3"/>
          <a:stretch>
            <a:fillRect/>
          </a:stretch>
        </p:blipFill>
        <p:spPr>
          <a:xfrm>
            <a:off x="3295260" y="3515781"/>
            <a:ext cx="5544324" cy="2648320"/>
          </a:xfrm>
          <a:prstGeom prst="rect">
            <a:avLst/>
          </a:prstGeom>
        </p:spPr>
      </p:pic>
      <p:sp>
        <p:nvSpPr>
          <p:cNvPr id="6" name="Rectangle 5">
            <a:extLst>
              <a:ext uri="{FF2B5EF4-FFF2-40B4-BE49-F238E27FC236}">
                <a16:creationId xmlns:a16="http://schemas.microsoft.com/office/drawing/2014/main" id="{23194752-CC76-3E55-633D-F4C914577576}"/>
              </a:ext>
            </a:extLst>
          </p:cNvPr>
          <p:cNvSpPr/>
          <p:nvPr/>
        </p:nvSpPr>
        <p:spPr>
          <a:xfrm>
            <a:off x="3295260" y="5161149"/>
            <a:ext cx="5544324" cy="556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282911C8-D6A4-95FF-08CF-D5C16EB8740E}"/>
              </a:ext>
            </a:extLst>
          </p:cNvPr>
          <p:cNvSpPr/>
          <p:nvPr/>
        </p:nvSpPr>
        <p:spPr>
          <a:xfrm>
            <a:off x="3349081" y="2376906"/>
            <a:ext cx="5475053" cy="3350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DDD0F4E4-C39A-2E77-E2A6-F7DC331CBE8E}"/>
              </a:ext>
            </a:extLst>
          </p:cNvPr>
          <p:cNvSpPr/>
          <p:nvPr/>
        </p:nvSpPr>
        <p:spPr>
          <a:xfrm>
            <a:off x="3349081" y="2754861"/>
            <a:ext cx="5475053" cy="5262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Rectangle 8">
            <a:extLst>
              <a:ext uri="{FF2B5EF4-FFF2-40B4-BE49-F238E27FC236}">
                <a16:creationId xmlns:a16="http://schemas.microsoft.com/office/drawing/2014/main" id="{0350C04B-C26E-5D0E-BC8F-B593A9EAAC2F}"/>
              </a:ext>
            </a:extLst>
          </p:cNvPr>
          <p:cNvSpPr/>
          <p:nvPr/>
        </p:nvSpPr>
        <p:spPr>
          <a:xfrm>
            <a:off x="3295260" y="5746376"/>
            <a:ext cx="5544324" cy="3726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0" name="Straight Connector 9">
            <a:extLst>
              <a:ext uri="{FF2B5EF4-FFF2-40B4-BE49-F238E27FC236}">
                <a16:creationId xmlns:a16="http://schemas.microsoft.com/office/drawing/2014/main" id="{70717ECF-F0DA-D742-EE7B-7BA6C90A5D91}"/>
              </a:ext>
            </a:extLst>
          </p:cNvPr>
          <p:cNvCxnSpPr>
            <a:cxnSpLocks/>
          </p:cNvCxnSpPr>
          <p:nvPr/>
        </p:nvCxnSpPr>
        <p:spPr>
          <a:xfrm>
            <a:off x="3330029" y="4264526"/>
            <a:ext cx="36298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E7F980F-DBB2-7E73-FF11-D83799F25348}"/>
              </a:ext>
            </a:extLst>
          </p:cNvPr>
          <p:cNvCxnSpPr>
            <a:cxnSpLocks/>
          </p:cNvCxnSpPr>
          <p:nvPr/>
        </p:nvCxnSpPr>
        <p:spPr>
          <a:xfrm>
            <a:off x="3375979" y="1476485"/>
            <a:ext cx="3602902"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2668466-6A42-0EE7-6B09-34690C807F88}"/>
              </a:ext>
            </a:extLst>
          </p:cNvPr>
          <p:cNvCxnSpPr>
            <a:cxnSpLocks/>
          </p:cNvCxnSpPr>
          <p:nvPr/>
        </p:nvCxnSpPr>
        <p:spPr>
          <a:xfrm flipV="1">
            <a:off x="3205804" y="3429000"/>
            <a:ext cx="5922828" cy="13975"/>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6954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with medium confidence">
            <a:extLst>
              <a:ext uri="{FF2B5EF4-FFF2-40B4-BE49-F238E27FC236}">
                <a16:creationId xmlns:a16="http://schemas.microsoft.com/office/drawing/2014/main" id="{1F18619C-C7AF-847E-2477-42C18F755FA2}"/>
              </a:ext>
            </a:extLst>
          </p:cNvPr>
          <p:cNvPicPr>
            <a:picLocks noChangeAspect="1"/>
          </p:cNvPicPr>
          <p:nvPr/>
        </p:nvPicPr>
        <p:blipFill>
          <a:blip r:embed="rId2"/>
          <a:stretch>
            <a:fillRect/>
          </a:stretch>
        </p:blipFill>
        <p:spPr>
          <a:xfrm>
            <a:off x="4261485" y="1654810"/>
            <a:ext cx="3669030" cy="3548380"/>
          </a:xfrm>
          <a:prstGeom prst="rect">
            <a:avLst/>
          </a:prstGeom>
        </p:spPr>
      </p:pic>
      <p:sp>
        <p:nvSpPr>
          <p:cNvPr id="4" name="Rectangle 3">
            <a:extLst>
              <a:ext uri="{FF2B5EF4-FFF2-40B4-BE49-F238E27FC236}">
                <a16:creationId xmlns:a16="http://schemas.microsoft.com/office/drawing/2014/main" id="{807D037A-F79F-11F2-8223-2DF77E101B72}"/>
              </a:ext>
            </a:extLst>
          </p:cNvPr>
          <p:cNvSpPr/>
          <p:nvPr/>
        </p:nvSpPr>
        <p:spPr>
          <a:xfrm>
            <a:off x="4265945" y="2756581"/>
            <a:ext cx="3664569" cy="3657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5D816606-87CE-E5C6-8CE0-63D73A606E3B}"/>
              </a:ext>
            </a:extLst>
          </p:cNvPr>
          <p:cNvSpPr/>
          <p:nvPr/>
        </p:nvSpPr>
        <p:spPr>
          <a:xfrm>
            <a:off x="4261485" y="4568283"/>
            <a:ext cx="3664569" cy="2535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Rectangle 5">
            <a:extLst>
              <a:ext uri="{FF2B5EF4-FFF2-40B4-BE49-F238E27FC236}">
                <a16:creationId xmlns:a16="http://schemas.microsoft.com/office/drawing/2014/main" id="{5215B222-8207-D6B6-3D6F-450D49DF386F}"/>
              </a:ext>
            </a:extLst>
          </p:cNvPr>
          <p:cNvSpPr/>
          <p:nvPr/>
        </p:nvSpPr>
        <p:spPr>
          <a:xfrm>
            <a:off x="4261485" y="4834811"/>
            <a:ext cx="3664569" cy="3657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AAACB35D-3089-23E3-490B-E83B5CAD70F3}"/>
              </a:ext>
            </a:extLst>
          </p:cNvPr>
          <p:cNvSpPr/>
          <p:nvPr/>
        </p:nvSpPr>
        <p:spPr>
          <a:xfrm>
            <a:off x="4261484" y="3135365"/>
            <a:ext cx="3664569" cy="2535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2" name="Straight Connector 11">
            <a:extLst>
              <a:ext uri="{FF2B5EF4-FFF2-40B4-BE49-F238E27FC236}">
                <a16:creationId xmlns:a16="http://schemas.microsoft.com/office/drawing/2014/main" id="{8DDBE1D0-0938-6885-A50F-67756DAC1854}"/>
              </a:ext>
            </a:extLst>
          </p:cNvPr>
          <p:cNvCxnSpPr>
            <a:cxnSpLocks/>
          </p:cNvCxnSpPr>
          <p:nvPr/>
        </p:nvCxnSpPr>
        <p:spPr>
          <a:xfrm>
            <a:off x="4261484" y="3975039"/>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161854-6DEA-B0D0-1630-09B23C46D599}"/>
              </a:ext>
            </a:extLst>
          </p:cNvPr>
          <p:cNvCxnSpPr>
            <a:cxnSpLocks/>
          </p:cNvCxnSpPr>
          <p:nvPr/>
        </p:nvCxnSpPr>
        <p:spPr>
          <a:xfrm>
            <a:off x="4261484" y="2160364"/>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0574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AFF917A3-3554-EC00-B9FB-8F99E1B0F659}"/>
              </a:ext>
            </a:extLst>
          </p:cNvPr>
          <p:cNvPicPr>
            <a:picLocks noChangeAspect="1"/>
          </p:cNvPicPr>
          <p:nvPr/>
        </p:nvPicPr>
        <p:blipFill rotWithShape="1">
          <a:blip r:embed="rId2"/>
          <a:srcRect l="625" t="12954" r="879" b="805"/>
          <a:stretch/>
        </p:blipFill>
        <p:spPr bwMode="auto">
          <a:xfrm>
            <a:off x="3259772" y="1416685"/>
            <a:ext cx="5672455" cy="4024630"/>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8A8FE217-F855-3E71-9435-E97A155748B6}"/>
              </a:ext>
            </a:extLst>
          </p:cNvPr>
          <p:cNvSpPr txBox="1"/>
          <p:nvPr/>
        </p:nvSpPr>
        <p:spPr>
          <a:xfrm>
            <a:off x="3363849" y="325030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6962834" y="5090830"/>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363849" y="514673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6756842" y="315200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3136826" y="398016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3136826" y="4369023"/>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538571" y="3613722"/>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38571" y="4646022"/>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41024"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752237" y="4646021"/>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167890" y="3977153"/>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167890" y="4335928"/>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629391" y="3475221"/>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623785" y="486479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851628" y="3388806"/>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892105" y="4813831"/>
            <a:ext cx="393495" cy="276999"/>
          </a:xfrm>
          <a:prstGeom prst="rect">
            <a:avLst/>
          </a:prstGeom>
          <a:noFill/>
        </p:spPr>
        <p:txBody>
          <a:bodyPr wrap="square" rtlCol="0">
            <a:spAutoFit/>
          </a:bodyPr>
          <a:lstStyle/>
          <a:p>
            <a:r>
              <a:rPr lang="en-US" sz="1200" dirty="0"/>
              <a:t>S2</a:t>
            </a:r>
            <a:endParaRPr lang="en-DE" sz="1200" dirty="0"/>
          </a:p>
        </p:txBody>
      </p:sp>
    </p:spTree>
    <p:extLst>
      <p:ext uri="{BB962C8B-B14F-4D97-AF65-F5344CB8AC3E}">
        <p14:creationId xmlns:p14="http://schemas.microsoft.com/office/powerpoint/2010/main" val="5095696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Timeline&#10;&#10;Description automatically generated">
            <a:extLst>
              <a:ext uri="{FF2B5EF4-FFF2-40B4-BE49-F238E27FC236}">
                <a16:creationId xmlns:a16="http://schemas.microsoft.com/office/drawing/2014/main" id="{F52AC3C3-CCE5-8555-6603-A9F667C5047E}"/>
              </a:ext>
            </a:extLst>
          </p:cNvPr>
          <p:cNvPicPr>
            <a:picLocks noChangeAspect="1"/>
          </p:cNvPicPr>
          <p:nvPr/>
        </p:nvPicPr>
        <p:blipFill>
          <a:blip r:embed="rId2"/>
          <a:stretch>
            <a:fillRect/>
          </a:stretch>
        </p:blipFill>
        <p:spPr>
          <a:xfrm>
            <a:off x="3015854" y="1586648"/>
            <a:ext cx="6403705" cy="4158314"/>
          </a:xfrm>
          <a:prstGeom prst="rect">
            <a:avLst/>
          </a:prstGeom>
        </p:spPr>
      </p:pic>
      <p:sp>
        <p:nvSpPr>
          <p:cNvPr id="3" name="TextBox 2">
            <a:extLst>
              <a:ext uri="{FF2B5EF4-FFF2-40B4-BE49-F238E27FC236}">
                <a16:creationId xmlns:a16="http://schemas.microsoft.com/office/drawing/2014/main" id="{8A8FE217-F855-3E71-9435-E97A155748B6}"/>
              </a:ext>
            </a:extLst>
          </p:cNvPr>
          <p:cNvSpPr txBox="1"/>
          <p:nvPr/>
        </p:nvSpPr>
        <p:spPr>
          <a:xfrm>
            <a:off x="3136826" y="2856889"/>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7106373" y="5429916"/>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055841" y="5438848"/>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7088852" y="2856889"/>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2935342" y="395073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2935342" y="4426535"/>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368530" y="3613721"/>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87234" y="4761775"/>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52237"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986288" y="4761775"/>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371141" y="3943868"/>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371141" y="4426535"/>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338130" y="3131583"/>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338130" y="511487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995167" y="3127405"/>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995167" y="5114870"/>
            <a:ext cx="393495" cy="276999"/>
          </a:xfrm>
          <a:prstGeom prst="rect">
            <a:avLst/>
          </a:prstGeom>
          <a:noFill/>
        </p:spPr>
        <p:txBody>
          <a:bodyPr wrap="square" rtlCol="0">
            <a:spAutoFit/>
          </a:bodyPr>
          <a:lstStyle/>
          <a:p>
            <a:r>
              <a:rPr lang="en-US" sz="1200" dirty="0"/>
              <a:t>S2</a:t>
            </a:r>
            <a:endParaRPr lang="en-DE" sz="1200" dirty="0"/>
          </a:p>
        </p:txBody>
      </p:sp>
      <p:sp>
        <p:nvSpPr>
          <p:cNvPr id="20" name="TextBox 19">
            <a:extLst>
              <a:ext uri="{FF2B5EF4-FFF2-40B4-BE49-F238E27FC236}">
                <a16:creationId xmlns:a16="http://schemas.microsoft.com/office/drawing/2014/main" id="{6047CF0F-E2C6-9053-9CE8-22F0F971C864}"/>
              </a:ext>
            </a:extLst>
          </p:cNvPr>
          <p:cNvSpPr txBox="1"/>
          <p:nvPr/>
        </p:nvSpPr>
        <p:spPr>
          <a:xfrm>
            <a:off x="4368530" y="5429915"/>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21" name="TextBox 20">
            <a:extLst>
              <a:ext uri="{FF2B5EF4-FFF2-40B4-BE49-F238E27FC236}">
                <a16:creationId xmlns:a16="http://schemas.microsoft.com/office/drawing/2014/main" id="{8616DAB3-DD96-F824-AC98-C10A6D1F801C}"/>
              </a:ext>
            </a:extLst>
          </p:cNvPr>
          <p:cNvSpPr txBox="1"/>
          <p:nvPr/>
        </p:nvSpPr>
        <p:spPr>
          <a:xfrm>
            <a:off x="5752237" y="543884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22" name="TextBox 21">
            <a:extLst>
              <a:ext uri="{FF2B5EF4-FFF2-40B4-BE49-F238E27FC236}">
                <a16:creationId xmlns:a16="http://schemas.microsoft.com/office/drawing/2014/main" id="{D8BA4288-124B-6C3B-4C60-6778631F94FD}"/>
              </a:ext>
            </a:extLst>
          </p:cNvPr>
          <p:cNvSpPr txBox="1"/>
          <p:nvPr/>
        </p:nvSpPr>
        <p:spPr>
          <a:xfrm>
            <a:off x="4261467" y="5114870"/>
            <a:ext cx="393495" cy="276999"/>
          </a:xfrm>
          <a:prstGeom prst="rect">
            <a:avLst/>
          </a:prstGeom>
          <a:noFill/>
        </p:spPr>
        <p:txBody>
          <a:bodyPr wrap="square" rtlCol="0">
            <a:spAutoFit/>
          </a:bodyPr>
          <a:lstStyle/>
          <a:p>
            <a:r>
              <a:rPr lang="en-US" sz="1200" dirty="0"/>
              <a:t>H3</a:t>
            </a:r>
            <a:endParaRPr lang="en-DE" sz="1200" dirty="0"/>
          </a:p>
        </p:txBody>
      </p:sp>
      <p:sp>
        <p:nvSpPr>
          <p:cNvPr id="23" name="TextBox 22">
            <a:extLst>
              <a:ext uri="{FF2B5EF4-FFF2-40B4-BE49-F238E27FC236}">
                <a16:creationId xmlns:a16="http://schemas.microsoft.com/office/drawing/2014/main" id="{52BC52AE-E372-07A0-C9C1-7C140A94A378}"/>
              </a:ext>
            </a:extLst>
          </p:cNvPr>
          <p:cNvSpPr txBox="1"/>
          <p:nvPr/>
        </p:nvSpPr>
        <p:spPr>
          <a:xfrm>
            <a:off x="6071830" y="5114869"/>
            <a:ext cx="393495" cy="276999"/>
          </a:xfrm>
          <a:prstGeom prst="rect">
            <a:avLst/>
          </a:prstGeom>
          <a:noFill/>
        </p:spPr>
        <p:txBody>
          <a:bodyPr wrap="square" rtlCol="0">
            <a:spAutoFit/>
          </a:bodyPr>
          <a:lstStyle/>
          <a:p>
            <a:r>
              <a:rPr lang="en-US" sz="1200" dirty="0"/>
              <a:t>S3</a:t>
            </a:r>
            <a:endParaRPr lang="en-DE" sz="1200" dirty="0"/>
          </a:p>
        </p:txBody>
      </p:sp>
    </p:spTree>
    <p:extLst>
      <p:ext uri="{BB962C8B-B14F-4D97-AF65-F5344CB8AC3E}">
        <p14:creationId xmlns:p14="http://schemas.microsoft.com/office/powerpoint/2010/main" val="38255075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fontScale="85000" lnSpcReduction="20000"/>
          </a:bodyPr>
          <a:lstStyle/>
          <a:p>
            <a:pPr marL="0" indent="0">
              <a:buNone/>
            </a:pPr>
            <a:r>
              <a:rPr lang="en-US" sz="2000" dirty="0">
                <a:latin typeface="Bahnschrift Light Condensed" panose="020B0502040204020203" pitchFamily="34" charset="0"/>
                <a:cs typeface="Arial" panose="020B0604020202020204" pitchFamily="34" charset="0"/>
              </a:rPr>
              <a:t>Atomix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cluster ID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atomix-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to lister to ono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List of atomix containers part of the cluster</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Discovery:</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 and IP addres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management group information for configuration of managing primitives</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partition group information for configuration of primitive storage and replication</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393829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ONOS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ame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p>
          <a:p>
            <a:pPr marL="0" indent="0">
              <a:buNone/>
            </a:pPr>
            <a:r>
              <a:rPr lang="en-US" sz="2000" dirty="0">
                <a:latin typeface="Bahnschrift Light Condensed" panose="020B0502040204020203" pitchFamily="34" charset="0"/>
                <a:cs typeface="Arial" panose="020B0604020202020204" pitchFamily="34" charset="0"/>
              </a:rPr>
              <a:t>	        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nos-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onos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9876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about atomix cluster</a:t>
            </a:r>
          </a:p>
          <a:p>
            <a:pPr marL="0" indent="0">
              <a:buNone/>
            </a:pPr>
            <a:r>
              <a:rPr lang="en-US" sz="2000" dirty="0">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Storage:</a:t>
            </a:r>
          </a:p>
          <a:p>
            <a:pPr marL="0" indent="0">
              <a:buNone/>
            </a:pPr>
            <a:r>
              <a:rPr lang="en-US" sz="2000" dirty="0">
                <a:latin typeface="Bahnschrift Light Condensed" panose="020B0502040204020203" pitchFamily="34" charset="0"/>
                <a:cs typeface="Arial" panose="020B0604020202020204" pitchFamily="34" charset="0"/>
              </a:rPr>
              <a:t>		{</a:t>
            </a: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node ID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port number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8042163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VPLS configuration</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list of Open vSwitch ports where hosts are connected</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Interface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MAC address and VLAN ID of the host device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Set the application ID of VPL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vpl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 Create the list of VPLS overlay network</a:t>
            </a: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for VPLS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dd the interfaces to the created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of the host device participating in the same VPLS ID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encapsulation method for VLAN: { </a:t>
            </a:r>
            <a:r>
              <a:rPr lang="en-US" sz="2000" dirty="0">
                <a:solidFill>
                  <a:schemeClr val="accent6">
                    <a:lumMod val="75000"/>
                  </a:schemeClr>
                </a:solidFill>
                <a:latin typeface="Bahnschrift Light Condensed" panose="020B0502040204020203" pitchFamily="34" charset="0"/>
                <a:cs typeface="Arial" panose="020B0604020202020204" pitchFamily="34" charset="0"/>
              </a:rPr>
              <a:t>VLAN, MPLS or none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68094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89799" y="3373520"/>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53714" y="3371094"/>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17629" y="3371095"/>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64180" y="355465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3015202"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36990" y="2535434"/>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84834" y="2530596"/>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80680" y="267689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22848" y="355344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53857" y="3371094"/>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17772" y="3368668"/>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81687" y="3368669"/>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28238" y="355223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44738" y="2674469"/>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86906" y="355101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905711" y="2206947"/>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18243" y="2219891"/>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54799" y="2221658"/>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81687" y="2226342"/>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30813" y="24602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94257" y="245906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27734"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714360"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76059"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1/3)</a:t>
            </a:r>
            <a:endParaRPr lang="en-DE" dirty="0"/>
          </a:p>
        </p:txBody>
      </p:sp>
      <p:pic>
        <p:nvPicPr>
          <p:cNvPr id="3" name="Picture 2">
            <a:extLst>
              <a:ext uri="{FF2B5EF4-FFF2-40B4-BE49-F238E27FC236}">
                <a16:creationId xmlns:a16="http://schemas.microsoft.com/office/drawing/2014/main" id="{BFC131F9-B5BA-0BC9-4403-DE7D505C133D}"/>
              </a:ext>
            </a:extLst>
          </p:cNvPr>
          <p:cNvPicPr>
            <a:picLocks noChangeAspect="1"/>
          </p:cNvPicPr>
          <p:nvPr/>
        </p:nvPicPr>
        <p:blipFill>
          <a:blip r:embed="rId5"/>
          <a:stretch>
            <a:fillRect/>
          </a:stretch>
        </p:blipFill>
        <p:spPr>
          <a:xfrm>
            <a:off x="1214437" y="1747624"/>
            <a:ext cx="9763125" cy="3751571"/>
          </a:xfrm>
          <a:prstGeom prst="rect">
            <a:avLst/>
          </a:prstGeom>
        </p:spPr>
      </p:pic>
    </p:spTree>
    <p:extLst>
      <p:ext uri="{BB962C8B-B14F-4D97-AF65-F5344CB8AC3E}">
        <p14:creationId xmlns:p14="http://schemas.microsoft.com/office/powerpoint/2010/main" val="750067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Flow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Declare priority value of flow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the flow entry stat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permanent=true, timeout-0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ction to be taken by open vSwitch after the match-fields are matched</a:t>
            </a:r>
          </a:p>
          <a:p>
            <a:pPr marL="457200" lvl="1" indent="0">
              <a:buNone/>
            </a:pPr>
            <a:r>
              <a:rPr lang="en-US" sz="2000" i="1" dirty="0">
                <a:latin typeface="Bahnschrift Light Condensed" panose="020B0502040204020203" pitchFamily="34" charset="0"/>
                <a:cs typeface="Arial" panose="020B0604020202020204" pitchFamily="34" charset="0"/>
              </a:rPr>
              <a:t>Treatment:</a:t>
            </a:r>
          </a:p>
          <a:p>
            <a:pPr marL="457200" lvl="1" indent="0">
              <a:buNone/>
            </a:pPr>
            <a:r>
              <a:rPr lang="en-US" sz="2000" dirty="0">
                <a:latin typeface="Bahnschrift Light Condensed" panose="020B0502040204020203" pitchFamily="34" charset="0"/>
                <a:cs typeface="Arial" panose="020B0604020202020204" pitchFamily="34" charset="0"/>
              </a:rPr>
              <a:t>	instruction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out the packet from port number, </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packet to flow table number, etc</a:t>
            </a:r>
            <a:r>
              <a:rPr lang="en-US" sz="2000" dirty="0">
                <a:latin typeface="Bahnschrift Light Condensed" panose="020B0502040204020203" pitchFamily="34" charset="0"/>
                <a:cs typeface="Arial" panose="020B0604020202020204" pitchFamily="34" charset="0"/>
              </a:rPr>
              <a:t>. }</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Specifying the match-fields for flow</a:t>
            </a:r>
          </a:p>
          <a:p>
            <a:pPr marL="457200" lvl="1" indent="0">
              <a:buNone/>
            </a:pPr>
            <a:r>
              <a:rPr lang="en-US" sz="2000" i="1" dirty="0">
                <a:latin typeface="Bahnschrift Light Condensed" panose="020B0502040204020203" pitchFamily="34" charset="0"/>
                <a:cs typeface="Arial" panose="020B0604020202020204" pitchFamily="34" charset="0"/>
              </a:rPr>
              <a:t>Selector:</a:t>
            </a:r>
          </a:p>
          <a:p>
            <a:pPr marL="457200" lvl="1" indent="0">
              <a:buNone/>
            </a:pPr>
            <a:r>
              <a:rPr lang="en-US" sz="2000" dirty="0">
                <a:latin typeface="Bahnschrift Light Condensed" panose="020B0502040204020203" pitchFamily="34" charset="0"/>
                <a:cs typeface="Arial" panose="020B0604020202020204" pitchFamily="34" charset="0"/>
              </a:rPr>
              <a:t>	criteria: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MAC address,</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IP address,</a:t>
            </a:r>
          </a:p>
          <a:p>
            <a:pPr marL="457200" lvl="1" indent="0">
              <a:buNone/>
            </a:pPr>
            <a:r>
              <a:rPr lang="en-US" sz="2000" dirty="0">
                <a:solidFill>
                  <a:schemeClr val="accent6">
                    <a:lumMod val="75000"/>
                  </a:schemeClr>
                </a:solidFill>
                <a:latin typeface="Bahnschrift Light Condensed" panose="020B0502040204020203" pitchFamily="34" charset="0"/>
                <a:cs typeface="Arial" panose="020B0604020202020204" pitchFamily="34" charset="0"/>
              </a:rPr>
              <a:t>	                 ingress port, VLAN ID, etc.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42468678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Intent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Declare the typ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Host-to-Host, SinglePoint-to-MultiPoint, MultiPoint-to-SinglePoint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the application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ovsdb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Declare priority valu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of devices</a:t>
            </a:r>
          </a:p>
          <a:p>
            <a:pPr marL="457200" lvl="1" indent="0">
              <a:buNone/>
            </a:pPr>
            <a:r>
              <a:rPr lang="en-US" sz="2000" dirty="0">
                <a:latin typeface="Bahnschrift Light Condensed" panose="020B0502040204020203" pitchFamily="34" charset="0"/>
                <a:cs typeface="Arial" panose="020B0604020202020204" pitchFamily="34" charset="0"/>
              </a:rPr>
              <a:t>  For Host-to-Hos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the first and second host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SinglePoint-to-Multi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 with ingress port number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s with egress port number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MultiPoint-to-Single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s with ingress port numbers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 with egress port number </a:t>
            </a: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19592119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B5C06E-BE60-1484-9209-36EF9E2CF110}"/>
              </a:ext>
            </a:extLst>
          </p:cNvPr>
          <p:cNvSpPr/>
          <p:nvPr/>
        </p:nvSpPr>
        <p:spPr>
          <a:xfrm>
            <a:off x="1273250" y="828548"/>
            <a:ext cx="9512949" cy="5125250"/>
          </a:xfrm>
          <a:prstGeom prst="rect">
            <a:avLst/>
          </a:prstGeom>
          <a:solidFill>
            <a:schemeClr val="accent4">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1FDDD025-BEB3-3CFE-BA2E-7923E7D08ABC}"/>
              </a:ext>
            </a:extLst>
          </p:cNvPr>
          <p:cNvSpPr/>
          <p:nvPr/>
        </p:nvSpPr>
        <p:spPr>
          <a:xfrm>
            <a:off x="1547694" y="1047924"/>
            <a:ext cx="6740179" cy="4671087"/>
          </a:xfrm>
          <a:prstGeom prst="rect">
            <a:avLst/>
          </a:prstGeom>
          <a:solidFill>
            <a:schemeClr val="accent5">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2" name="Rectangle 1">
            <a:extLst>
              <a:ext uri="{FF2B5EF4-FFF2-40B4-BE49-F238E27FC236}">
                <a16:creationId xmlns:a16="http://schemas.microsoft.com/office/drawing/2014/main" id="{1FA44421-75EE-C84E-DFB5-6611F91D5D46}"/>
              </a:ext>
            </a:extLst>
          </p:cNvPr>
          <p:cNvSpPr/>
          <p:nvPr/>
        </p:nvSpPr>
        <p:spPr>
          <a:xfrm>
            <a:off x="8578428" y="1359532"/>
            <a:ext cx="1940858" cy="1837766"/>
          </a:xfrm>
          <a:prstGeom prst="rect">
            <a:avLst/>
          </a:prstGeom>
          <a:solidFill>
            <a:schemeClr val="accent6">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Client</a:t>
            </a:r>
            <a:endParaRPr lang="en-DE" b="1" dirty="0">
              <a:solidFill>
                <a:schemeClr val="tx1"/>
              </a:solidFill>
              <a:cs typeface="Aharoni" panose="020B0604020202020204" pitchFamily="2" charset="-79"/>
            </a:endParaRPr>
          </a:p>
        </p:txBody>
      </p:sp>
      <p:sp>
        <p:nvSpPr>
          <p:cNvPr id="3" name="Rectangle 2">
            <a:extLst>
              <a:ext uri="{FF2B5EF4-FFF2-40B4-BE49-F238E27FC236}">
                <a16:creationId xmlns:a16="http://schemas.microsoft.com/office/drawing/2014/main" id="{718F2715-7707-4D42-4FB6-D7A92CD56F85}"/>
              </a:ext>
            </a:extLst>
          </p:cNvPr>
          <p:cNvSpPr/>
          <p:nvPr/>
        </p:nvSpPr>
        <p:spPr>
          <a:xfrm>
            <a:off x="6029725" y="1359532"/>
            <a:ext cx="1940858" cy="1837766"/>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Server</a:t>
            </a:r>
          </a:p>
          <a:p>
            <a:pPr algn="ctr"/>
            <a:r>
              <a:rPr lang="en-US" b="1" dirty="0">
                <a:solidFill>
                  <a:schemeClr val="tx1"/>
                </a:solidFill>
                <a:cs typeface="Aharoni" panose="020B0604020202020204" pitchFamily="2" charset="-79"/>
              </a:rPr>
              <a:t>(GNS3 VM)</a:t>
            </a:r>
            <a:endParaRPr lang="en-DE" b="1" dirty="0">
              <a:solidFill>
                <a:schemeClr val="tx1"/>
              </a:solidFill>
              <a:cs typeface="Aharoni" panose="020B0604020202020204" pitchFamily="2" charset="-79"/>
            </a:endParaRPr>
          </a:p>
        </p:txBody>
      </p:sp>
      <p:sp>
        <p:nvSpPr>
          <p:cNvPr id="6" name="Rectangle 5">
            <a:extLst>
              <a:ext uri="{FF2B5EF4-FFF2-40B4-BE49-F238E27FC236}">
                <a16:creationId xmlns:a16="http://schemas.microsoft.com/office/drawing/2014/main" id="{DD67BE2B-BE5E-6EC8-CCA2-051C04F659D9}"/>
              </a:ext>
            </a:extLst>
          </p:cNvPr>
          <p:cNvSpPr/>
          <p:nvPr/>
        </p:nvSpPr>
        <p:spPr>
          <a:xfrm>
            <a:off x="1884188" y="1243726"/>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a:t>
            </a:r>
            <a:endParaRPr lang="en-DE" dirty="0"/>
          </a:p>
        </p:txBody>
      </p:sp>
      <p:sp>
        <p:nvSpPr>
          <p:cNvPr id="7" name="Rectangle 6">
            <a:extLst>
              <a:ext uri="{FF2B5EF4-FFF2-40B4-BE49-F238E27FC236}">
                <a16:creationId xmlns:a16="http://schemas.microsoft.com/office/drawing/2014/main" id="{025BC619-FA2E-3D69-0B69-60649584D66C}"/>
              </a:ext>
            </a:extLst>
          </p:cNvPr>
          <p:cNvSpPr/>
          <p:nvPr/>
        </p:nvSpPr>
        <p:spPr>
          <a:xfrm>
            <a:off x="1884188" y="3947008"/>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 Docker</a:t>
            </a:r>
            <a:endParaRPr lang="en-DE" dirty="0"/>
          </a:p>
        </p:txBody>
      </p:sp>
      <p:sp>
        <p:nvSpPr>
          <p:cNvPr id="8" name="Rectangle 7">
            <a:extLst>
              <a:ext uri="{FF2B5EF4-FFF2-40B4-BE49-F238E27FC236}">
                <a16:creationId xmlns:a16="http://schemas.microsoft.com/office/drawing/2014/main" id="{ACA4572D-5A19-381A-43FB-3B3470860CDE}"/>
              </a:ext>
            </a:extLst>
          </p:cNvPr>
          <p:cNvSpPr/>
          <p:nvPr/>
        </p:nvSpPr>
        <p:spPr>
          <a:xfrm>
            <a:off x="1884188" y="3045914"/>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Ryu</a:t>
            </a:r>
            <a:endParaRPr lang="en-DE" dirty="0"/>
          </a:p>
        </p:txBody>
      </p:sp>
      <p:sp>
        <p:nvSpPr>
          <p:cNvPr id="9" name="Rectangle 8">
            <a:extLst>
              <a:ext uri="{FF2B5EF4-FFF2-40B4-BE49-F238E27FC236}">
                <a16:creationId xmlns:a16="http://schemas.microsoft.com/office/drawing/2014/main" id="{8D991346-D037-93D5-AB72-4CCEF0B8CF8F}"/>
              </a:ext>
            </a:extLst>
          </p:cNvPr>
          <p:cNvSpPr/>
          <p:nvPr/>
        </p:nvSpPr>
        <p:spPr>
          <a:xfrm>
            <a:off x="1884188" y="2144820"/>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penDaylight</a:t>
            </a:r>
            <a:endParaRPr lang="en-DE" dirty="0"/>
          </a:p>
        </p:txBody>
      </p:sp>
      <p:sp>
        <p:nvSpPr>
          <p:cNvPr id="11" name="TextBox 10">
            <a:extLst>
              <a:ext uri="{FF2B5EF4-FFF2-40B4-BE49-F238E27FC236}">
                <a16:creationId xmlns:a16="http://schemas.microsoft.com/office/drawing/2014/main" id="{CF3A9E51-E205-36F4-0C54-E52978652AE0}"/>
              </a:ext>
            </a:extLst>
          </p:cNvPr>
          <p:cNvSpPr txBox="1"/>
          <p:nvPr/>
        </p:nvSpPr>
        <p:spPr>
          <a:xfrm>
            <a:off x="7015876" y="5255941"/>
            <a:ext cx="1186735" cy="369332"/>
          </a:xfrm>
          <a:prstGeom prst="rect">
            <a:avLst/>
          </a:prstGeom>
          <a:noFill/>
        </p:spPr>
        <p:txBody>
          <a:bodyPr wrap="none" rtlCol="0">
            <a:spAutoFit/>
          </a:bodyPr>
          <a:lstStyle/>
          <a:p>
            <a:r>
              <a:rPr lang="en-US" b="1" dirty="0"/>
              <a:t>VirtualBox</a:t>
            </a:r>
            <a:endParaRPr lang="en-DE" b="1" dirty="0"/>
          </a:p>
        </p:txBody>
      </p:sp>
      <p:sp>
        <p:nvSpPr>
          <p:cNvPr id="12" name="TextBox 11">
            <a:extLst>
              <a:ext uri="{FF2B5EF4-FFF2-40B4-BE49-F238E27FC236}">
                <a16:creationId xmlns:a16="http://schemas.microsoft.com/office/drawing/2014/main" id="{25B2EB4C-8C09-F0C5-BE8E-9DFDB1FE18F3}"/>
              </a:ext>
            </a:extLst>
          </p:cNvPr>
          <p:cNvSpPr txBox="1"/>
          <p:nvPr/>
        </p:nvSpPr>
        <p:spPr>
          <a:xfrm>
            <a:off x="9304084" y="5491274"/>
            <a:ext cx="1491755" cy="369332"/>
          </a:xfrm>
          <a:prstGeom prst="rect">
            <a:avLst/>
          </a:prstGeom>
          <a:noFill/>
        </p:spPr>
        <p:txBody>
          <a:bodyPr wrap="none" rtlCol="0">
            <a:spAutoFit/>
          </a:bodyPr>
          <a:lstStyle/>
          <a:p>
            <a:r>
              <a:rPr lang="en-US" b="1" dirty="0"/>
              <a:t>Host machine</a:t>
            </a:r>
            <a:endParaRPr lang="en-DE" b="1" dirty="0"/>
          </a:p>
        </p:txBody>
      </p:sp>
      <p:sp>
        <p:nvSpPr>
          <p:cNvPr id="13" name="Rectangle: Rounded Corners 12">
            <a:extLst>
              <a:ext uri="{FF2B5EF4-FFF2-40B4-BE49-F238E27FC236}">
                <a16:creationId xmlns:a16="http://schemas.microsoft.com/office/drawing/2014/main" id="{CA48E854-13C4-9AF8-F0FF-8196757F5CB8}"/>
              </a:ext>
            </a:extLst>
          </p:cNvPr>
          <p:cNvSpPr/>
          <p:nvPr/>
        </p:nvSpPr>
        <p:spPr>
          <a:xfrm>
            <a:off x="10342971" y="4036924"/>
            <a:ext cx="553250" cy="307362"/>
          </a:xfrm>
          <a:prstGeom prst="roundRect">
            <a:avLst/>
          </a:prstGeom>
          <a:solidFill>
            <a:schemeClr val="accent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IC</a:t>
            </a:r>
            <a:endParaRPr lang="en-DE" sz="1400" b="1" dirty="0">
              <a:solidFill>
                <a:schemeClr val="tx1"/>
              </a:solidFill>
            </a:endParaRPr>
          </a:p>
        </p:txBody>
      </p:sp>
      <p:cxnSp>
        <p:nvCxnSpPr>
          <p:cNvPr id="16" name="Straight Connector 15">
            <a:extLst>
              <a:ext uri="{FF2B5EF4-FFF2-40B4-BE49-F238E27FC236}">
                <a16:creationId xmlns:a16="http://schemas.microsoft.com/office/drawing/2014/main" id="{1FA3D0DD-CF63-BB5B-32D3-2F55A6AB0CAD}"/>
              </a:ext>
            </a:extLst>
          </p:cNvPr>
          <p:cNvCxnSpPr>
            <a:cxnSpLocks/>
            <a:stCxn id="6" idx="3"/>
            <a:endCxn id="32" idx="2"/>
          </p:cNvCxnSpPr>
          <p:nvPr/>
        </p:nvCxnSpPr>
        <p:spPr>
          <a:xfrm>
            <a:off x="3825046" y="1588985"/>
            <a:ext cx="970429" cy="18024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C9ABF5-B834-29F6-BE74-CEF8055BE62F}"/>
              </a:ext>
            </a:extLst>
          </p:cNvPr>
          <p:cNvCxnSpPr>
            <a:cxnSpLocks/>
            <a:stCxn id="9" idx="3"/>
            <a:endCxn id="32" idx="2"/>
          </p:cNvCxnSpPr>
          <p:nvPr/>
        </p:nvCxnSpPr>
        <p:spPr>
          <a:xfrm>
            <a:off x="3825046" y="2490079"/>
            <a:ext cx="970429" cy="9013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063B80-F8B2-8480-4188-D08F8037C2D8}"/>
              </a:ext>
            </a:extLst>
          </p:cNvPr>
          <p:cNvCxnSpPr>
            <a:cxnSpLocks/>
            <a:stCxn id="8" idx="3"/>
            <a:endCxn id="32" idx="2"/>
          </p:cNvCxnSpPr>
          <p:nvPr/>
        </p:nvCxnSpPr>
        <p:spPr>
          <a:xfrm>
            <a:off x="3825046" y="3391173"/>
            <a:ext cx="970429" cy="2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3A4EA7-1CE8-45E2-2A6B-227D0B311257}"/>
              </a:ext>
            </a:extLst>
          </p:cNvPr>
          <p:cNvCxnSpPr>
            <a:cxnSpLocks/>
            <a:stCxn id="7" idx="3"/>
            <a:endCxn id="32" idx="2"/>
          </p:cNvCxnSpPr>
          <p:nvPr/>
        </p:nvCxnSpPr>
        <p:spPr>
          <a:xfrm flipV="1">
            <a:off x="3825046" y="3391423"/>
            <a:ext cx="970429" cy="9008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FA1C8E-6349-D84E-9E81-9EDAC99B0399}"/>
              </a:ext>
            </a:extLst>
          </p:cNvPr>
          <p:cNvCxnSpPr>
            <a:cxnSpLocks/>
            <a:stCxn id="32" idx="6"/>
            <a:endCxn id="3" idx="1"/>
          </p:cNvCxnSpPr>
          <p:nvPr/>
        </p:nvCxnSpPr>
        <p:spPr>
          <a:xfrm flipV="1">
            <a:off x="5141256" y="2278415"/>
            <a:ext cx="888469" cy="11130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AF289B3-82CF-91FE-9792-44FD22AF8537}"/>
              </a:ext>
            </a:extLst>
          </p:cNvPr>
          <p:cNvSpPr/>
          <p:nvPr/>
        </p:nvSpPr>
        <p:spPr>
          <a:xfrm>
            <a:off x="4795475" y="3209567"/>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0" name="Oval 39">
            <a:extLst>
              <a:ext uri="{FF2B5EF4-FFF2-40B4-BE49-F238E27FC236}">
                <a16:creationId xmlns:a16="http://schemas.microsoft.com/office/drawing/2014/main" id="{545952D7-FBE8-6C82-F583-6AC7B8E5F594}"/>
              </a:ext>
            </a:extLst>
          </p:cNvPr>
          <p:cNvSpPr/>
          <p:nvPr/>
        </p:nvSpPr>
        <p:spPr>
          <a:xfrm>
            <a:off x="8074799" y="3986731"/>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42" name="Straight Connector 41">
            <a:extLst>
              <a:ext uri="{FF2B5EF4-FFF2-40B4-BE49-F238E27FC236}">
                <a16:creationId xmlns:a16="http://schemas.microsoft.com/office/drawing/2014/main" id="{D2EB8AA9-A293-B7D7-FCD2-6AE57CB1E16F}"/>
              </a:ext>
            </a:extLst>
          </p:cNvPr>
          <p:cNvCxnSpPr>
            <a:cxnSpLocks/>
            <a:stCxn id="3" idx="2"/>
            <a:endCxn id="40" idx="2"/>
          </p:cNvCxnSpPr>
          <p:nvPr/>
        </p:nvCxnSpPr>
        <p:spPr>
          <a:xfrm>
            <a:off x="7000154" y="3197298"/>
            <a:ext cx="1074645"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A13938-8E61-4CD8-6171-DEDE9ACB4731}"/>
              </a:ext>
            </a:extLst>
          </p:cNvPr>
          <p:cNvCxnSpPr>
            <a:cxnSpLocks/>
            <a:stCxn id="40" idx="6"/>
            <a:endCxn id="2" idx="2"/>
          </p:cNvCxnSpPr>
          <p:nvPr/>
        </p:nvCxnSpPr>
        <p:spPr>
          <a:xfrm flipV="1">
            <a:off x="8420580" y="3197298"/>
            <a:ext cx="1128277"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98F12F-DE46-9D02-3868-93B5E97F9B5F}"/>
              </a:ext>
            </a:extLst>
          </p:cNvPr>
          <p:cNvCxnSpPr>
            <a:cxnSpLocks/>
            <a:stCxn id="40" idx="6"/>
            <a:endCxn id="13" idx="1"/>
          </p:cNvCxnSpPr>
          <p:nvPr/>
        </p:nvCxnSpPr>
        <p:spPr>
          <a:xfrm>
            <a:off x="8420580" y="4168587"/>
            <a:ext cx="1922391" cy="2201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D7D2F2-3436-2BE5-0B10-483C162859ED}"/>
              </a:ext>
            </a:extLst>
          </p:cNvPr>
          <p:cNvCxnSpPr>
            <a:cxnSpLocks/>
            <a:stCxn id="32" idx="6"/>
            <a:endCxn id="40" idx="2"/>
          </p:cNvCxnSpPr>
          <p:nvPr/>
        </p:nvCxnSpPr>
        <p:spPr>
          <a:xfrm>
            <a:off x="5141256" y="3391423"/>
            <a:ext cx="2933543" cy="7771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7A159D5B-3999-C772-60C7-2310F96B8FE0}"/>
              </a:ext>
            </a:extLst>
          </p:cNvPr>
          <p:cNvSpPr/>
          <p:nvPr/>
        </p:nvSpPr>
        <p:spPr>
          <a:xfrm>
            <a:off x="1884188" y="4848102"/>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Mininet</a:t>
            </a:r>
            <a:endParaRPr lang="en-DE" dirty="0"/>
          </a:p>
        </p:txBody>
      </p:sp>
      <p:cxnSp>
        <p:nvCxnSpPr>
          <p:cNvPr id="69" name="Straight Connector 68">
            <a:extLst>
              <a:ext uri="{FF2B5EF4-FFF2-40B4-BE49-F238E27FC236}">
                <a16:creationId xmlns:a16="http://schemas.microsoft.com/office/drawing/2014/main" id="{E3C2BE4A-4621-4A86-D18F-011C1E4769F4}"/>
              </a:ext>
            </a:extLst>
          </p:cNvPr>
          <p:cNvCxnSpPr>
            <a:cxnSpLocks/>
            <a:stCxn id="32" idx="2"/>
            <a:endCxn id="57" idx="3"/>
          </p:cNvCxnSpPr>
          <p:nvPr/>
        </p:nvCxnSpPr>
        <p:spPr>
          <a:xfrm flipH="1">
            <a:off x="3825046" y="3391423"/>
            <a:ext cx="970429" cy="18019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B73A6C10-69B2-1301-422F-52CC6B62F0E5}"/>
              </a:ext>
            </a:extLst>
          </p:cNvPr>
          <p:cNvSpPr txBox="1"/>
          <p:nvPr/>
        </p:nvSpPr>
        <p:spPr>
          <a:xfrm>
            <a:off x="4657748" y="3549172"/>
            <a:ext cx="701602" cy="461665"/>
          </a:xfrm>
          <a:prstGeom prst="rect">
            <a:avLst/>
          </a:prstGeom>
          <a:noFill/>
        </p:spPr>
        <p:txBody>
          <a:bodyPr wrap="none" rtlCol="0">
            <a:spAutoFit/>
          </a:bodyPr>
          <a:lstStyle/>
          <a:p>
            <a:pPr algn="ctr"/>
            <a:r>
              <a:rPr lang="en-US" sz="1200" b="1" dirty="0"/>
              <a:t>Bridge</a:t>
            </a:r>
          </a:p>
          <a:p>
            <a:pPr algn="ctr"/>
            <a:r>
              <a:rPr lang="en-US" sz="1200" b="1" dirty="0"/>
              <a:t>Adapter</a:t>
            </a:r>
            <a:endParaRPr lang="en-DE" sz="1200" b="1" dirty="0"/>
          </a:p>
        </p:txBody>
      </p:sp>
      <p:sp>
        <p:nvSpPr>
          <p:cNvPr id="73" name="TextBox 72">
            <a:extLst>
              <a:ext uri="{FF2B5EF4-FFF2-40B4-BE49-F238E27FC236}">
                <a16:creationId xmlns:a16="http://schemas.microsoft.com/office/drawing/2014/main" id="{A71E3688-6460-5000-383C-848E4184F149}"/>
              </a:ext>
            </a:extLst>
          </p:cNvPr>
          <p:cNvSpPr txBox="1"/>
          <p:nvPr/>
        </p:nvSpPr>
        <p:spPr>
          <a:xfrm>
            <a:off x="7403823" y="4266905"/>
            <a:ext cx="856453" cy="461665"/>
          </a:xfrm>
          <a:prstGeom prst="rect">
            <a:avLst/>
          </a:prstGeom>
          <a:noFill/>
        </p:spPr>
        <p:txBody>
          <a:bodyPr wrap="none" rtlCol="0">
            <a:spAutoFit/>
          </a:bodyPr>
          <a:lstStyle/>
          <a:p>
            <a:pPr algn="ctr"/>
            <a:r>
              <a:rPr lang="en-US" sz="1200" b="1" dirty="0"/>
              <a:t>VirtualBox</a:t>
            </a:r>
          </a:p>
          <a:p>
            <a:pPr algn="ctr"/>
            <a:r>
              <a:rPr lang="en-US" sz="1200" b="1" dirty="0"/>
              <a:t>Adapter</a:t>
            </a:r>
            <a:endParaRPr lang="en-DE" sz="1200" b="1" dirty="0"/>
          </a:p>
        </p:txBody>
      </p:sp>
    </p:spTree>
    <p:extLst>
      <p:ext uri="{BB962C8B-B14F-4D97-AF65-F5344CB8AC3E}">
        <p14:creationId xmlns:p14="http://schemas.microsoft.com/office/powerpoint/2010/main" val="14337591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0AC247BB-3505-0B4F-9567-D11731E4CE00}"/>
              </a:ext>
            </a:extLst>
          </p:cNvPr>
          <p:cNvGraphicFramePr>
            <a:graphicFrameLocks noGrp="1"/>
          </p:cNvGraphicFramePr>
          <p:nvPr>
            <p:extLst>
              <p:ext uri="{D42A27DB-BD31-4B8C-83A1-F6EECF244321}">
                <p14:modId xmlns:p14="http://schemas.microsoft.com/office/powerpoint/2010/main" val="3878259296"/>
              </p:ext>
            </p:extLst>
          </p:nvPr>
        </p:nvGraphicFramePr>
        <p:xfrm>
          <a:off x="2031999" y="2316480"/>
          <a:ext cx="8128002" cy="2301240"/>
        </p:xfrm>
        <a:graphic>
          <a:graphicData uri="http://schemas.openxmlformats.org/drawingml/2006/table">
            <a:tbl>
              <a:tblPr firstRow="1" bandRow="1">
                <a:tableStyleId>{3B4B98B0-60AC-42C2-AFA5-B58CD77FA1E5}</a:tableStyleId>
              </a:tblPr>
              <a:tblGrid>
                <a:gridCol w="1354667">
                  <a:extLst>
                    <a:ext uri="{9D8B030D-6E8A-4147-A177-3AD203B41FA5}">
                      <a16:colId xmlns:a16="http://schemas.microsoft.com/office/drawing/2014/main" val="1939629907"/>
                    </a:ext>
                  </a:extLst>
                </a:gridCol>
                <a:gridCol w="1354667">
                  <a:extLst>
                    <a:ext uri="{9D8B030D-6E8A-4147-A177-3AD203B41FA5}">
                      <a16:colId xmlns:a16="http://schemas.microsoft.com/office/drawing/2014/main" val="1947658173"/>
                    </a:ext>
                  </a:extLst>
                </a:gridCol>
                <a:gridCol w="1354667">
                  <a:extLst>
                    <a:ext uri="{9D8B030D-6E8A-4147-A177-3AD203B41FA5}">
                      <a16:colId xmlns:a16="http://schemas.microsoft.com/office/drawing/2014/main" val="2719836434"/>
                    </a:ext>
                  </a:extLst>
                </a:gridCol>
                <a:gridCol w="1354667">
                  <a:extLst>
                    <a:ext uri="{9D8B030D-6E8A-4147-A177-3AD203B41FA5}">
                      <a16:colId xmlns:a16="http://schemas.microsoft.com/office/drawing/2014/main" val="2161592313"/>
                    </a:ext>
                  </a:extLst>
                </a:gridCol>
                <a:gridCol w="1354667">
                  <a:extLst>
                    <a:ext uri="{9D8B030D-6E8A-4147-A177-3AD203B41FA5}">
                      <a16:colId xmlns:a16="http://schemas.microsoft.com/office/drawing/2014/main" val="1347804674"/>
                    </a:ext>
                  </a:extLst>
                </a:gridCol>
                <a:gridCol w="1354667">
                  <a:extLst>
                    <a:ext uri="{9D8B030D-6E8A-4147-A177-3AD203B41FA5}">
                      <a16:colId xmlns:a16="http://schemas.microsoft.com/office/drawing/2014/main" val="165987470"/>
                    </a:ext>
                  </a:extLst>
                </a:gridCol>
              </a:tblGrid>
              <a:tr h="370840">
                <a:tc>
                  <a:txBody>
                    <a:bodyPr/>
                    <a:lstStyle/>
                    <a:p>
                      <a:pPr algn="ctr"/>
                      <a:r>
                        <a:rPr lang="en-US" sz="1200" dirty="0">
                          <a:latin typeface="Times New Roman" panose="02020603050405020304" pitchFamily="18" charset="0"/>
                          <a:cs typeface="Times New Roman" panose="02020603050405020304" pitchFamily="18" charset="0"/>
                        </a:rPr>
                        <a:t>Version 1.0</a:t>
                      </a:r>
                      <a:endParaRPr lang="en-DE" sz="12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1</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2</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3</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4</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5</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475088"/>
                  </a:ext>
                </a:extLst>
              </a:tr>
              <a:tr h="370840">
                <a:tc>
                  <a:txBody>
                    <a:bodyPr/>
                    <a:lstStyle/>
                    <a:p>
                      <a:r>
                        <a:rPr lang="en-US" sz="1000" dirty="0">
                          <a:latin typeface="Times New Roman" panose="02020603050405020304" pitchFamily="18" charset="0"/>
                          <a:cs typeface="Times New Roman" panose="02020603050405020304" pitchFamily="18" charset="0"/>
                        </a:rPr>
                        <a:t>Single flow table entry</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Multiple flow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 extension hea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Add in bundle mechanism</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gress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4353233"/>
                  </a:ext>
                </a:extLst>
              </a:tr>
              <a:tr h="370840">
                <a:tc>
                  <a:txBody>
                    <a:bodyPr/>
                    <a:lstStyle/>
                    <a:p>
                      <a:r>
                        <a:rPr lang="en-US" sz="1000" dirty="0">
                          <a:latin typeface="Times New Roman" panose="02020603050405020304" pitchFamily="18" charset="0"/>
                          <a:cs typeface="Times New Roman" panose="02020603050405020304" pitchFamily="18" charset="0"/>
                        </a:rPr>
                        <a:t>Single Controller</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ipeline Processing</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TLV support</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Times New Roman" panose="02020603050405020304" pitchFamily="18" charset="0"/>
                          <a:cs typeface="Times New Roman" panose="02020603050405020304" pitchFamily="18" charset="0"/>
                        </a:rPr>
                        <a:t>Flow meter</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synchronization</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acket type aware Pipelin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8062931"/>
                  </a:ext>
                </a:extLst>
              </a:tr>
              <a:tr h="370840">
                <a:tc>
                  <a:txBody>
                    <a:bodyPr/>
                    <a:lstStyle/>
                    <a:p>
                      <a:r>
                        <a:rPr lang="en-US" sz="1000" dirty="0">
                          <a:latin typeface="Times New Roman" panose="02020603050405020304" pitchFamily="18" charset="0"/>
                          <a:cs typeface="Times New Roman" panose="02020603050405020304" pitchFamily="18" charset="0"/>
                        </a:rPr>
                        <a:t>Support for IPv4</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VLAN and MPL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mis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flow entry statistic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032518"/>
                  </a:ext>
                </a:extLst>
              </a:tr>
              <a:tr h="370840">
                <a:tc>
                  <a:txBody>
                    <a:bodyPr/>
                    <a:lstStyle/>
                    <a:p>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Group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4779592"/>
                  </a:ext>
                </a:extLst>
              </a:tr>
              <a:tr h="370840">
                <a:tc>
                  <a:txBody>
                    <a:bodyPr/>
                    <a:lstStyle/>
                    <a:p>
                      <a:endParaRPr lang="en-DE" sz="100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Virtual port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8774214"/>
                  </a:ext>
                </a:extLst>
              </a:tr>
            </a:tbl>
          </a:graphicData>
        </a:graphic>
      </p:graphicFrame>
    </p:spTree>
    <p:extLst>
      <p:ext uri="{BB962C8B-B14F-4D97-AF65-F5344CB8AC3E}">
        <p14:creationId xmlns:p14="http://schemas.microsoft.com/office/powerpoint/2010/main" val="2076212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C9878-FC3A-A303-A366-651F4E0581AE}"/>
              </a:ext>
            </a:extLst>
          </p:cNvPr>
          <p:cNvSpPr/>
          <p:nvPr/>
        </p:nvSpPr>
        <p:spPr>
          <a:xfrm>
            <a:off x="4528457" y="430305"/>
            <a:ext cx="3135086" cy="4917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DN Control Architecture</a:t>
            </a:r>
            <a:endParaRPr lang="en-DE" dirty="0"/>
          </a:p>
        </p:txBody>
      </p:sp>
    </p:spTree>
    <p:extLst>
      <p:ext uri="{BB962C8B-B14F-4D97-AF65-F5344CB8AC3E}">
        <p14:creationId xmlns:p14="http://schemas.microsoft.com/office/powerpoint/2010/main" val="29789066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93735E-F6FA-8725-7B0D-DE95E725F9A7}"/>
              </a:ext>
            </a:extLst>
          </p:cNvPr>
          <p:cNvPicPr>
            <a:picLocks noChangeAspect="1"/>
          </p:cNvPicPr>
          <p:nvPr/>
        </p:nvPicPr>
        <p:blipFill>
          <a:blip r:embed="rId2"/>
          <a:stretch>
            <a:fillRect/>
          </a:stretch>
        </p:blipFill>
        <p:spPr>
          <a:xfrm>
            <a:off x="1956110" y="0"/>
            <a:ext cx="8279780" cy="6858000"/>
          </a:xfrm>
          <a:prstGeom prst="rect">
            <a:avLst/>
          </a:prstGeom>
        </p:spPr>
      </p:pic>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10077789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pic>
        <p:nvPicPr>
          <p:cNvPr id="4" name="Picture 3">
            <a:extLst>
              <a:ext uri="{FF2B5EF4-FFF2-40B4-BE49-F238E27FC236}">
                <a16:creationId xmlns:a16="http://schemas.microsoft.com/office/drawing/2014/main" id="{8B965E83-B324-02BC-4842-522FA61E5510}"/>
              </a:ext>
            </a:extLst>
          </p:cNvPr>
          <p:cNvPicPr>
            <a:picLocks noChangeAspect="1"/>
          </p:cNvPicPr>
          <p:nvPr/>
        </p:nvPicPr>
        <p:blipFill>
          <a:blip r:embed="rId2"/>
          <a:stretch>
            <a:fillRect/>
          </a:stretch>
        </p:blipFill>
        <p:spPr>
          <a:xfrm>
            <a:off x="2090340" y="0"/>
            <a:ext cx="8011320" cy="6858000"/>
          </a:xfrm>
          <a:prstGeom prst="rect">
            <a:avLst/>
          </a:prstGeom>
        </p:spPr>
      </p:pic>
    </p:spTree>
    <p:extLst>
      <p:ext uri="{BB962C8B-B14F-4D97-AF65-F5344CB8AC3E}">
        <p14:creationId xmlns:p14="http://schemas.microsoft.com/office/powerpoint/2010/main" val="7186907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4C070B5F-4CD0-2992-8036-0422D6152B2A}"/>
              </a:ext>
            </a:extLst>
          </p:cNvPr>
          <p:cNvPicPr>
            <a:picLocks noChangeAspect="1"/>
          </p:cNvPicPr>
          <p:nvPr/>
        </p:nvPicPr>
        <p:blipFill>
          <a:blip r:embed="rId2"/>
          <a:stretch>
            <a:fillRect/>
          </a:stretch>
        </p:blipFill>
        <p:spPr>
          <a:xfrm>
            <a:off x="2706678" y="883387"/>
            <a:ext cx="6577432" cy="5267192"/>
          </a:xfrm>
          <a:prstGeom prst="rect">
            <a:avLst/>
          </a:prstGeom>
        </p:spPr>
      </p:pic>
      <p:sp>
        <p:nvSpPr>
          <p:cNvPr id="6" name="TextBox 5">
            <a:extLst>
              <a:ext uri="{FF2B5EF4-FFF2-40B4-BE49-F238E27FC236}">
                <a16:creationId xmlns:a16="http://schemas.microsoft.com/office/drawing/2014/main" id="{C6FBE390-30CE-599E-D24A-D80D8CA024E6}"/>
              </a:ext>
            </a:extLst>
          </p:cNvPr>
          <p:cNvSpPr txBox="1"/>
          <p:nvPr/>
        </p:nvSpPr>
        <p:spPr>
          <a:xfrm>
            <a:off x="4962347" y="844829"/>
            <a:ext cx="206477" cy="276999"/>
          </a:xfrm>
          <a:prstGeom prst="rect">
            <a:avLst/>
          </a:prstGeom>
          <a:noFill/>
        </p:spPr>
        <p:txBody>
          <a:bodyPr wrap="square" rtlCol="0">
            <a:spAutoFit/>
          </a:bodyPr>
          <a:lstStyle/>
          <a:p>
            <a:r>
              <a:rPr lang="en-US" sz="1200" b="1" dirty="0">
                <a:solidFill>
                  <a:srgbClr val="C00000"/>
                </a:solidFill>
              </a:rPr>
              <a:t>2</a:t>
            </a:r>
          </a:p>
        </p:txBody>
      </p:sp>
      <p:sp>
        <p:nvSpPr>
          <p:cNvPr id="8" name="TextBox 7">
            <a:extLst>
              <a:ext uri="{FF2B5EF4-FFF2-40B4-BE49-F238E27FC236}">
                <a16:creationId xmlns:a16="http://schemas.microsoft.com/office/drawing/2014/main" id="{326489DB-2567-8FED-BB95-28FAF5DC495D}"/>
              </a:ext>
            </a:extLst>
          </p:cNvPr>
          <p:cNvSpPr txBox="1"/>
          <p:nvPr/>
        </p:nvSpPr>
        <p:spPr>
          <a:xfrm>
            <a:off x="4795365" y="2335218"/>
            <a:ext cx="206477" cy="276999"/>
          </a:xfrm>
          <a:prstGeom prst="rect">
            <a:avLst/>
          </a:prstGeom>
          <a:noFill/>
        </p:spPr>
        <p:txBody>
          <a:bodyPr wrap="square" rtlCol="0">
            <a:spAutoFit/>
          </a:bodyPr>
          <a:lstStyle/>
          <a:p>
            <a:r>
              <a:rPr lang="en-US" sz="1200" b="1" dirty="0">
                <a:solidFill>
                  <a:srgbClr val="C00000"/>
                </a:solidFill>
              </a:rPr>
              <a:t>3</a:t>
            </a:r>
          </a:p>
        </p:txBody>
      </p:sp>
      <p:sp>
        <p:nvSpPr>
          <p:cNvPr id="9" name="Left Brace 8">
            <a:extLst>
              <a:ext uri="{FF2B5EF4-FFF2-40B4-BE49-F238E27FC236}">
                <a16:creationId xmlns:a16="http://schemas.microsoft.com/office/drawing/2014/main" id="{0D181F37-98DB-5D6F-AFFC-1CF1A5B3F77E}"/>
              </a:ext>
            </a:extLst>
          </p:cNvPr>
          <p:cNvSpPr/>
          <p:nvPr/>
        </p:nvSpPr>
        <p:spPr>
          <a:xfrm>
            <a:off x="5041337" y="1095627"/>
            <a:ext cx="74757" cy="275618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0" name="TextBox 9">
            <a:extLst>
              <a:ext uri="{FF2B5EF4-FFF2-40B4-BE49-F238E27FC236}">
                <a16:creationId xmlns:a16="http://schemas.microsoft.com/office/drawing/2014/main" id="{B28703BB-DC91-8AF7-1FA5-FD16D198B8D8}"/>
              </a:ext>
            </a:extLst>
          </p:cNvPr>
          <p:cNvSpPr txBox="1"/>
          <p:nvPr/>
        </p:nvSpPr>
        <p:spPr>
          <a:xfrm>
            <a:off x="4961062" y="3787097"/>
            <a:ext cx="206477" cy="276999"/>
          </a:xfrm>
          <a:prstGeom prst="rect">
            <a:avLst/>
          </a:prstGeom>
          <a:noFill/>
        </p:spPr>
        <p:txBody>
          <a:bodyPr wrap="square" rtlCol="0">
            <a:spAutoFit/>
          </a:bodyPr>
          <a:lstStyle/>
          <a:p>
            <a:r>
              <a:rPr lang="en-US" sz="1200" b="1" dirty="0">
                <a:solidFill>
                  <a:srgbClr val="C00000"/>
                </a:solidFill>
              </a:rPr>
              <a:t>4</a:t>
            </a:r>
          </a:p>
        </p:txBody>
      </p:sp>
      <p:sp>
        <p:nvSpPr>
          <p:cNvPr id="11" name="TextBox 10">
            <a:extLst>
              <a:ext uri="{FF2B5EF4-FFF2-40B4-BE49-F238E27FC236}">
                <a16:creationId xmlns:a16="http://schemas.microsoft.com/office/drawing/2014/main" id="{AD109307-2BA8-8F42-4C5B-A29D03E0E9A5}"/>
              </a:ext>
            </a:extLst>
          </p:cNvPr>
          <p:cNvSpPr txBox="1"/>
          <p:nvPr/>
        </p:nvSpPr>
        <p:spPr>
          <a:xfrm>
            <a:off x="4961062" y="3925596"/>
            <a:ext cx="206477" cy="276999"/>
          </a:xfrm>
          <a:prstGeom prst="rect">
            <a:avLst/>
          </a:prstGeom>
          <a:noFill/>
        </p:spPr>
        <p:txBody>
          <a:bodyPr wrap="square" rtlCol="0">
            <a:spAutoFit/>
          </a:bodyPr>
          <a:lstStyle/>
          <a:p>
            <a:r>
              <a:rPr lang="en-US" sz="1200" b="1" dirty="0">
                <a:solidFill>
                  <a:srgbClr val="C00000"/>
                </a:solidFill>
              </a:rPr>
              <a:t>5</a:t>
            </a:r>
          </a:p>
        </p:txBody>
      </p:sp>
      <p:sp>
        <p:nvSpPr>
          <p:cNvPr id="12" name="TextBox 11">
            <a:extLst>
              <a:ext uri="{FF2B5EF4-FFF2-40B4-BE49-F238E27FC236}">
                <a16:creationId xmlns:a16="http://schemas.microsoft.com/office/drawing/2014/main" id="{B5D9902B-0E3B-E960-7339-134BE3FD5325}"/>
              </a:ext>
            </a:extLst>
          </p:cNvPr>
          <p:cNvSpPr txBox="1"/>
          <p:nvPr/>
        </p:nvSpPr>
        <p:spPr>
          <a:xfrm>
            <a:off x="4961062" y="4086384"/>
            <a:ext cx="206477" cy="276999"/>
          </a:xfrm>
          <a:prstGeom prst="rect">
            <a:avLst/>
          </a:prstGeom>
          <a:noFill/>
        </p:spPr>
        <p:txBody>
          <a:bodyPr wrap="square" rtlCol="0">
            <a:spAutoFit/>
          </a:bodyPr>
          <a:lstStyle/>
          <a:p>
            <a:r>
              <a:rPr lang="en-US" sz="1200" b="1" dirty="0">
                <a:solidFill>
                  <a:srgbClr val="C00000"/>
                </a:solidFill>
              </a:rPr>
              <a:t>6</a:t>
            </a:r>
          </a:p>
        </p:txBody>
      </p:sp>
      <p:sp>
        <p:nvSpPr>
          <p:cNvPr id="13" name="TextBox 12">
            <a:extLst>
              <a:ext uri="{FF2B5EF4-FFF2-40B4-BE49-F238E27FC236}">
                <a16:creationId xmlns:a16="http://schemas.microsoft.com/office/drawing/2014/main" id="{4B919113-0F90-CE24-0DBE-34E61474A475}"/>
              </a:ext>
            </a:extLst>
          </p:cNvPr>
          <p:cNvSpPr txBox="1"/>
          <p:nvPr/>
        </p:nvSpPr>
        <p:spPr>
          <a:xfrm>
            <a:off x="4961062" y="4224883"/>
            <a:ext cx="206477" cy="276999"/>
          </a:xfrm>
          <a:prstGeom prst="rect">
            <a:avLst/>
          </a:prstGeom>
          <a:noFill/>
        </p:spPr>
        <p:txBody>
          <a:bodyPr wrap="square" rtlCol="0">
            <a:spAutoFit/>
          </a:bodyPr>
          <a:lstStyle/>
          <a:p>
            <a:r>
              <a:rPr lang="en-US" sz="1200" b="1" dirty="0">
                <a:solidFill>
                  <a:srgbClr val="C00000"/>
                </a:solidFill>
              </a:rPr>
              <a:t>7</a:t>
            </a:r>
          </a:p>
        </p:txBody>
      </p:sp>
      <p:sp>
        <p:nvSpPr>
          <p:cNvPr id="15" name="TextBox 14">
            <a:extLst>
              <a:ext uri="{FF2B5EF4-FFF2-40B4-BE49-F238E27FC236}">
                <a16:creationId xmlns:a16="http://schemas.microsoft.com/office/drawing/2014/main" id="{DC5E4E91-BEE1-A6F9-8962-9097B9D07713}"/>
              </a:ext>
            </a:extLst>
          </p:cNvPr>
          <p:cNvSpPr txBox="1"/>
          <p:nvPr/>
        </p:nvSpPr>
        <p:spPr>
          <a:xfrm>
            <a:off x="4961062" y="4363382"/>
            <a:ext cx="206477" cy="276999"/>
          </a:xfrm>
          <a:prstGeom prst="rect">
            <a:avLst/>
          </a:prstGeom>
          <a:noFill/>
        </p:spPr>
        <p:txBody>
          <a:bodyPr wrap="square" rtlCol="0">
            <a:spAutoFit/>
          </a:bodyPr>
          <a:lstStyle/>
          <a:p>
            <a:r>
              <a:rPr lang="en-US" sz="1200" b="1" dirty="0">
                <a:solidFill>
                  <a:srgbClr val="C00000"/>
                </a:solidFill>
              </a:rPr>
              <a:t>9</a:t>
            </a:r>
          </a:p>
        </p:txBody>
      </p:sp>
      <p:sp>
        <p:nvSpPr>
          <p:cNvPr id="16" name="TextBox 15">
            <a:extLst>
              <a:ext uri="{FF2B5EF4-FFF2-40B4-BE49-F238E27FC236}">
                <a16:creationId xmlns:a16="http://schemas.microsoft.com/office/drawing/2014/main" id="{6EF4171C-CCE5-C032-FF08-E186EBEB8B22}"/>
              </a:ext>
            </a:extLst>
          </p:cNvPr>
          <p:cNvSpPr txBox="1"/>
          <p:nvPr/>
        </p:nvSpPr>
        <p:spPr>
          <a:xfrm>
            <a:off x="4878213" y="4501881"/>
            <a:ext cx="372173" cy="276999"/>
          </a:xfrm>
          <a:prstGeom prst="rect">
            <a:avLst/>
          </a:prstGeom>
          <a:noFill/>
        </p:spPr>
        <p:txBody>
          <a:bodyPr wrap="square" rtlCol="0">
            <a:spAutoFit/>
          </a:bodyPr>
          <a:lstStyle/>
          <a:p>
            <a:r>
              <a:rPr lang="en-US" sz="1200" b="1" dirty="0">
                <a:solidFill>
                  <a:srgbClr val="C00000"/>
                </a:solidFill>
              </a:rPr>
              <a:t>10</a:t>
            </a:r>
          </a:p>
        </p:txBody>
      </p:sp>
      <p:sp>
        <p:nvSpPr>
          <p:cNvPr id="7" name="TextBox 6">
            <a:extLst>
              <a:ext uri="{FF2B5EF4-FFF2-40B4-BE49-F238E27FC236}">
                <a16:creationId xmlns:a16="http://schemas.microsoft.com/office/drawing/2014/main" id="{8807E76E-52DA-3EEF-47B5-140274764AE9}"/>
              </a:ext>
            </a:extLst>
          </p:cNvPr>
          <p:cNvSpPr txBox="1"/>
          <p:nvPr/>
        </p:nvSpPr>
        <p:spPr>
          <a:xfrm>
            <a:off x="4878212" y="4640380"/>
            <a:ext cx="372173" cy="276999"/>
          </a:xfrm>
          <a:prstGeom prst="rect">
            <a:avLst/>
          </a:prstGeom>
          <a:noFill/>
        </p:spPr>
        <p:txBody>
          <a:bodyPr wrap="square" rtlCol="0">
            <a:spAutoFit/>
          </a:bodyPr>
          <a:lstStyle/>
          <a:p>
            <a:r>
              <a:rPr lang="en-US" sz="1200" b="1" dirty="0">
                <a:solidFill>
                  <a:srgbClr val="C00000"/>
                </a:solidFill>
              </a:rPr>
              <a:t>13</a:t>
            </a:r>
          </a:p>
        </p:txBody>
      </p:sp>
      <p:sp>
        <p:nvSpPr>
          <p:cNvPr id="14" name="TextBox 13">
            <a:extLst>
              <a:ext uri="{FF2B5EF4-FFF2-40B4-BE49-F238E27FC236}">
                <a16:creationId xmlns:a16="http://schemas.microsoft.com/office/drawing/2014/main" id="{08D07F80-A89F-81A0-A628-0A1BA47A00F8}"/>
              </a:ext>
            </a:extLst>
          </p:cNvPr>
          <p:cNvSpPr txBox="1"/>
          <p:nvPr/>
        </p:nvSpPr>
        <p:spPr>
          <a:xfrm>
            <a:off x="4878211" y="5343990"/>
            <a:ext cx="372173" cy="276999"/>
          </a:xfrm>
          <a:prstGeom prst="rect">
            <a:avLst/>
          </a:prstGeom>
          <a:noFill/>
        </p:spPr>
        <p:txBody>
          <a:bodyPr wrap="square" rtlCol="0">
            <a:spAutoFit/>
          </a:bodyPr>
          <a:lstStyle/>
          <a:p>
            <a:r>
              <a:rPr lang="en-US" sz="1200" b="1" dirty="0">
                <a:solidFill>
                  <a:srgbClr val="C00000"/>
                </a:solidFill>
              </a:rPr>
              <a:t>14</a:t>
            </a:r>
          </a:p>
        </p:txBody>
      </p:sp>
      <p:sp>
        <p:nvSpPr>
          <p:cNvPr id="17" name="TextBox 16">
            <a:extLst>
              <a:ext uri="{FF2B5EF4-FFF2-40B4-BE49-F238E27FC236}">
                <a16:creationId xmlns:a16="http://schemas.microsoft.com/office/drawing/2014/main" id="{3FA68EB1-C08A-3014-86A3-D7C249CCD132}"/>
              </a:ext>
            </a:extLst>
          </p:cNvPr>
          <p:cNvSpPr txBox="1"/>
          <p:nvPr/>
        </p:nvSpPr>
        <p:spPr>
          <a:xfrm>
            <a:off x="4892628" y="5623873"/>
            <a:ext cx="372173" cy="276999"/>
          </a:xfrm>
          <a:prstGeom prst="rect">
            <a:avLst/>
          </a:prstGeom>
          <a:noFill/>
        </p:spPr>
        <p:txBody>
          <a:bodyPr wrap="square" rtlCol="0">
            <a:spAutoFit/>
          </a:bodyPr>
          <a:lstStyle/>
          <a:p>
            <a:r>
              <a:rPr lang="en-US" sz="1200" b="1" dirty="0">
                <a:solidFill>
                  <a:srgbClr val="C00000"/>
                </a:solidFill>
              </a:rPr>
              <a:t>16</a:t>
            </a:r>
          </a:p>
        </p:txBody>
      </p:sp>
      <p:sp>
        <p:nvSpPr>
          <p:cNvPr id="18" name="TextBox 17">
            <a:extLst>
              <a:ext uri="{FF2B5EF4-FFF2-40B4-BE49-F238E27FC236}">
                <a16:creationId xmlns:a16="http://schemas.microsoft.com/office/drawing/2014/main" id="{D76660A7-D5D5-1A43-1C93-C1796DDE1A1B}"/>
              </a:ext>
            </a:extLst>
          </p:cNvPr>
          <p:cNvSpPr txBox="1"/>
          <p:nvPr/>
        </p:nvSpPr>
        <p:spPr>
          <a:xfrm>
            <a:off x="4892628" y="5915432"/>
            <a:ext cx="372173" cy="276999"/>
          </a:xfrm>
          <a:prstGeom prst="rect">
            <a:avLst/>
          </a:prstGeom>
          <a:noFill/>
        </p:spPr>
        <p:txBody>
          <a:bodyPr wrap="square" rtlCol="0">
            <a:spAutoFit/>
          </a:bodyPr>
          <a:lstStyle/>
          <a:p>
            <a:r>
              <a:rPr lang="en-US" sz="1200" b="1" dirty="0">
                <a:solidFill>
                  <a:srgbClr val="C00000"/>
                </a:solidFill>
              </a:rPr>
              <a:t>17</a:t>
            </a:r>
          </a:p>
        </p:txBody>
      </p:sp>
    </p:spTree>
    <p:extLst>
      <p:ext uri="{BB962C8B-B14F-4D97-AF65-F5344CB8AC3E}">
        <p14:creationId xmlns:p14="http://schemas.microsoft.com/office/powerpoint/2010/main" val="17219734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58527" y="466843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46723" y="496309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789967" y="1222531"/>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3" name="Text Box 149">
            <a:extLst>
              <a:ext uri="{FF2B5EF4-FFF2-40B4-BE49-F238E27FC236}">
                <a16:creationId xmlns:a16="http://schemas.microsoft.com/office/drawing/2014/main" id="{3DD7E440-84FD-DE3B-5C3C-A26AC9CA9EF5}"/>
              </a:ext>
            </a:extLst>
          </p:cNvPr>
          <p:cNvSpPr txBox="1">
            <a:spLocks noChangeArrowheads="1"/>
          </p:cNvSpPr>
          <p:nvPr/>
        </p:nvSpPr>
        <p:spPr bwMode="auto">
          <a:xfrm>
            <a:off x="3057840" y="1260265"/>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4" name="Text Box 149">
            <a:extLst>
              <a:ext uri="{FF2B5EF4-FFF2-40B4-BE49-F238E27FC236}">
                <a16:creationId xmlns:a16="http://schemas.microsoft.com/office/drawing/2014/main" id="{4B49054F-5624-3B72-1E62-F209B1E08159}"/>
              </a:ext>
            </a:extLst>
          </p:cNvPr>
          <p:cNvSpPr txBox="1">
            <a:spLocks noChangeArrowheads="1"/>
          </p:cNvSpPr>
          <p:nvPr/>
        </p:nvSpPr>
        <p:spPr bwMode="auto">
          <a:xfrm>
            <a:off x="3077275" y="2877797"/>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2" name="Text Box 149">
            <a:extLst>
              <a:ext uri="{FF2B5EF4-FFF2-40B4-BE49-F238E27FC236}">
                <a16:creationId xmlns:a16="http://schemas.microsoft.com/office/drawing/2014/main" id="{6A3FD2B9-6037-1565-6E76-462C1E1486EA}"/>
              </a:ext>
            </a:extLst>
          </p:cNvPr>
          <p:cNvSpPr txBox="1">
            <a:spLocks noChangeArrowheads="1"/>
          </p:cNvSpPr>
          <p:nvPr/>
        </p:nvSpPr>
        <p:spPr bwMode="auto">
          <a:xfrm>
            <a:off x="5378597" y="2765487"/>
            <a:ext cx="3647540" cy="26314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21188" y="3925541"/>
            <a:ext cx="257024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2979780" y="3519652"/>
            <a:ext cx="266791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897900" y="1462808"/>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A5A9E30F-311D-98BC-57C0-BE9A9DFAF7E7}"/>
              </a:ext>
            </a:extLst>
          </p:cNvPr>
          <p:cNvCxnSpPr>
            <a:cxnSpLocks/>
          </p:cNvCxnSpPr>
          <p:nvPr/>
        </p:nvCxnSpPr>
        <p:spPr>
          <a:xfrm flipH="1">
            <a:off x="3068934" y="3265735"/>
            <a:ext cx="2277790" cy="4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077275" y="4491519"/>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57575" y="4174044"/>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2957" cy="55157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C3213CED-26EF-68BD-9F9F-9BE8C8B03EAD}"/>
              </a:ext>
            </a:extLst>
          </p:cNvPr>
          <p:cNvCxnSpPr>
            <a:cxnSpLocks/>
          </p:cNvCxnSpPr>
          <p:nvPr/>
        </p:nvCxnSpPr>
        <p:spPr>
          <a:xfrm>
            <a:off x="3062455" y="1631746"/>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3A4BED29-B25D-CC31-0E8C-A3CF41140673}"/>
              </a:ext>
            </a:extLst>
          </p:cNvPr>
          <p:cNvCxnSpPr>
            <a:cxnSpLocks/>
          </p:cNvCxnSpPr>
          <p:nvPr/>
        </p:nvCxnSpPr>
        <p:spPr>
          <a:xfrm flipH="1">
            <a:off x="5353202" y="3043434"/>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77275" y="3764492"/>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5299007" y="4248185"/>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cxnSp>
        <p:nvCxnSpPr>
          <p:cNvPr id="3" name="Straight Connector 2">
            <a:extLst>
              <a:ext uri="{FF2B5EF4-FFF2-40B4-BE49-F238E27FC236}">
                <a16:creationId xmlns:a16="http://schemas.microsoft.com/office/drawing/2014/main" id="{98991329-9B79-F91D-5282-2A160FD8143F}"/>
              </a:ext>
            </a:extLst>
          </p:cNvPr>
          <p:cNvCxnSpPr>
            <a:cxnSpLocks/>
          </p:cNvCxnSpPr>
          <p:nvPr/>
        </p:nvCxnSpPr>
        <p:spPr>
          <a:xfrm>
            <a:off x="6713047" y="1112070"/>
            <a:ext cx="5938" cy="8378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32704-E2B9-BC30-5490-EEFE5E506BC0}"/>
              </a:ext>
            </a:extLst>
          </p:cNvPr>
          <p:cNvSpPr/>
          <p:nvPr/>
        </p:nvSpPr>
        <p:spPr>
          <a:xfrm>
            <a:off x="7293213"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5" name="Straight Connector 4">
            <a:extLst>
              <a:ext uri="{FF2B5EF4-FFF2-40B4-BE49-F238E27FC236}">
                <a16:creationId xmlns:a16="http://schemas.microsoft.com/office/drawing/2014/main" id="{47F46292-8B16-1C1C-5A52-31435FCC6BFC}"/>
              </a:ext>
            </a:extLst>
          </p:cNvPr>
          <p:cNvCxnSpPr>
            <a:cxnSpLocks/>
          </p:cNvCxnSpPr>
          <p:nvPr/>
        </p:nvCxnSpPr>
        <p:spPr>
          <a:xfrm>
            <a:off x="7840584" y="1118765"/>
            <a:ext cx="0" cy="11789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Box 149">
            <a:extLst>
              <a:ext uri="{FF2B5EF4-FFF2-40B4-BE49-F238E27FC236}">
                <a16:creationId xmlns:a16="http://schemas.microsoft.com/office/drawing/2014/main" id="{93AC6B3A-7049-0616-8C39-E8465C09F066}"/>
              </a:ext>
            </a:extLst>
          </p:cNvPr>
          <p:cNvSpPr txBox="1">
            <a:spLocks noChangeArrowheads="1"/>
          </p:cNvSpPr>
          <p:nvPr/>
        </p:nvSpPr>
        <p:spPr bwMode="auto">
          <a:xfrm>
            <a:off x="4913185" y="1322617"/>
            <a:ext cx="2275927" cy="47270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7" name="Straight Arrow Connector 6">
            <a:extLst>
              <a:ext uri="{FF2B5EF4-FFF2-40B4-BE49-F238E27FC236}">
                <a16:creationId xmlns:a16="http://schemas.microsoft.com/office/drawing/2014/main" id="{11565A74-A3A8-EB1E-C0A4-7261BF2AD39F}"/>
              </a:ext>
            </a:extLst>
          </p:cNvPr>
          <p:cNvCxnSpPr>
            <a:cxnSpLocks/>
          </p:cNvCxnSpPr>
          <p:nvPr/>
        </p:nvCxnSpPr>
        <p:spPr>
          <a:xfrm>
            <a:off x="5333767" y="1868936"/>
            <a:ext cx="14009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 Box 149">
            <a:extLst>
              <a:ext uri="{FF2B5EF4-FFF2-40B4-BE49-F238E27FC236}">
                <a16:creationId xmlns:a16="http://schemas.microsoft.com/office/drawing/2014/main" id="{ECCBC542-7114-BA1D-6578-C1B05A866498}"/>
              </a:ext>
            </a:extLst>
          </p:cNvPr>
          <p:cNvSpPr txBox="1">
            <a:spLocks noChangeArrowheads="1"/>
          </p:cNvSpPr>
          <p:nvPr/>
        </p:nvSpPr>
        <p:spPr bwMode="auto">
          <a:xfrm>
            <a:off x="5292690" y="2007532"/>
            <a:ext cx="277844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0" name="Straight Arrow Connector 9">
            <a:extLst>
              <a:ext uri="{FF2B5EF4-FFF2-40B4-BE49-F238E27FC236}">
                <a16:creationId xmlns:a16="http://schemas.microsoft.com/office/drawing/2014/main" id="{D7C12AA0-5BC6-9058-9C81-C72D2D3DBE66}"/>
              </a:ext>
            </a:extLst>
          </p:cNvPr>
          <p:cNvCxnSpPr>
            <a:cxnSpLocks/>
          </p:cNvCxnSpPr>
          <p:nvPr/>
        </p:nvCxnSpPr>
        <p:spPr>
          <a:xfrm>
            <a:off x="5346723" y="2242844"/>
            <a:ext cx="249386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 Box 149">
            <a:extLst>
              <a:ext uri="{FF2B5EF4-FFF2-40B4-BE49-F238E27FC236}">
                <a16:creationId xmlns:a16="http://schemas.microsoft.com/office/drawing/2014/main" id="{DA1D141D-63C8-9F11-B6C5-A837B81D346D}"/>
              </a:ext>
            </a:extLst>
          </p:cNvPr>
          <p:cNvSpPr txBox="1">
            <a:spLocks noChangeArrowheads="1"/>
          </p:cNvSpPr>
          <p:nvPr/>
        </p:nvSpPr>
        <p:spPr bwMode="auto">
          <a:xfrm>
            <a:off x="5358527" y="2393428"/>
            <a:ext cx="3587683" cy="2217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4" name="Straight Arrow Connector 13">
            <a:extLst>
              <a:ext uri="{FF2B5EF4-FFF2-40B4-BE49-F238E27FC236}">
                <a16:creationId xmlns:a16="http://schemas.microsoft.com/office/drawing/2014/main" id="{B847F186-9FCB-D84A-670F-9E7F0475A46A}"/>
              </a:ext>
            </a:extLst>
          </p:cNvPr>
          <p:cNvCxnSpPr>
            <a:cxnSpLocks/>
          </p:cNvCxnSpPr>
          <p:nvPr/>
        </p:nvCxnSpPr>
        <p:spPr>
          <a:xfrm flipV="1">
            <a:off x="5352049" y="2637014"/>
            <a:ext cx="3658584" cy="247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53202" y="4876312"/>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60733" y="5258053"/>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53" name="TextBox 52">
            <a:extLst>
              <a:ext uri="{FF2B5EF4-FFF2-40B4-BE49-F238E27FC236}">
                <a16:creationId xmlns:a16="http://schemas.microsoft.com/office/drawing/2014/main" id="{68CE9AD2-EF21-9988-6FCA-A175DCF12C8F}"/>
              </a:ext>
            </a:extLst>
          </p:cNvPr>
          <p:cNvSpPr txBox="1"/>
          <p:nvPr/>
        </p:nvSpPr>
        <p:spPr>
          <a:xfrm>
            <a:off x="815903" y="1386835"/>
            <a:ext cx="206477" cy="276999"/>
          </a:xfrm>
          <a:prstGeom prst="rect">
            <a:avLst/>
          </a:prstGeom>
          <a:noFill/>
        </p:spPr>
        <p:txBody>
          <a:bodyPr wrap="square" rtlCol="0">
            <a:spAutoFit/>
          </a:bodyPr>
          <a:lstStyle/>
          <a:p>
            <a:r>
              <a:rPr lang="en-US" sz="1200" b="1" dirty="0">
                <a:solidFill>
                  <a:srgbClr val="C00000"/>
                </a:solidFill>
              </a:rPr>
              <a:t>1</a:t>
            </a:r>
          </a:p>
        </p:txBody>
      </p:sp>
      <p:sp>
        <p:nvSpPr>
          <p:cNvPr id="54" name="TextBox 53">
            <a:extLst>
              <a:ext uri="{FF2B5EF4-FFF2-40B4-BE49-F238E27FC236}">
                <a16:creationId xmlns:a16="http://schemas.microsoft.com/office/drawing/2014/main" id="{001B0950-8C0D-B8A1-A193-C7127C037846}"/>
              </a:ext>
            </a:extLst>
          </p:cNvPr>
          <p:cNvSpPr txBox="1"/>
          <p:nvPr/>
        </p:nvSpPr>
        <p:spPr>
          <a:xfrm>
            <a:off x="3024216" y="1577570"/>
            <a:ext cx="206477" cy="276999"/>
          </a:xfrm>
          <a:prstGeom prst="rect">
            <a:avLst/>
          </a:prstGeom>
          <a:noFill/>
        </p:spPr>
        <p:txBody>
          <a:bodyPr wrap="square" rtlCol="0">
            <a:spAutoFit/>
          </a:bodyPr>
          <a:lstStyle/>
          <a:p>
            <a:r>
              <a:rPr lang="en-US" sz="1200" b="1" dirty="0">
                <a:solidFill>
                  <a:srgbClr val="C00000"/>
                </a:solidFill>
              </a:rPr>
              <a:t>2</a:t>
            </a:r>
          </a:p>
        </p:txBody>
      </p:sp>
      <p:sp>
        <p:nvSpPr>
          <p:cNvPr id="56" name="TextBox 55">
            <a:extLst>
              <a:ext uri="{FF2B5EF4-FFF2-40B4-BE49-F238E27FC236}">
                <a16:creationId xmlns:a16="http://schemas.microsoft.com/office/drawing/2014/main" id="{BC9BCE66-1427-5CA9-6F40-945441D0E1C3}"/>
              </a:ext>
            </a:extLst>
          </p:cNvPr>
          <p:cNvSpPr txBox="1"/>
          <p:nvPr/>
        </p:nvSpPr>
        <p:spPr>
          <a:xfrm>
            <a:off x="4940796" y="2132277"/>
            <a:ext cx="206477" cy="276999"/>
          </a:xfrm>
          <a:prstGeom prst="rect">
            <a:avLst/>
          </a:prstGeom>
          <a:noFill/>
        </p:spPr>
        <p:txBody>
          <a:bodyPr wrap="square" rtlCol="0">
            <a:spAutoFit/>
          </a:bodyPr>
          <a:lstStyle/>
          <a:p>
            <a:r>
              <a:rPr lang="en-US" sz="1200" b="1" dirty="0">
                <a:solidFill>
                  <a:srgbClr val="C00000"/>
                </a:solidFill>
              </a:rPr>
              <a:t>3</a:t>
            </a:r>
          </a:p>
        </p:txBody>
      </p:sp>
      <p:sp>
        <p:nvSpPr>
          <p:cNvPr id="57" name="TextBox 56">
            <a:extLst>
              <a:ext uri="{FF2B5EF4-FFF2-40B4-BE49-F238E27FC236}">
                <a16:creationId xmlns:a16="http://schemas.microsoft.com/office/drawing/2014/main" id="{EA61342E-46BB-D226-CC2D-C67FCF9AF905}"/>
              </a:ext>
            </a:extLst>
          </p:cNvPr>
          <p:cNvSpPr txBox="1"/>
          <p:nvPr/>
        </p:nvSpPr>
        <p:spPr>
          <a:xfrm>
            <a:off x="8762075" y="3006552"/>
            <a:ext cx="206477" cy="276999"/>
          </a:xfrm>
          <a:prstGeom prst="rect">
            <a:avLst/>
          </a:prstGeom>
          <a:noFill/>
        </p:spPr>
        <p:txBody>
          <a:bodyPr wrap="square" rtlCol="0">
            <a:spAutoFit/>
          </a:bodyPr>
          <a:lstStyle/>
          <a:p>
            <a:r>
              <a:rPr lang="en-US" sz="1200" b="1" dirty="0">
                <a:solidFill>
                  <a:srgbClr val="C00000"/>
                </a:solidFill>
              </a:rPr>
              <a:t>4</a:t>
            </a:r>
          </a:p>
        </p:txBody>
      </p:sp>
      <p:sp>
        <p:nvSpPr>
          <p:cNvPr id="58" name="TextBox 57">
            <a:extLst>
              <a:ext uri="{FF2B5EF4-FFF2-40B4-BE49-F238E27FC236}">
                <a16:creationId xmlns:a16="http://schemas.microsoft.com/office/drawing/2014/main" id="{DC6A6FE4-8194-6B8D-3B1C-86884430FEE8}"/>
              </a:ext>
            </a:extLst>
          </p:cNvPr>
          <p:cNvSpPr txBox="1"/>
          <p:nvPr/>
        </p:nvSpPr>
        <p:spPr>
          <a:xfrm>
            <a:off x="5124546" y="3221972"/>
            <a:ext cx="206477" cy="276999"/>
          </a:xfrm>
          <a:prstGeom prst="rect">
            <a:avLst/>
          </a:prstGeom>
          <a:noFill/>
        </p:spPr>
        <p:txBody>
          <a:bodyPr wrap="square" rtlCol="0">
            <a:spAutoFit/>
          </a:bodyPr>
          <a:lstStyle/>
          <a:p>
            <a:r>
              <a:rPr lang="en-US" sz="1200" b="1" dirty="0">
                <a:solidFill>
                  <a:srgbClr val="C00000"/>
                </a:solidFill>
              </a:rPr>
              <a:t>5</a:t>
            </a:r>
          </a:p>
        </p:txBody>
      </p:sp>
      <p:sp>
        <p:nvSpPr>
          <p:cNvPr id="63" name="TextBox 62">
            <a:extLst>
              <a:ext uri="{FF2B5EF4-FFF2-40B4-BE49-F238E27FC236}">
                <a16:creationId xmlns:a16="http://schemas.microsoft.com/office/drawing/2014/main" id="{297E737A-18B7-2D27-BF7F-5523FC7BE3CD}"/>
              </a:ext>
            </a:extLst>
          </p:cNvPr>
          <p:cNvSpPr txBox="1"/>
          <p:nvPr/>
        </p:nvSpPr>
        <p:spPr>
          <a:xfrm>
            <a:off x="3021188" y="3712365"/>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3B9A51C2-3656-C4B9-A47B-2B5D66958908}"/>
              </a:ext>
            </a:extLst>
          </p:cNvPr>
          <p:cNvSpPr txBox="1"/>
          <p:nvPr/>
        </p:nvSpPr>
        <p:spPr>
          <a:xfrm>
            <a:off x="5124546" y="4114508"/>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2F0DA36-2B04-08AF-998F-01F0C4CCBA86}"/>
              </a:ext>
            </a:extLst>
          </p:cNvPr>
          <p:cNvSpPr txBox="1"/>
          <p:nvPr/>
        </p:nvSpPr>
        <p:spPr>
          <a:xfrm>
            <a:off x="3031165" y="4446298"/>
            <a:ext cx="206477" cy="276999"/>
          </a:xfrm>
          <a:prstGeom prst="rect">
            <a:avLst/>
          </a:prstGeom>
          <a:noFill/>
        </p:spPr>
        <p:txBody>
          <a:bodyPr wrap="square" rtlCol="0">
            <a:spAutoFit/>
          </a:bodyPr>
          <a:lstStyle/>
          <a:p>
            <a:r>
              <a:rPr lang="en-US" sz="1200" b="1" dirty="0">
                <a:solidFill>
                  <a:srgbClr val="C00000"/>
                </a:solidFill>
              </a:rPr>
              <a:t>8</a:t>
            </a:r>
          </a:p>
        </p:txBody>
      </p:sp>
      <p:sp>
        <p:nvSpPr>
          <p:cNvPr id="66" name="TextBox 65">
            <a:extLst>
              <a:ext uri="{FF2B5EF4-FFF2-40B4-BE49-F238E27FC236}">
                <a16:creationId xmlns:a16="http://schemas.microsoft.com/office/drawing/2014/main" id="{3FA4575D-67FA-9F69-6EB5-F4109618E031}"/>
              </a:ext>
            </a:extLst>
          </p:cNvPr>
          <p:cNvSpPr txBox="1"/>
          <p:nvPr/>
        </p:nvSpPr>
        <p:spPr>
          <a:xfrm>
            <a:off x="8809344" y="4825996"/>
            <a:ext cx="206477" cy="276999"/>
          </a:xfrm>
          <a:prstGeom prst="rect">
            <a:avLst/>
          </a:prstGeom>
          <a:noFill/>
        </p:spPr>
        <p:txBody>
          <a:bodyPr wrap="square" rtlCol="0">
            <a:spAutoFit/>
          </a:bodyPr>
          <a:lstStyle/>
          <a:p>
            <a:r>
              <a:rPr lang="en-US" sz="1200" b="1" dirty="0">
                <a:solidFill>
                  <a:srgbClr val="C00000"/>
                </a:solidFill>
              </a:rPr>
              <a:t>9</a:t>
            </a:r>
          </a:p>
        </p:txBody>
      </p:sp>
      <p:sp>
        <p:nvSpPr>
          <p:cNvPr id="67" name="TextBox 66">
            <a:extLst>
              <a:ext uri="{FF2B5EF4-FFF2-40B4-BE49-F238E27FC236}">
                <a16:creationId xmlns:a16="http://schemas.microsoft.com/office/drawing/2014/main" id="{2376CF76-D6BC-E941-DD19-91C516709971}"/>
              </a:ext>
            </a:extLst>
          </p:cNvPr>
          <p:cNvSpPr txBox="1"/>
          <p:nvPr/>
        </p:nvSpPr>
        <p:spPr>
          <a:xfrm>
            <a:off x="5321131" y="5210579"/>
            <a:ext cx="366288" cy="276999"/>
          </a:xfrm>
          <a:prstGeom prst="rect">
            <a:avLst/>
          </a:prstGeom>
          <a:noFill/>
        </p:spPr>
        <p:txBody>
          <a:bodyPr wrap="square" rtlCol="0">
            <a:spAutoFit/>
          </a:bodyPr>
          <a:lstStyle/>
          <a:p>
            <a:r>
              <a:rPr lang="en-US" sz="1200" b="1" dirty="0">
                <a:solidFill>
                  <a:srgbClr val="C00000"/>
                </a:solidFill>
              </a:rPr>
              <a:t>10</a:t>
            </a:r>
          </a:p>
        </p:txBody>
      </p:sp>
      <p:sp>
        <p:nvSpPr>
          <p:cNvPr id="72" name="Left Brace 71">
            <a:extLst>
              <a:ext uri="{FF2B5EF4-FFF2-40B4-BE49-F238E27FC236}">
                <a16:creationId xmlns:a16="http://schemas.microsoft.com/office/drawing/2014/main" id="{6368B5B1-B6AC-7241-0F37-8818C17F7882}"/>
              </a:ext>
            </a:extLst>
          </p:cNvPr>
          <p:cNvSpPr/>
          <p:nvPr/>
        </p:nvSpPr>
        <p:spPr>
          <a:xfrm>
            <a:off x="5156717" y="1838130"/>
            <a:ext cx="121185" cy="871246"/>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Tree>
    <p:extLst>
      <p:ext uri="{BB962C8B-B14F-4D97-AF65-F5344CB8AC3E}">
        <p14:creationId xmlns:p14="http://schemas.microsoft.com/office/powerpoint/2010/main" val="24758523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34572" y="217036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22768" y="246502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8947815" y="1623865"/>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9103330" y="1929841"/>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965716" y="3876903"/>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35883" y="3589040"/>
            <a:ext cx="240599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3024216" y="3188987"/>
            <a:ext cx="2391482"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8095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6173"/>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4212"/>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62294" y="3843615"/>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08355"/>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6408" cy="29812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8990624" y="2174216"/>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D6BEBB5D-8303-B54E-C8D7-0B3974D550DF}"/>
              </a:ext>
            </a:extLst>
          </p:cNvPr>
          <p:cNvCxnSpPr>
            <a:cxnSpLocks/>
          </p:cNvCxnSpPr>
          <p:nvPr/>
        </p:nvCxnSpPr>
        <p:spPr>
          <a:xfrm>
            <a:off x="9001417" y="1861498"/>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CC93BE02-E9F2-877B-3D37-E41E666B0B53}"/>
              </a:ext>
            </a:extLst>
          </p:cNvPr>
          <p:cNvCxnSpPr>
            <a:cxnSpLocks/>
          </p:cNvCxnSpPr>
          <p:nvPr/>
        </p:nvCxnSpPr>
        <p:spPr>
          <a:xfrm flipH="1">
            <a:off x="913878" y="4086691"/>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81994" y="3434063"/>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076360" y="3077458"/>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63202"/>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5340444" y="2846641"/>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888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sp>
        <p:nvSpPr>
          <p:cNvPr id="4" name="Rectangle 3">
            <a:extLst>
              <a:ext uri="{FF2B5EF4-FFF2-40B4-BE49-F238E27FC236}">
                <a16:creationId xmlns:a16="http://schemas.microsoft.com/office/drawing/2014/main" id="{FFF32704-E2B9-BC30-5490-EEFE5E506BC0}"/>
              </a:ext>
            </a:extLst>
          </p:cNvPr>
          <p:cNvSpPr/>
          <p:nvPr/>
        </p:nvSpPr>
        <p:spPr>
          <a:xfrm>
            <a:off x="7293213" y="450746"/>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29247" y="2378248"/>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36778" y="2759989"/>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209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09320"/>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67" name="TextBox 66">
            <a:extLst>
              <a:ext uri="{FF2B5EF4-FFF2-40B4-BE49-F238E27FC236}">
                <a16:creationId xmlns:a16="http://schemas.microsoft.com/office/drawing/2014/main" id="{2376CF76-D6BC-E941-DD19-91C516709971}"/>
              </a:ext>
            </a:extLst>
          </p:cNvPr>
          <p:cNvSpPr txBox="1"/>
          <p:nvPr/>
        </p:nvSpPr>
        <p:spPr>
          <a:xfrm>
            <a:off x="5302426" y="2729990"/>
            <a:ext cx="366288" cy="276999"/>
          </a:xfrm>
          <a:prstGeom prst="rect">
            <a:avLst/>
          </a:prstGeom>
          <a:noFill/>
        </p:spPr>
        <p:txBody>
          <a:bodyPr wrap="square" rtlCol="0">
            <a:spAutoFit/>
          </a:bodyPr>
          <a:lstStyle/>
          <a:p>
            <a:r>
              <a:rPr lang="en-US" sz="1200" b="1" dirty="0">
                <a:solidFill>
                  <a:srgbClr val="C00000"/>
                </a:solidFill>
              </a:rPr>
              <a:t>14</a:t>
            </a:r>
          </a:p>
        </p:txBody>
      </p:sp>
      <p:sp>
        <p:nvSpPr>
          <p:cNvPr id="68" name="TextBox 67">
            <a:extLst>
              <a:ext uri="{FF2B5EF4-FFF2-40B4-BE49-F238E27FC236}">
                <a16:creationId xmlns:a16="http://schemas.microsoft.com/office/drawing/2014/main" id="{155DE0F6-79E8-7BFF-5900-53C05D37EC4D}"/>
              </a:ext>
            </a:extLst>
          </p:cNvPr>
          <p:cNvSpPr txBox="1"/>
          <p:nvPr/>
        </p:nvSpPr>
        <p:spPr>
          <a:xfrm>
            <a:off x="8947814" y="1817777"/>
            <a:ext cx="366288" cy="276999"/>
          </a:xfrm>
          <a:prstGeom prst="rect">
            <a:avLst/>
          </a:prstGeom>
          <a:noFill/>
        </p:spPr>
        <p:txBody>
          <a:bodyPr wrap="square" rtlCol="0">
            <a:spAutoFit/>
          </a:bodyPr>
          <a:lstStyle/>
          <a:p>
            <a:r>
              <a:rPr lang="en-US" sz="1200" b="1" dirty="0">
                <a:solidFill>
                  <a:srgbClr val="C00000"/>
                </a:solidFill>
              </a:rPr>
              <a:t>11</a:t>
            </a:r>
          </a:p>
        </p:txBody>
      </p:sp>
      <p:sp>
        <p:nvSpPr>
          <p:cNvPr id="69" name="TextBox 68">
            <a:extLst>
              <a:ext uri="{FF2B5EF4-FFF2-40B4-BE49-F238E27FC236}">
                <a16:creationId xmlns:a16="http://schemas.microsoft.com/office/drawing/2014/main" id="{F651CE3A-A8BA-AA54-5F59-629386621F51}"/>
              </a:ext>
            </a:extLst>
          </p:cNvPr>
          <p:cNvSpPr txBox="1"/>
          <p:nvPr/>
        </p:nvSpPr>
        <p:spPr>
          <a:xfrm>
            <a:off x="10960947" y="2141099"/>
            <a:ext cx="366288" cy="276999"/>
          </a:xfrm>
          <a:prstGeom prst="rect">
            <a:avLst/>
          </a:prstGeom>
          <a:noFill/>
        </p:spPr>
        <p:txBody>
          <a:bodyPr wrap="square" rtlCol="0">
            <a:spAutoFit/>
          </a:bodyPr>
          <a:lstStyle/>
          <a:p>
            <a:r>
              <a:rPr lang="en-US" sz="1200" b="1" dirty="0">
                <a:solidFill>
                  <a:srgbClr val="C00000"/>
                </a:solidFill>
              </a:rPr>
              <a:t>12</a:t>
            </a:r>
          </a:p>
        </p:txBody>
      </p:sp>
      <p:sp>
        <p:nvSpPr>
          <p:cNvPr id="70" name="TextBox 69">
            <a:extLst>
              <a:ext uri="{FF2B5EF4-FFF2-40B4-BE49-F238E27FC236}">
                <a16:creationId xmlns:a16="http://schemas.microsoft.com/office/drawing/2014/main" id="{EBFD0891-D560-B37A-DD4C-3942E5BBCD79}"/>
              </a:ext>
            </a:extLst>
          </p:cNvPr>
          <p:cNvSpPr txBox="1"/>
          <p:nvPr/>
        </p:nvSpPr>
        <p:spPr>
          <a:xfrm>
            <a:off x="8712131" y="2324117"/>
            <a:ext cx="366288" cy="276999"/>
          </a:xfrm>
          <a:prstGeom prst="rect">
            <a:avLst/>
          </a:prstGeom>
          <a:noFill/>
        </p:spPr>
        <p:txBody>
          <a:bodyPr wrap="square" rtlCol="0">
            <a:spAutoFit/>
          </a:bodyPr>
          <a:lstStyle/>
          <a:p>
            <a:r>
              <a:rPr lang="en-US" sz="1200" b="1" dirty="0">
                <a:solidFill>
                  <a:srgbClr val="C00000"/>
                </a:solidFill>
              </a:rPr>
              <a:t>13</a:t>
            </a:r>
          </a:p>
        </p:txBody>
      </p:sp>
      <p:sp>
        <p:nvSpPr>
          <p:cNvPr id="8" name="TextBox 7">
            <a:extLst>
              <a:ext uri="{FF2B5EF4-FFF2-40B4-BE49-F238E27FC236}">
                <a16:creationId xmlns:a16="http://schemas.microsoft.com/office/drawing/2014/main" id="{55C490E4-C976-EF09-CB12-936860845BF4}"/>
              </a:ext>
            </a:extLst>
          </p:cNvPr>
          <p:cNvSpPr txBox="1"/>
          <p:nvPr/>
        </p:nvSpPr>
        <p:spPr>
          <a:xfrm>
            <a:off x="8736285" y="3048056"/>
            <a:ext cx="366288" cy="276999"/>
          </a:xfrm>
          <a:prstGeom prst="rect">
            <a:avLst/>
          </a:prstGeom>
          <a:noFill/>
        </p:spPr>
        <p:txBody>
          <a:bodyPr wrap="square" rtlCol="0">
            <a:spAutoFit/>
          </a:bodyPr>
          <a:lstStyle/>
          <a:p>
            <a:r>
              <a:rPr lang="en-US" sz="1200" b="1" dirty="0">
                <a:solidFill>
                  <a:srgbClr val="C00000"/>
                </a:solidFill>
              </a:rPr>
              <a:t>15</a:t>
            </a:r>
          </a:p>
        </p:txBody>
      </p:sp>
      <p:sp>
        <p:nvSpPr>
          <p:cNvPr id="11" name="TextBox 10">
            <a:extLst>
              <a:ext uri="{FF2B5EF4-FFF2-40B4-BE49-F238E27FC236}">
                <a16:creationId xmlns:a16="http://schemas.microsoft.com/office/drawing/2014/main" id="{6E66D91F-91D4-D9B2-3B7F-14C6020007FF}"/>
              </a:ext>
            </a:extLst>
          </p:cNvPr>
          <p:cNvSpPr txBox="1"/>
          <p:nvPr/>
        </p:nvSpPr>
        <p:spPr>
          <a:xfrm>
            <a:off x="3029844" y="3393636"/>
            <a:ext cx="366288" cy="276999"/>
          </a:xfrm>
          <a:prstGeom prst="rect">
            <a:avLst/>
          </a:prstGeom>
          <a:noFill/>
        </p:spPr>
        <p:txBody>
          <a:bodyPr wrap="square" rtlCol="0">
            <a:spAutoFit/>
          </a:bodyPr>
          <a:lstStyle/>
          <a:p>
            <a:r>
              <a:rPr lang="en-US" sz="1200" b="1" dirty="0">
                <a:solidFill>
                  <a:srgbClr val="C00000"/>
                </a:solidFill>
              </a:rPr>
              <a:t>16</a:t>
            </a:r>
          </a:p>
        </p:txBody>
      </p:sp>
      <p:sp>
        <p:nvSpPr>
          <p:cNvPr id="12" name="TextBox 11">
            <a:extLst>
              <a:ext uri="{FF2B5EF4-FFF2-40B4-BE49-F238E27FC236}">
                <a16:creationId xmlns:a16="http://schemas.microsoft.com/office/drawing/2014/main" id="{C6D83412-2B8F-6D13-D95D-90BEC9CF726B}"/>
              </a:ext>
            </a:extLst>
          </p:cNvPr>
          <p:cNvSpPr txBox="1"/>
          <p:nvPr/>
        </p:nvSpPr>
        <p:spPr>
          <a:xfrm>
            <a:off x="5075597" y="3802696"/>
            <a:ext cx="366288" cy="276999"/>
          </a:xfrm>
          <a:prstGeom prst="rect">
            <a:avLst/>
          </a:prstGeom>
          <a:noFill/>
        </p:spPr>
        <p:txBody>
          <a:bodyPr wrap="square" rtlCol="0">
            <a:spAutoFit/>
          </a:bodyPr>
          <a:lstStyle/>
          <a:p>
            <a:r>
              <a:rPr lang="en-US" sz="1200" b="1" dirty="0">
                <a:solidFill>
                  <a:srgbClr val="C00000"/>
                </a:solidFill>
              </a:rPr>
              <a:t>17</a:t>
            </a:r>
          </a:p>
        </p:txBody>
      </p:sp>
      <p:sp>
        <p:nvSpPr>
          <p:cNvPr id="15" name="TextBox 14">
            <a:extLst>
              <a:ext uri="{FF2B5EF4-FFF2-40B4-BE49-F238E27FC236}">
                <a16:creationId xmlns:a16="http://schemas.microsoft.com/office/drawing/2014/main" id="{B3D543DC-D2EE-DBD7-5E23-D5FEC758EA8F}"/>
              </a:ext>
            </a:extLst>
          </p:cNvPr>
          <p:cNvSpPr txBox="1"/>
          <p:nvPr/>
        </p:nvSpPr>
        <p:spPr>
          <a:xfrm>
            <a:off x="2777317" y="4068361"/>
            <a:ext cx="366288" cy="276999"/>
          </a:xfrm>
          <a:prstGeom prst="rect">
            <a:avLst/>
          </a:prstGeom>
          <a:noFill/>
        </p:spPr>
        <p:txBody>
          <a:bodyPr wrap="square" rtlCol="0">
            <a:spAutoFit/>
          </a:bodyPr>
          <a:lstStyle/>
          <a:p>
            <a:r>
              <a:rPr lang="en-US" sz="1200" b="1" dirty="0">
                <a:solidFill>
                  <a:srgbClr val="C00000"/>
                </a:solidFill>
              </a:rPr>
              <a:t>18</a:t>
            </a:r>
          </a:p>
        </p:txBody>
      </p:sp>
      <p:sp>
        <p:nvSpPr>
          <p:cNvPr id="16" name="Text Box 149">
            <a:extLst>
              <a:ext uri="{FF2B5EF4-FFF2-40B4-BE49-F238E27FC236}">
                <a16:creationId xmlns:a16="http://schemas.microsoft.com/office/drawing/2014/main" id="{E0BECDDA-DE39-A411-2E3F-89AFF1A785E8}"/>
              </a:ext>
            </a:extLst>
          </p:cNvPr>
          <p:cNvSpPr txBox="1">
            <a:spLocks noChangeArrowheads="1"/>
          </p:cNvSpPr>
          <p:nvPr/>
        </p:nvSpPr>
        <p:spPr bwMode="auto">
          <a:xfrm>
            <a:off x="798684" y="4316297"/>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7" name="Text Box 149">
            <a:extLst>
              <a:ext uri="{FF2B5EF4-FFF2-40B4-BE49-F238E27FC236}">
                <a16:creationId xmlns:a16="http://schemas.microsoft.com/office/drawing/2014/main" id="{BBE050F0-E8C1-698B-D536-33D350CD265F}"/>
              </a:ext>
            </a:extLst>
          </p:cNvPr>
          <p:cNvSpPr txBox="1">
            <a:spLocks noChangeArrowheads="1"/>
          </p:cNvSpPr>
          <p:nvPr/>
        </p:nvSpPr>
        <p:spPr bwMode="auto">
          <a:xfrm>
            <a:off x="8967646" y="4787520"/>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8" name="Text Box 149">
            <a:extLst>
              <a:ext uri="{FF2B5EF4-FFF2-40B4-BE49-F238E27FC236}">
                <a16:creationId xmlns:a16="http://schemas.microsoft.com/office/drawing/2014/main" id="{362AC69A-4BC5-1F67-6547-49AEA5236800}"/>
              </a:ext>
            </a:extLst>
          </p:cNvPr>
          <p:cNvSpPr txBox="1">
            <a:spLocks noChangeArrowheads="1"/>
          </p:cNvSpPr>
          <p:nvPr/>
        </p:nvSpPr>
        <p:spPr bwMode="auto">
          <a:xfrm>
            <a:off x="9123161" y="5093496"/>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9" name="Text Box 149">
            <a:extLst>
              <a:ext uri="{FF2B5EF4-FFF2-40B4-BE49-F238E27FC236}">
                <a16:creationId xmlns:a16="http://schemas.microsoft.com/office/drawing/2014/main" id="{10A54F3F-918D-0F6E-47DA-5045E7F785F1}"/>
              </a:ext>
            </a:extLst>
          </p:cNvPr>
          <p:cNvSpPr txBox="1">
            <a:spLocks noChangeArrowheads="1"/>
          </p:cNvSpPr>
          <p:nvPr/>
        </p:nvSpPr>
        <p:spPr bwMode="auto">
          <a:xfrm>
            <a:off x="974109" y="5515530"/>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cxnSp>
        <p:nvCxnSpPr>
          <p:cNvPr id="20" name="Straight Arrow Connector 19">
            <a:extLst>
              <a:ext uri="{FF2B5EF4-FFF2-40B4-BE49-F238E27FC236}">
                <a16:creationId xmlns:a16="http://schemas.microsoft.com/office/drawing/2014/main" id="{AB7D208E-2247-CA81-2551-361789944D11}"/>
              </a:ext>
            </a:extLst>
          </p:cNvPr>
          <p:cNvCxnSpPr>
            <a:cxnSpLocks/>
          </p:cNvCxnSpPr>
          <p:nvPr/>
        </p:nvCxnSpPr>
        <p:spPr>
          <a:xfrm>
            <a:off x="906617" y="4556574"/>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E781EFA3-6189-0F68-A514-57808D957663}"/>
              </a:ext>
            </a:extLst>
          </p:cNvPr>
          <p:cNvCxnSpPr>
            <a:cxnSpLocks/>
          </p:cNvCxnSpPr>
          <p:nvPr/>
        </p:nvCxnSpPr>
        <p:spPr>
          <a:xfrm>
            <a:off x="3076161" y="4877876"/>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FEAA543-1723-8C7B-35E8-DBA48C32052F}"/>
              </a:ext>
            </a:extLst>
          </p:cNvPr>
          <p:cNvCxnSpPr>
            <a:cxnSpLocks/>
          </p:cNvCxnSpPr>
          <p:nvPr/>
        </p:nvCxnSpPr>
        <p:spPr>
          <a:xfrm flipH="1">
            <a:off x="9010455" y="5337871"/>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1788317A-79C9-3BE0-4C4C-3D85D9144B79}"/>
              </a:ext>
            </a:extLst>
          </p:cNvPr>
          <p:cNvCxnSpPr>
            <a:cxnSpLocks/>
          </p:cNvCxnSpPr>
          <p:nvPr/>
        </p:nvCxnSpPr>
        <p:spPr>
          <a:xfrm>
            <a:off x="9021248" y="5025153"/>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F1D67FFA-F513-97AB-729F-8C2693CD4D97}"/>
              </a:ext>
            </a:extLst>
          </p:cNvPr>
          <p:cNvCxnSpPr>
            <a:cxnSpLocks/>
          </p:cNvCxnSpPr>
          <p:nvPr/>
        </p:nvCxnSpPr>
        <p:spPr>
          <a:xfrm flipH="1">
            <a:off x="922271" y="5725318"/>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1C3E957B-4978-45CA-3A55-0EF7E4836127}"/>
              </a:ext>
            </a:extLst>
          </p:cNvPr>
          <p:cNvCxnSpPr>
            <a:cxnSpLocks/>
          </p:cNvCxnSpPr>
          <p:nvPr/>
        </p:nvCxnSpPr>
        <p:spPr>
          <a:xfrm flipH="1">
            <a:off x="3083632" y="5575389"/>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 Box 149">
            <a:extLst>
              <a:ext uri="{FF2B5EF4-FFF2-40B4-BE49-F238E27FC236}">
                <a16:creationId xmlns:a16="http://schemas.microsoft.com/office/drawing/2014/main" id="{0739282E-1C1B-704B-5E1B-91D267258E92}"/>
              </a:ext>
            </a:extLst>
          </p:cNvPr>
          <p:cNvSpPr txBox="1">
            <a:spLocks noChangeArrowheads="1"/>
          </p:cNvSpPr>
          <p:nvPr/>
        </p:nvSpPr>
        <p:spPr bwMode="auto">
          <a:xfrm>
            <a:off x="5297893" y="4634542"/>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59" name="Text Box 149">
            <a:extLst>
              <a:ext uri="{FF2B5EF4-FFF2-40B4-BE49-F238E27FC236}">
                <a16:creationId xmlns:a16="http://schemas.microsoft.com/office/drawing/2014/main" id="{2BC84AD9-3AA6-7D01-8919-549248D24FB1}"/>
              </a:ext>
            </a:extLst>
          </p:cNvPr>
          <p:cNvSpPr txBox="1">
            <a:spLocks noChangeArrowheads="1"/>
          </p:cNvSpPr>
          <p:nvPr/>
        </p:nvSpPr>
        <p:spPr bwMode="auto">
          <a:xfrm>
            <a:off x="5347716" y="5344572"/>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73" name="TextBox 72">
            <a:extLst>
              <a:ext uri="{FF2B5EF4-FFF2-40B4-BE49-F238E27FC236}">
                <a16:creationId xmlns:a16="http://schemas.microsoft.com/office/drawing/2014/main" id="{020E9387-08A7-2385-18D0-F603D2C9D463}"/>
              </a:ext>
            </a:extLst>
          </p:cNvPr>
          <p:cNvSpPr txBox="1"/>
          <p:nvPr/>
        </p:nvSpPr>
        <p:spPr>
          <a:xfrm>
            <a:off x="857054" y="4551225"/>
            <a:ext cx="366288" cy="276999"/>
          </a:xfrm>
          <a:prstGeom prst="rect">
            <a:avLst/>
          </a:prstGeom>
          <a:noFill/>
        </p:spPr>
        <p:txBody>
          <a:bodyPr wrap="square" rtlCol="0">
            <a:spAutoFit/>
          </a:bodyPr>
          <a:lstStyle/>
          <a:p>
            <a:r>
              <a:rPr lang="en-US" sz="1200" b="1" dirty="0">
                <a:solidFill>
                  <a:srgbClr val="C00000"/>
                </a:solidFill>
              </a:rPr>
              <a:t>19</a:t>
            </a:r>
          </a:p>
        </p:txBody>
      </p:sp>
      <p:sp>
        <p:nvSpPr>
          <p:cNvPr id="74" name="TextBox 73">
            <a:extLst>
              <a:ext uri="{FF2B5EF4-FFF2-40B4-BE49-F238E27FC236}">
                <a16:creationId xmlns:a16="http://schemas.microsoft.com/office/drawing/2014/main" id="{1960F272-D88D-ABB8-FE17-04B140823119}"/>
              </a:ext>
            </a:extLst>
          </p:cNvPr>
          <p:cNvSpPr txBox="1"/>
          <p:nvPr/>
        </p:nvSpPr>
        <p:spPr>
          <a:xfrm>
            <a:off x="3033024" y="4828224"/>
            <a:ext cx="366288" cy="276999"/>
          </a:xfrm>
          <a:prstGeom prst="rect">
            <a:avLst/>
          </a:prstGeom>
          <a:noFill/>
        </p:spPr>
        <p:txBody>
          <a:bodyPr wrap="square" rtlCol="0">
            <a:spAutoFit/>
          </a:bodyPr>
          <a:lstStyle/>
          <a:p>
            <a:r>
              <a:rPr lang="en-US" sz="1200" b="1" dirty="0">
                <a:solidFill>
                  <a:srgbClr val="C00000"/>
                </a:solidFill>
              </a:rPr>
              <a:t>20</a:t>
            </a:r>
          </a:p>
        </p:txBody>
      </p:sp>
      <p:sp>
        <p:nvSpPr>
          <p:cNvPr id="75" name="TextBox 74">
            <a:extLst>
              <a:ext uri="{FF2B5EF4-FFF2-40B4-BE49-F238E27FC236}">
                <a16:creationId xmlns:a16="http://schemas.microsoft.com/office/drawing/2014/main" id="{ABF46BB0-A868-CC02-1473-780FF508F7BB}"/>
              </a:ext>
            </a:extLst>
          </p:cNvPr>
          <p:cNvSpPr txBox="1"/>
          <p:nvPr/>
        </p:nvSpPr>
        <p:spPr>
          <a:xfrm>
            <a:off x="8963418" y="4972725"/>
            <a:ext cx="366288" cy="276999"/>
          </a:xfrm>
          <a:prstGeom prst="rect">
            <a:avLst/>
          </a:prstGeom>
          <a:noFill/>
        </p:spPr>
        <p:txBody>
          <a:bodyPr wrap="square" rtlCol="0">
            <a:spAutoFit/>
          </a:bodyPr>
          <a:lstStyle/>
          <a:p>
            <a:r>
              <a:rPr lang="en-US" sz="1200" b="1" dirty="0">
                <a:solidFill>
                  <a:srgbClr val="C00000"/>
                </a:solidFill>
              </a:rPr>
              <a:t>21</a:t>
            </a:r>
          </a:p>
        </p:txBody>
      </p:sp>
      <p:sp>
        <p:nvSpPr>
          <p:cNvPr id="76" name="TextBox 75">
            <a:extLst>
              <a:ext uri="{FF2B5EF4-FFF2-40B4-BE49-F238E27FC236}">
                <a16:creationId xmlns:a16="http://schemas.microsoft.com/office/drawing/2014/main" id="{DE49B67E-73BF-C7E9-49C2-518B3E7FE414}"/>
              </a:ext>
            </a:extLst>
          </p:cNvPr>
          <p:cNvSpPr txBox="1"/>
          <p:nvPr/>
        </p:nvSpPr>
        <p:spPr>
          <a:xfrm>
            <a:off x="11004827" y="5296052"/>
            <a:ext cx="366288" cy="276999"/>
          </a:xfrm>
          <a:prstGeom prst="rect">
            <a:avLst/>
          </a:prstGeom>
          <a:noFill/>
        </p:spPr>
        <p:txBody>
          <a:bodyPr wrap="square" rtlCol="0">
            <a:spAutoFit/>
          </a:bodyPr>
          <a:lstStyle/>
          <a:p>
            <a:r>
              <a:rPr lang="en-US" sz="1200" b="1" dirty="0">
                <a:solidFill>
                  <a:srgbClr val="C00000"/>
                </a:solidFill>
              </a:rPr>
              <a:t>22</a:t>
            </a:r>
          </a:p>
        </p:txBody>
      </p:sp>
      <p:sp>
        <p:nvSpPr>
          <p:cNvPr id="77" name="TextBox 76">
            <a:extLst>
              <a:ext uri="{FF2B5EF4-FFF2-40B4-BE49-F238E27FC236}">
                <a16:creationId xmlns:a16="http://schemas.microsoft.com/office/drawing/2014/main" id="{13F5AE11-E9B5-76BA-D878-6DD471754467}"/>
              </a:ext>
            </a:extLst>
          </p:cNvPr>
          <p:cNvSpPr txBox="1"/>
          <p:nvPr/>
        </p:nvSpPr>
        <p:spPr>
          <a:xfrm>
            <a:off x="8745046" y="5530433"/>
            <a:ext cx="366288" cy="276999"/>
          </a:xfrm>
          <a:prstGeom prst="rect">
            <a:avLst/>
          </a:prstGeom>
          <a:noFill/>
        </p:spPr>
        <p:txBody>
          <a:bodyPr wrap="square" rtlCol="0">
            <a:spAutoFit/>
          </a:bodyPr>
          <a:lstStyle/>
          <a:p>
            <a:r>
              <a:rPr lang="en-US" sz="1200" b="1" dirty="0">
                <a:solidFill>
                  <a:srgbClr val="C00000"/>
                </a:solidFill>
              </a:rPr>
              <a:t>23</a:t>
            </a:r>
          </a:p>
        </p:txBody>
      </p:sp>
      <p:sp>
        <p:nvSpPr>
          <p:cNvPr id="78" name="TextBox 77">
            <a:extLst>
              <a:ext uri="{FF2B5EF4-FFF2-40B4-BE49-F238E27FC236}">
                <a16:creationId xmlns:a16="http://schemas.microsoft.com/office/drawing/2014/main" id="{11ED860E-DCE6-DFEF-8869-77E9A11F5EF4}"/>
              </a:ext>
            </a:extLst>
          </p:cNvPr>
          <p:cNvSpPr txBox="1"/>
          <p:nvPr/>
        </p:nvSpPr>
        <p:spPr>
          <a:xfrm>
            <a:off x="2773906" y="5687073"/>
            <a:ext cx="366288" cy="276999"/>
          </a:xfrm>
          <a:prstGeom prst="rect">
            <a:avLst/>
          </a:prstGeom>
          <a:noFill/>
        </p:spPr>
        <p:txBody>
          <a:bodyPr wrap="square" rtlCol="0">
            <a:spAutoFit/>
          </a:bodyPr>
          <a:lstStyle/>
          <a:p>
            <a:r>
              <a:rPr lang="en-US" sz="1200" b="1" dirty="0">
                <a:solidFill>
                  <a:srgbClr val="C00000"/>
                </a:solidFill>
              </a:rPr>
              <a:t>24</a:t>
            </a:r>
          </a:p>
        </p:txBody>
      </p:sp>
    </p:spTree>
    <p:extLst>
      <p:ext uri="{BB962C8B-B14F-4D97-AF65-F5344CB8AC3E}">
        <p14:creationId xmlns:p14="http://schemas.microsoft.com/office/powerpoint/2010/main" val="1613873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62" name="Rectangle: Rounded Corners 861">
            <a:extLst>
              <a:ext uri="{FF2B5EF4-FFF2-40B4-BE49-F238E27FC236}">
                <a16:creationId xmlns:a16="http://schemas.microsoft.com/office/drawing/2014/main" id="{D72F2D22-3D20-DE9E-ED46-69E75653C981}"/>
              </a:ext>
            </a:extLst>
          </p:cNvPr>
          <p:cNvSpPr/>
          <p:nvPr/>
        </p:nvSpPr>
        <p:spPr>
          <a:xfrm>
            <a:off x="2972435" y="2589111"/>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96571" y="383199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60486" y="382956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24401" y="382956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70952" y="40131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35377" y="3218724"/>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54894" y="3207638"/>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9620" y="40119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60957" y="268078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97513" y="268255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24401" y="268724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73527" y="292118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36971" y="291996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54577" y="387804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18492" y="387561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82407" y="387561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8958" y="405917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45458" y="318141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87626" y="40579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8963" y="272683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55519" y="272860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82407" y="273328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31533" y="29672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94977" y="29660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20315"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82014"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93933" y="3216539"/>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6" name="TextBox 1165">
            <a:extLst>
              <a:ext uri="{FF2B5EF4-FFF2-40B4-BE49-F238E27FC236}">
                <a16:creationId xmlns:a16="http://schemas.microsoft.com/office/drawing/2014/main" id="{953134D5-ECE7-1BEC-E90E-4908D107B78F}"/>
              </a:ext>
            </a:extLst>
          </p:cNvPr>
          <p:cNvSpPr txBox="1"/>
          <p:nvPr/>
        </p:nvSpPr>
        <p:spPr>
          <a:xfrm>
            <a:off x="3045039"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93731"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sp>
        <p:nvSpPr>
          <p:cNvPr id="1171" name="TextBox 1170">
            <a:extLst>
              <a:ext uri="{FF2B5EF4-FFF2-40B4-BE49-F238E27FC236}">
                <a16:creationId xmlns:a16="http://schemas.microsoft.com/office/drawing/2014/main" id="{85EAC8E5-B529-3842-6CCE-5E7652816546}"/>
              </a:ext>
            </a:extLst>
          </p:cNvPr>
          <p:cNvSpPr txBox="1"/>
          <p:nvPr/>
        </p:nvSpPr>
        <p:spPr>
          <a:xfrm>
            <a:off x="3440180" y="2261904"/>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46816" y="1653496"/>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15741" y="2654580"/>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2/3)</a:t>
            </a:r>
            <a:endParaRPr lang="en-DE" dirty="0"/>
          </a:p>
        </p:txBody>
      </p:sp>
      <p:pic>
        <p:nvPicPr>
          <p:cNvPr id="3" name="Picture 2">
            <a:extLst>
              <a:ext uri="{FF2B5EF4-FFF2-40B4-BE49-F238E27FC236}">
                <a16:creationId xmlns:a16="http://schemas.microsoft.com/office/drawing/2014/main" id="{3B6E8A7E-A551-63D3-2835-5FFB0CE72894}"/>
              </a:ext>
            </a:extLst>
          </p:cNvPr>
          <p:cNvPicPr>
            <a:picLocks noChangeAspect="1"/>
          </p:cNvPicPr>
          <p:nvPr/>
        </p:nvPicPr>
        <p:blipFill>
          <a:blip r:embed="rId5"/>
          <a:stretch>
            <a:fillRect/>
          </a:stretch>
        </p:blipFill>
        <p:spPr>
          <a:xfrm>
            <a:off x="1348966" y="1724653"/>
            <a:ext cx="9494067" cy="4267975"/>
          </a:xfrm>
          <a:prstGeom prst="rect">
            <a:avLst/>
          </a:prstGeom>
        </p:spPr>
      </p:pic>
    </p:spTree>
    <p:extLst>
      <p:ext uri="{BB962C8B-B14F-4D97-AF65-F5344CB8AC3E}">
        <p14:creationId xmlns:p14="http://schemas.microsoft.com/office/powerpoint/2010/main" val="2063181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1374648" y="1249189"/>
            <a:ext cx="2349636"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5900245" y="2034719"/>
            <a:ext cx="2373081"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5941379" y="264315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1441640" y="349861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1153064" y="445699"/>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1464212" y="997513"/>
            <a:ext cx="0" cy="3150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3092404" y="442931"/>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633621" y="1120941"/>
            <a:ext cx="11042" cy="3038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5456307" y="457707"/>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flipH="1">
            <a:off x="8146621" y="1100115"/>
            <a:ext cx="4683"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966923" y="164461"/>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1474547" y="1498386"/>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636054" y="1871542"/>
            <a:ext cx="237202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6" name="Rectangle 52">
            <a:extLst>
              <a:ext uri="{FF2B5EF4-FFF2-40B4-BE49-F238E27FC236}">
                <a16:creationId xmlns:a16="http://schemas.microsoft.com/office/drawing/2014/main" id="{2FD39592-C8E3-B185-25E8-047793ABF658}"/>
              </a:ext>
            </a:extLst>
          </p:cNvPr>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7820211" y="54830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6008079" y="1113490"/>
            <a:ext cx="0"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6006250" y="2882736"/>
            <a:ext cx="2103581" cy="119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621335" y="3363884"/>
            <a:ext cx="2410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7620483" y="210279"/>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3645839" y="1621167"/>
            <a:ext cx="2405856" cy="228479"/>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3663570" y="3088001"/>
            <a:ext cx="224850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cxnSp>
        <p:nvCxnSpPr>
          <p:cNvPr id="3" name="Straight Arrow Connector 2">
            <a:extLst>
              <a:ext uri="{FF2B5EF4-FFF2-40B4-BE49-F238E27FC236}">
                <a16:creationId xmlns:a16="http://schemas.microsoft.com/office/drawing/2014/main" id="{AC7557B8-600F-47B4-6A7F-CDAADF2AEC04}"/>
              </a:ext>
            </a:extLst>
          </p:cNvPr>
          <p:cNvCxnSpPr>
            <a:cxnSpLocks/>
          </p:cNvCxnSpPr>
          <p:nvPr/>
        </p:nvCxnSpPr>
        <p:spPr>
          <a:xfrm>
            <a:off x="6007249" y="2277474"/>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E2E6F77E-13BE-1FFF-CF9B-0C8BCD2699CF}"/>
              </a:ext>
            </a:extLst>
          </p:cNvPr>
          <p:cNvCxnSpPr>
            <a:cxnSpLocks/>
          </p:cNvCxnSpPr>
          <p:nvPr/>
        </p:nvCxnSpPr>
        <p:spPr>
          <a:xfrm flipH="1">
            <a:off x="1469929" y="3745532"/>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B18F6FFB-7107-44C9-7F36-343645D6372A}"/>
              </a:ext>
            </a:extLst>
          </p:cNvPr>
          <p:cNvSpPr txBox="1"/>
          <p:nvPr/>
        </p:nvSpPr>
        <p:spPr>
          <a:xfrm>
            <a:off x="3612300" y="1835652"/>
            <a:ext cx="206477" cy="276999"/>
          </a:xfrm>
          <a:prstGeom prst="rect">
            <a:avLst/>
          </a:prstGeom>
          <a:noFill/>
        </p:spPr>
        <p:txBody>
          <a:bodyPr wrap="square" rtlCol="0">
            <a:spAutoFit/>
          </a:bodyPr>
          <a:lstStyle/>
          <a:p>
            <a:r>
              <a:rPr lang="en-US" sz="1200" b="1" dirty="0">
                <a:solidFill>
                  <a:srgbClr val="C00000"/>
                </a:solidFill>
              </a:rPr>
              <a:t>2</a:t>
            </a:r>
          </a:p>
        </p:txBody>
      </p:sp>
      <p:sp>
        <p:nvSpPr>
          <p:cNvPr id="57" name="TextBox 56">
            <a:extLst>
              <a:ext uri="{FF2B5EF4-FFF2-40B4-BE49-F238E27FC236}">
                <a16:creationId xmlns:a16="http://schemas.microsoft.com/office/drawing/2014/main" id="{2C98AAD5-8B02-E6D7-8488-6395BFE37DF5}"/>
              </a:ext>
            </a:extLst>
          </p:cNvPr>
          <p:cNvSpPr txBox="1"/>
          <p:nvPr/>
        </p:nvSpPr>
        <p:spPr>
          <a:xfrm>
            <a:off x="5954215" y="2231251"/>
            <a:ext cx="206477" cy="276999"/>
          </a:xfrm>
          <a:prstGeom prst="rect">
            <a:avLst/>
          </a:prstGeom>
          <a:noFill/>
        </p:spPr>
        <p:txBody>
          <a:bodyPr wrap="square" rtlCol="0">
            <a:spAutoFit/>
          </a:bodyPr>
          <a:lstStyle/>
          <a:p>
            <a:r>
              <a:rPr lang="en-US" sz="1200" b="1" dirty="0">
                <a:solidFill>
                  <a:srgbClr val="C00000"/>
                </a:solidFill>
              </a:rPr>
              <a:t>3</a:t>
            </a:r>
          </a:p>
        </p:txBody>
      </p:sp>
      <p:sp>
        <p:nvSpPr>
          <p:cNvPr id="58" name="TextBox 57">
            <a:extLst>
              <a:ext uri="{FF2B5EF4-FFF2-40B4-BE49-F238E27FC236}">
                <a16:creationId xmlns:a16="http://schemas.microsoft.com/office/drawing/2014/main" id="{1F9024BE-2BF4-B44F-6B31-59DFFC2884D6}"/>
              </a:ext>
            </a:extLst>
          </p:cNvPr>
          <p:cNvSpPr txBox="1"/>
          <p:nvPr/>
        </p:nvSpPr>
        <p:spPr>
          <a:xfrm>
            <a:off x="7932365" y="2848931"/>
            <a:ext cx="206477" cy="276999"/>
          </a:xfrm>
          <a:prstGeom prst="rect">
            <a:avLst/>
          </a:prstGeom>
          <a:noFill/>
        </p:spPr>
        <p:txBody>
          <a:bodyPr wrap="square" rtlCol="0">
            <a:spAutoFit/>
          </a:bodyPr>
          <a:lstStyle/>
          <a:p>
            <a:r>
              <a:rPr lang="en-US" sz="1200" b="1" dirty="0">
                <a:solidFill>
                  <a:srgbClr val="C00000"/>
                </a:solidFill>
              </a:rPr>
              <a:t>4</a:t>
            </a:r>
          </a:p>
        </p:txBody>
      </p:sp>
      <p:sp>
        <p:nvSpPr>
          <p:cNvPr id="63" name="TextBox 62">
            <a:extLst>
              <a:ext uri="{FF2B5EF4-FFF2-40B4-BE49-F238E27FC236}">
                <a16:creationId xmlns:a16="http://schemas.microsoft.com/office/drawing/2014/main" id="{CD2A3706-13DB-472E-9F30-FE126BD56DF9}"/>
              </a:ext>
            </a:extLst>
          </p:cNvPr>
          <p:cNvSpPr txBox="1"/>
          <p:nvPr/>
        </p:nvSpPr>
        <p:spPr>
          <a:xfrm>
            <a:off x="5810106" y="3316480"/>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A8450408-A08E-3AE2-B772-ABFCAD61AD87}"/>
              </a:ext>
            </a:extLst>
          </p:cNvPr>
          <p:cNvSpPr txBox="1"/>
          <p:nvPr/>
        </p:nvSpPr>
        <p:spPr>
          <a:xfrm>
            <a:off x="3432665" y="3707762"/>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1B90551-EDDB-DFF1-2349-C99396F8E30D}"/>
              </a:ext>
            </a:extLst>
          </p:cNvPr>
          <p:cNvSpPr txBox="1"/>
          <p:nvPr/>
        </p:nvSpPr>
        <p:spPr>
          <a:xfrm>
            <a:off x="1404059" y="1458407"/>
            <a:ext cx="206477" cy="276999"/>
          </a:xfrm>
          <a:prstGeom prst="rect">
            <a:avLst/>
          </a:prstGeom>
          <a:noFill/>
        </p:spPr>
        <p:txBody>
          <a:bodyPr wrap="square" rtlCol="0">
            <a:spAutoFit/>
          </a:bodyPr>
          <a:lstStyle/>
          <a:p>
            <a:r>
              <a:rPr lang="en-US" sz="1200" b="1" dirty="0">
                <a:solidFill>
                  <a:srgbClr val="C00000"/>
                </a:solidFill>
              </a:rPr>
              <a:t>1</a:t>
            </a:r>
          </a:p>
        </p:txBody>
      </p:sp>
    </p:spTree>
    <p:extLst>
      <p:ext uri="{BB962C8B-B14F-4D97-AF65-F5344CB8AC3E}">
        <p14:creationId xmlns:p14="http://schemas.microsoft.com/office/powerpoint/2010/main" val="30920629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68BCB-E6B2-8F9B-F4E3-51452881A352}"/>
              </a:ext>
            </a:extLst>
          </p:cNvPr>
          <p:cNvSpPr/>
          <p:nvPr/>
        </p:nvSpPr>
        <p:spPr>
          <a:xfrm>
            <a:off x="3511550" y="2537194"/>
            <a:ext cx="2070100" cy="6818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Manager</a:t>
            </a:r>
            <a:endParaRPr lang="en-DE" sz="1400" dirty="0">
              <a:solidFill>
                <a:schemeClr val="tx1"/>
              </a:solidFill>
            </a:endParaRPr>
          </a:p>
        </p:txBody>
      </p:sp>
      <p:sp>
        <p:nvSpPr>
          <p:cNvPr id="7" name="Rectangle 6">
            <a:extLst>
              <a:ext uri="{FF2B5EF4-FFF2-40B4-BE49-F238E27FC236}">
                <a16:creationId xmlns:a16="http://schemas.microsoft.com/office/drawing/2014/main" id="{FC32108C-AE0A-E178-8858-041201B281A9}"/>
              </a:ext>
            </a:extLst>
          </p:cNvPr>
          <p:cNvSpPr/>
          <p:nvPr/>
        </p:nvSpPr>
        <p:spPr>
          <a:xfrm>
            <a:off x="4125256" y="1656269"/>
            <a:ext cx="857250" cy="4663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Config Manager</a:t>
            </a:r>
            <a:endParaRPr lang="en-DE" sz="1100" dirty="0">
              <a:solidFill>
                <a:schemeClr val="tx1"/>
              </a:solidFill>
            </a:endParaRPr>
          </a:p>
        </p:txBody>
      </p:sp>
      <p:sp>
        <p:nvSpPr>
          <p:cNvPr id="8" name="Rectangle: Rounded Corners 7">
            <a:extLst>
              <a:ext uri="{FF2B5EF4-FFF2-40B4-BE49-F238E27FC236}">
                <a16:creationId xmlns:a16="http://schemas.microsoft.com/office/drawing/2014/main" id="{97F57E4A-F304-AE46-3518-80C2946C0E79}"/>
              </a:ext>
            </a:extLst>
          </p:cNvPr>
          <p:cNvSpPr/>
          <p:nvPr/>
        </p:nvSpPr>
        <p:spPr>
          <a:xfrm>
            <a:off x="3761443" y="2435564"/>
            <a:ext cx="1570313"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a:t>
            </a:r>
            <a:endParaRPr lang="en-DE" sz="1100" dirty="0">
              <a:solidFill>
                <a:schemeClr val="tx1"/>
              </a:solidFill>
            </a:endParaRPr>
          </a:p>
        </p:txBody>
      </p:sp>
      <p:sp>
        <p:nvSpPr>
          <p:cNvPr id="14" name="Rectangle: Top Corners Snipped 13">
            <a:extLst>
              <a:ext uri="{FF2B5EF4-FFF2-40B4-BE49-F238E27FC236}">
                <a16:creationId xmlns:a16="http://schemas.microsoft.com/office/drawing/2014/main" id="{0EFB13D4-C094-ADF7-0860-2AB40369878D}"/>
              </a:ext>
            </a:extLst>
          </p:cNvPr>
          <p:cNvSpPr/>
          <p:nvPr/>
        </p:nvSpPr>
        <p:spPr>
          <a:xfrm>
            <a:off x="3701475"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ONOS CLI</a:t>
            </a:r>
            <a:endParaRPr lang="en-DE" sz="1050" dirty="0">
              <a:solidFill>
                <a:schemeClr val="tx1"/>
              </a:solidFill>
            </a:endParaRPr>
          </a:p>
        </p:txBody>
      </p:sp>
      <p:sp>
        <p:nvSpPr>
          <p:cNvPr id="17" name="Rectangle: Top Corners Snipped 16">
            <a:extLst>
              <a:ext uri="{FF2B5EF4-FFF2-40B4-BE49-F238E27FC236}">
                <a16:creationId xmlns:a16="http://schemas.microsoft.com/office/drawing/2014/main" id="{6D7A6298-9C45-C615-5649-427AFC203045}"/>
              </a:ext>
            </a:extLst>
          </p:cNvPr>
          <p:cNvSpPr/>
          <p:nvPr/>
        </p:nvSpPr>
        <p:spPr>
          <a:xfrm>
            <a:off x="4619982"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REST API</a:t>
            </a:r>
            <a:endParaRPr lang="en-DE" sz="1050" dirty="0">
              <a:solidFill>
                <a:schemeClr val="tx1"/>
              </a:solidFill>
            </a:endParaRPr>
          </a:p>
        </p:txBody>
      </p:sp>
      <p:sp>
        <p:nvSpPr>
          <p:cNvPr id="19" name="Rectangle 18">
            <a:extLst>
              <a:ext uri="{FF2B5EF4-FFF2-40B4-BE49-F238E27FC236}">
                <a16:creationId xmlns:a16="http://schemas.microsoft.com/office/drawing/2014/main" id="{3F841E99-9EB3-A7EF-6C7C-2DCC2035E3DC}"/>
              </a:ext>
            </a:extLst>
          </p:cNvPr>
          <p:cNvSpPr/>
          <p:nvPr/>
        </p:nvSpPr>
        <p:spPr>
          <a:xfrm>
            <a:off x="7054850" y="3714352"/>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Neighbour Handler</a:t>
            </a:r>
            <a:endParaRPr lang="en-DE" sz="1400" dirty="0">
              <a:solidFill>
                <a:schemeClr val="tx1"/>
              </a:solidFill>
            </a:endParaRPr>
          </a:p>
        </p:txBody>
      </p:sp>
      <p:sp>
        <p:nvSpPr>
          <p:cNvPr id="20" name="Rectangle 19">
            <a:extLst>
              <a:ext uri="{FF2B5EF4-FFF2-40B4-BE49-F238E27FC236}">
                <a16:creationId xmlns:a16="http://schemas.microsoft.com/office/drawing/2014/main" id="{1707548E-369C-13DC-BF0B-D04545A08C58}"/>
              </a:ext>
            </a:extLst>
          </p:cNvPr>
          <p:cNvSpPr/>
          <p:nvPr/>
        </p:nvSpPr>
        <p:spPr>
          <a:xfrm>
            <a:off x="4258330" y="3728616"/>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Operation Manager</a:t>
            </a:r>
            <a:endParaRPr lang="en-DE" sz="1400" dirty="0">
              <a:solidFill>
                <a:schemeClr val="tx1"/>
              </a:solidFill>
            </a:endParaRPr>
          </a:p>
        </p:txBody>
      </p:sp>
      <p:sp>
        <p:nvSpPr>
          <p:cNvPr id="21" name="Rectangle 20">
            <a:extLst>
              <a:ext uri="{FF2B5EF4-FFF2-40B4-BE49-F238E27FC236}">
                <a16:creationId xmlns:a16="http://schemas.microsoft.com/office/drawing/2014/main" id="{D5EF3C14-660F-93DC-E4A5-3AD1FDA45300}"/>
              </a:ext>
            </a:extLst>
          </p:cNvPr>
          <p:cNvSpPr/>
          <p:nvPr/>
        </p:nvSpPr>
        <p:spPr>
          <a:xfrm>
            <a:off x="3511550" y="4994359"/>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istributed VPLS Store</a:t>
            </a:r>
            <a:endParaRPr lang="en-DE" sz="1400" dirty="0">
              <a:solidFill>
                <a:schemeClr val="tx1"/>
              </a:solidFill>
            </a:endParaRPr>
          </a:p>
        </p:txBody>
      </p:sp>
      <p:sp>
        <p:nvSpPr>
          <p:cNvPr id="15" name="Rectangle: Rounded Corners 14">
            <a:extLst>
              <a:ext uri="{FF2B5EF4-FFF2-40B4-BE49-F238E27FC236}">
                <a16:creationId xmlns:a16="http://schemas.microsoft.com/office/drawing/2014/main" id="{B347749D-4AEE-81E2-B4D1-83A4D6447BF0}"/>
              </a:ext>
            </a:extLst>
          </p:cNvPr>
          <p:cNvSpPr/>
          <p:nvPr/>
        </p:nvSpPr>
        <p:spPr>
          <a:xfrm>
            <a:off x="3761443" y="4892759"/>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Store</a:t>
            </a:r>
            <a:endParaRPr lang="en-DE" sz="1100" dirty="0">
              <a:solidFill>
                <a:schemeClr val="tx1"/>
              </a:solidFill>
            </a:endParaRPr>
          </a:p>
        </p:txBody>
      </p:sp>
      <p:sp>
        <p:nvSpPr>
          <p:cNvPr id="16" name="Rectangle: Rounded Corners 15">
            <a:extLst>
              <a:ext uri="{FF2B5EF4-FFF2-40B4-BE49-F238E27FC236}">
                <a16:creationId xmlns:a16="http://schemas.microsoft.com/office/drawing/2014/main" id="{05A2F58F-78B7-D0A3-E6D6-A5A728A177DD}"/>
              </a:ext>
            </a:extLst>
          </p:cNvPr>
          <p:cNvSpPr/>
          <p:nvPr/>
        </p:nvSpPr>
        <p:spPr>
          <a:xfrm>
            <a:off x="4508223" y="3612752"/>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Operation Service</a:t>
            </a:r>
            <a:endParaRPr lang="en-DE" sz="1100" dirty="0">
              <a:solidFill>
                <a:schemeClr val="tx1"/>
              </a:solidFill>
            </a:endParaRPr>
          </a:p>
        </p:txBody>
      </p:sp>
      <p:sp>
        <p:nvSpPr>
          <p:cNvPr id="22" name="Rectangle: Rounded Corners 21">
            <a:extLst>
              <a:ext uri="{FF2B5EF4-FFF2-40B4-BE49-F238E27FC236}">
                <a16:creationId xmlns:a16="http://schemas.microsoft.com/office/drawing/2014/main" id="{DC555046-2503-838E-A064-BC8D4E471FB8}"/>
              </a:ext>
            </a:extLst>
          </p:cNvPr>
          <p:cNvSpPr/>
          <p:nvPr/>
        </p:nvSpPr>
        <p:spPr>
          <a:xfrm>
            <a:off x="4258330" y="2991928"/>
            <a:ext cx="1289793" cy="186956"/>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VPLS Store delegate</a:t>
            </a:r>
            <a:endParaRPr lang="en-DE" sz="1050" dirty="0">
              <a:solidFill>
                <a:schemeClr val="tx1"/>
              </a:solidFill>
            </a:endParaRPr>
          </a:p>
        </p:txBody>
      </p:sp>
      <p:cxnSp>
        <p:nvCxnSpPr>
          <p:cNvPr id="24" name="Straight Arrow Connector 23">
            <a:extLst>
              <a:ext uri="{FF2B5EF4-FFF2-40B4-BE49-F238E27FC236}">
                <a16:creationId xmlns:a16="http://schemas.microsoft.com/office/drawing/2014/main" id="{EE4C2B29-81E5-4E4C-2084-79D2C5874FA4}"/>
              </a:ext>
            </a:extLst>
          </p:cNvPr>
          <p:cNvCxnSpPr>
            <a:cxnSpLocks/>
            <a:stCxn id="22" idx="2"/>
          </p:cNvCxnSpPr>
          <p:nvPr/>
        </p:nvCxnSpPr>
        <p:spPr>
          <a:xfrm flipH="1">
            <a:off x="4903226" y="3178884"/>
            <a:ext cx="1" cy="4406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5182F55-EAB3-741D-D96B-97322A97E6A4}"/>
              </a:ext>
            </a:extLst>
          </p:cNvPr>
          <p:cNvCxnSpPr>
            <a:cxnSpLocks/>
          </p:cNvCxnSpPr>
          <p:nvPr/>
        </p:nvCxnSpPr>
        <p:spPr>
          <a:xfrm>
            <a:off x="4903226" y="4325516"/>
            <a:ext cx="0" cy="56724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1C6CBA-835F-ED7D-E79F-F6E9CED3884E}"/>
              </a:ext>
            </a:extLst>
          </p:cNvPr>
          <p:cNvCxnSpPr>
            <a:cxnSpLocks/>
          </p:cNvCxnSpPr>
          <p:nvPr/>
        </p:nvCxnSpPr>
        <p:spPr>
          <a:xfrm>
            <a:off x="4007876" y="3219022"/>
            <a:ext cx="0" cy="16737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2EB5188-EE40-2245-8424-DBB583388C02}"/>
              </a:ext>
            </a:extLst>
          </p:cNvPr>
          <p:cNvCxnSpPr>
            <a:cxnSpLocks/>
            <a:endCxn id="22" idx="1"/>
          </p:cNvCxnSpPr>
          <p:nvPr/>
        </p:nvCxnSpPr>
        <p:spPr>
          <a:xfrm rot="5400000" flipH="1" flipV="1">
            <a:off x="2510239" y="3561142"/>
            <a:ext cx="2223827" cy="127235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CB08907D-0126-11F0-52AA-9DC09A2817B5}"/>
              </a:ext>
            </a:extLst>
          </p:cNvPr>
          <p:cNvSpPr txBox="1"/>
          <p:nvPr/>
        </p:nvSpPr>
        <p:spPr>
          <a:xfrm>
            <a:off x="4863188" y="3285401"/>
            <a:ext cx="1072730" cy="261610"/>
          </a:xfrm>
          <a:prstGeom prst="rect">
            <a:avLst/>
          </a:prstGeom>
          <a:noFill/>
        </p:spPr>
        <p:txBody>
          <a:bodyPr wrap="none" rtlCol="0">
            <a:spAutoFit/>
          </a:bodyPr>
          <a:lstStyle/>
          <a:p>
            <a:r>
              <a:rPr lang="en-US" sz="1100" dirty="0"/>
              <a:t>VPLS Operation</a:t>
            </a:r>
            <a:endParaRPr lang="en-DE" sz="1100" dirty="0"/>
          </a:p>
        </p:txBody>
      </p:sp>
      <p:sp>
        <p:nvSpPr>
          <p:cNvPr id="90" name="TextBox 89">
            <a:extLst>
              <a:ext uri="{FF2B5EF4-FFF2-40B4-BE49-F238E27FC236}">
                <a16:creationId xmlns:a16="http://schemas.microsoft.com/office/drawing/2014/main" id="{1E1BD4CD-E3CD-FEC0-19CF-38EF157F4483}"/>
              </a:ext>
            </a:extLst>
          </p:cNvPr>
          <p:cNvSpPr txBox="1"/>
          <p:nvPr/>
        </p:nvSpPr>
        <p:spPr>
          <a:xfrm>
            <a:off x="4873587" y="4325661"/>
            <a:ext cx="1231427" cy="261610"/>
          </a:xfrm>
          <a:prstGeom prst="rect">
            <a:avLst/>
          </a:prstGeom>
          <a:noFill/>
        </p:spPr>
        <p:txBody>
          <a:bodyPr wrap="none" rtlCol="0">
            <a:spAutoFit/>
          </a:bodyPr>
          <a:lstStyle/>
          <a:p>
            <a:r>
              <a:rPr lang="en-US" sz="1100" dirty="0"/>
              <a:t>Update VPLS state</a:t>
            </a:r>
            <a:endParaRPr lang="en-DE" sz="1100" dirty="0"/>
          </a:p>
        </p:txBody>
      </p:sp>
      <p:sp>
        <p:nvSpPr>
          <p:cNvPr id="91" name="TextBox 90">
            <a:extLst>
              <a:ext uri="{FF2B5EF4-FFF2-40B4-BE49-F238E27FC236}">
                <a16:creationId xmlns:a16="http://schemas.microsoft.com/office/drawing/2014/main" id="{BB69B8DF-DB56-D86D-5366-9A507D4E647F}"/>
              </a:ext>
            </a:extLst>
          </p:cNvPr>
          <p:cNvSpPr txBox="1"/>
          <p:nvPr/>
        </p:nvSpPr>
        <p:spPr>
          <a:xfrm>
            <a:off x="5976652" y="4684205"/>
            <a:ext cx="1555234" cy="261610"/>
          </a:xfrm>
          <a:prstGeom prst="rect">
            <a:avLst/>
          </a:prstGeom>
          <a:noFill/>
        </p:spPr>
        <p:txBody>
          <a:bodyPr wrap="none" rtlCol="0">
            <a:spAutoFit/>
          </a:bodyPr>
          <a:lstStyle/>
          <a:p>
            <a:r>
              <a:rPr lang="en-US" sz="1100" dirty="0"/>
              <a:t>Query VPLS information</a:t>
            </a:r>
            <a:endParaRPr lang="en-DE" sz="1100" dirty="0"/>
          </a:p>
        </p:txBody>
      </p:sp>
      <p:sp>
        <p:nvSpPr>
          <p:cNvPr id="92" name="TextBox 91">
            <a:extLst>
              <a:ext uri="{FF2B5EF4-FFF2-40B4-BE49-F238E27FC236}">
                <a16:creationId xmlns:a16="http://schemas.microsoft.com/office/drawing/2014/main" id="{5E2D4AFD-7203-6141-62B5-DC152EE753FD}"/>
              </a:ext>
            </a:extLst>
          </p:cNvPr>
          <p:cNvSpPr txBox="1"/>
          <p:nvPr/>
        </p:nvSpPr>
        <p:spPr>
          <a:xfrm>
            <a:off x="3408085" y="3626878"/>
            <a:ext cx="652743" cy="769441"/>
          </a:xfrm>
          <a:prstGeom prst="rect">
            <a:avLst/>
          </a:prstGeom>
          <a:noFill/>
        </p:spPr>
        <p:txBody>
          <a:bodyPr wrap="none" rtlCol="0">
            <a:spAutoFit/>
          </a:bodyPr>
          <a:lstStyle/>
          <a:p>
            <a:r>
              <a:rPr lang="en-US" sz="1100" dirty="0"/>
              <a:t>Add</a:t>
            </a:r>
          </a:p>
          <a:p>
            <a:r>
              <a:rPr lang="en-US" sz="1100" dirty="0"/>
              <a:t>Remove</a:t>
            </a:r>
          </a:p>
          <a:p>
            <a:r>
              <a:rPr lang="en-US" sz="1100" dirty="0"/>
              <a:t>Update</a:t>
            </a:r>
          </a:p>
          <a:p>
            <a:r>
              <a:rPr lang="en-US" sz="1100" dirty="0"/>
              <a:t>VPLS</a:t>
            </a:r>
            <a:endParaRPr lang="en-DE" sz="1100" dirty="0"/>
          </a:p>
        </p:txBody>
      </p:sp>
      <p:sp>
        <p:nvSpPr>
          <p:cNvPr id="93" name="TextBox 92">
            <a:extLst>
              <a:ext uri="{FF2B5EF4-FFF2-40B4-BE49-F238E27FC236}">
                <a16:creationId xmlns:a16="http://schemas.microsoft.com/office/drawing/2014/main" id="{C195AEA9-CE13-9020-3060-0902685F644D}"/>
              </a:ext>
            </a:extLst>
          </p:cNvPr>
          <p:cNvSpPr txBox="1"/>
          <p:nvPr/>
        </p:nvSpPr>
        <p:spPr>
          <a:xfrm>
            <a:off x="2482531" y="3867456"/>
            <a:ext cx="521297" cy="600164"/>
          </a:xfrm>
          <a:prstGeom prst="rect">
            <a:avLst/>
          </a:prstGeom>
          <a:noFill/>
        </p:spPr>
        <p:txBody>
          <a:bodyPr wrap="none" rtlCol="0">
            <a:spAutoFit/>
          </a:bodyPr>
          <a:lstStyle/>
          <a:p>
            <a:r>
              <a:rPr lang="en-US" sz="1100" dirty="0"/>
              <a:t>VPLS</a:t>
            </a:r>
          </a:p>
          <a:p>
            <a:r>
              <a:rPr lang="en-US" sz="1100" dirty="0"/>
              <a:t>Store </a:t>
            </a:r>
          </a:p>
          <a:p>
            <a:r>
              <a:rPr lang="en-US" sz="1100" dirty="0"/>
              <a:t>Event</a:t>
            </a:r>
            <a:endParaRPr lang="en-DE" sz="1100" dirty="0"/>
          </a:p>
        </p:txBody>
      </p:sp>
      <p:sp>
        <p:nvSpPr>
          <p:cNvPr id="94" name="TextBox 93">
            <a:extLst>
              <a:ext uri="{FF2B5EF4-FFF2-40B4-BE49-F238E27FC236}">
                <a16:creationId xmlns:a16="http://schemas.microsoft.com/office/drawing/2014/main" id="{F0B68984-961E-1EF1-2012-9B4A70333619}"/>
              </a:ext>
            </a:extLst>
          </p:cNvPr>
          <p:cNvSpPr txBox="1"/>
          <p:nvPr/>
        </p:nvSpPr>
        <p:spPr>
          <a:xfrm>
            <a:off x="4508223" y="2115827"/>
            <a:ext cx="1266693" cy="261610"/>
          </a:xfrm>
          <a:prstGeom prst="rect">
            <a:avLst/>
          </a:prstGeom>
          <a:noFill/>
        </p:spPr>
        <p:txBody>
          <a:bodyPr wrap="none" rtlCol="0">
            <a:spAutoFit/>
          </a:bodyPr>
          <a:lstStyle/>
          <a:p>
            <a:r>
              <a:rPr lang="en-US" sz="1100" dirty="0"/>
              <a:t>VPLS Config Events</a:t>
            </a:r>
            <a:endParaRPr lang="en-DE" sz="1100" dirty="0"/>
          </a:p>
        </p:txBody>
      </p:sp>
      <p:cxnSp>
        <p:nvCxnSpPr>
          <p:cNvPr id="95" name="Straight Arrow Connector 94">
            <a:extLst>
              <a:ext uri="{FF2B5EF4-FFF2-40B4-BE49-F238E27FC236}">
                <a16:creationId xmlns:a16="http://schemas.microsoft.com/office/drawing/2014/main" id="{203EC15B-65C3-9755-ABA7-CEF19F580812}"/>
              </a:ext>
            </a:extLst>
          </p:cNvPr>
          <p:cNvCxnSpPr>
            <a:cxnSpLocks/>
          </p:cNvCxnSpPr>
          <p:nvPr/>
        </p:nvCxnSpPr>
        <p:spPr>
          <a:xfrm>
            <a:off x="4553881" y="2127419"/>
            <a:ext cx="0" cy="3081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FBE7BD58-3753-0225-9A6E-2F386DC1E8EE}"/>
              </a:ext>
            </a:extLst>
          </p:cNvPr>
          <p:cNvCxnSpPr>
            <a:cxnSpLocks/>
            <a:stCxn id="17" idx="1"/>
          </p:cNvCxnSpPr>
          <p:nvPr/>
        </p:nvCxnSpPr>
        <p:spPr>
          <a:xfrm rot="5400000">
            <a:off x="4631361" y="1289125"/>
            <a:ext cx="420104" cy="3350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1CADDEBB-8878-2C8F-34F2-4A24EF0536F4}"/>
              </a:ext>
            </a:extLst>
          </p:cNvPr>
          <p:cNvCxnSpPr>
            <a:cxnSpLocks/>
            <a:stCxn id="14" idx="1"/>
          </p:cNvCxnSpPr>
          <p:nvPr/>
        </p:nvCxnSpPr>
        <p:spPr>
          <a:xfrm rot="16200000" flipH="1">
            <a:off x="4051446" y="1285546"/>
            <a:ext cx="420103" cy="34216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35CCD6-FAA3-765A-224D-900A05941818}"/>
              </a:ext>
            </a:extLst>
          </p:cNvPr>
          <p:cNvCxnSpPr>
            <a:cxnSpLocks/>
          </p:cNvCxnSpPr>
          <p:nvPr/>
        </p:nvCxnSpPr>
        <p:spPr>
          <a:xfrm>
            <a:off x="2985974" y="5309233"/>
            <a:ext cx="52557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001685D7-9862-1742-1A9D-675B4D4B1521}"/>
              </a:ext>
            </a:extLst>
          </p:cNvPr>
          <p:cNvCxnSpPr>
            <a:cxnSpLocks/>
          </p:cNvCxnSpPr>
          <p:nvPr/>
        </p:nvCxnSpPr>
        <p:spPr>
          <a:xfrm>
            <a:off x="5154481" y="4709163"/>
            <a:ext cx="0" cy="1835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D7D767-11E5-A802-7512-A83D3DB3D291}"/>
              </a:ext>
            </a:extLst>
          </p:cNvPr>
          <p:cNvCxnSpPr>
            <a:cxnSpLocks/>
          </p:cNvCxnSpPr>
          <p:nvPr/>
        </p:nvCxnSpPr>
        <p:spPr>
          <a:xfrm flipV="1">
            <a:off x="5154481" y="4707606"/>
            <a:ext cx="2936528" cy="2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FA52513-5D91-5ADF-75AB-23264EDCB03D}"/>
              </a:ext>
            </a:extLst>
          </p:cNvPr>
          <p:cNvCxnSpPr>
            <a:cxnSpLocks/>
          </p:cNvCxnSpPr>
          <p:nvPr/>
        </p:nvCxnSpPr>
        <p:spPr>
          <a:xfrm>
            <a:off x="8091009" y="4311252"/>
            <a:ext cx="0" cy="3979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65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EB038E-F903-90E5-ED1B-12C3A680E0DE}"/>
              </a:ext>
            </a:extLst>
          </p:cNvPr>
          <p:cNvPicPr>
            <a:picLocks noChangeAspect="1"/>
          </p:cNvPicPr>
          <p:nvPr/>
        </p:nvPicPr>
        <p:blipFill>
          <a:blip r:embed="rId2"/>
          <a:stretch>
            <a:fillRect/>
          </a:stretch>
        </p:blipFill>
        <p:spPr>
          <a:xfrm>
            <a:off x="2123520" y="561575"/>
            <a:ext cx="7944959" cy="5734850"/>
          </a:xfrm>
          <a:prstGeom prst="rect">
            <a:avLst/>
          </a:prstGeom>
        </p:spPr>
      </p:pic>
    </p:spTree>
    <p:extLst>
      <p:ext uri="{BB962C8B-B14F-4D97-AF65-F5344CB8AC3E}">
        <p14:creationId xmlns:p14="http://schemas.microsoft.com/office/powerpoint/2010/main" val="30146016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4DC955-AA62-C845-716D-637C5FE0F1DA}"/>
              </a:ext>
            </a:extLst>
          </p:cNvPr>
          <p:cNvPicPr>
            <a:picLocks noChangeAspect="1"/>
          </p:cNvPicPr>
          <p:nvPr/>
        </p:nvPicPr>
        <p:blipFill>
          <a:blip r:embed="rId2"/>
          <a:stretch>
            <a:fillRect/>
          </a:stretch>
        </p:blipFill>
        <p:spPr>
          <a:xfrm>
            <a:off x="1760911" y="475838"/>
            <a:ext cx="7906853" cy="5906324"/>
          </a:xfrm>
          <a:prstGeom prst="rect">
            <a:avLst/>
          </a:prstGeom>
        </p:spPr>
      </p:pic>
      <p:sp>
        <p:nvSpPr>
          <p:cNvPr id="5" name="TextBox 4">
            <a:extLst>
              <a:ext uri="{FF2B5EF4-FFF2-40B4-BE49-F238E27FC236}">
                <a16:creationId xmlns:a16="http://schemas.microsoft.com/office/drawing/2014/main" id="{60C9B9EC-F653-0CE0-5F0E-DC89D5F1DB2D}"/>
              </a:ext>
            </a:extLst>
          </p:cNvPr>
          <p:cNvSpPr txBox="1"/>
          <p:nvPr/>
        </p:nvSpPr>
        <p:spPr>
          <a:xfrm>
            <a:off x="1847328" y="558542"/>
            <a:ext cx="2031197" cy="461665"/>
          </a:xfrm>
          <a:prstGeom prst="rect">
            <a:avLst/>
          </a:prstGeom>
          <a:solidFill>
            <a:schemeClr val="bg1"/>
          </a:solidFill>
        </p:spPr>
        <p:txBody>
          <a:bodyPr wrap="none" rtlCol="0">
            <a:spAutoFit/>
          </a:bodyPr>
          <a:lstStyle/>
          <a:p>
            <a:r>
              <a:rPr lang="en-US" sz="2400" b="1" dirty="0">
                <a:solidFill>
                  <a:srgbClr val="1A294B"/>
                </a:solidFill>
              </a:rPr>
              <a:t>add-test-flows</a:t>
            </a:r>
            <a:endParaRPr lang="en-DE" sz="2400" b="1" dirty="0">
              <a:solidFill>
                <a:srgbClr val="1A294B"/>
              </a:solidFill>
            </a:endParaRPr>
          </a:p>
        </p:txBody>
      </p:sp>
      <p:sp>
        <p:nvSpPr>
          <p:cNvPr id="9" name="TextBox 8">
            <a:extLst>
              <a:ext uri="{FF2B5EF4-FFF2-40B4-BE49-F238E27FC236}">
                <a16:creationId xmlns:a16="http://schemas.microsoft.com/office/drawing/2014/main" id="{864F1984-C45F-A300-0445-02B61F0B0218}"/>
              </a:ext>
            </a:extLst>
          </p:cNvPr>
          <p:cNvSpPr txBox="1"/>
          <p:nvPr/>
        </p:nvSpPr>
        <p:spPr>
          <a:xfrm>
            <a:off x="2637841" y="1419103"/>
            <a:ext cx="2258054" cy="400110"/>
          </a:xfrm>
          <a:prstGeom prst="rect">
            <a:avLst/>
          </a:prstGeom>
          <a:solidFill>
            <a:schemeClr val="bg1"/>
          </a:solidFill>
        </p:spPr>
        <p:txBody>
          <a:bodyPr wrap="none" rtlCol="0">
            <a:spAutoFit/>
          </a:bodyPr>
          <a:lstStyle/>
          <a:p>
            <a:r>
              <a:rPr lang="en-US" sz="2000" dirty="0">
                <a:solidFill>
                  <a:srgbClr val="1A294B"/>
                </a:solidFill>
              </a:rPr>
              <a:t>onos:add-test-flows</a:t>
            </a:r>
            <a:endParaRPr lang="en-DE" sz="2000" dirty="0">
              <a:solidFill>
                <a:srgbClr val="1A294B"/>
              </a:solidFill>
            </a:endParaRPr>
          </a:p>
        </p:txBody>
      </p:sp>
      <p:sp>
        <p:nvSpPr>
          <p:cNvPr id="11" name="TextBox 10">
            <a:extLst>
              <a:ext uri="{FF2B5EF4-FFF2-40B4-BE49-F238E27FC236}">
                <a16:creationId xmlns:a16="http://schemas.microsoft.com/office/drawing/2014/main" id="{C96064BE-98CA-88F2-9797-F6DA1858E230}"/>
              </a:ext>
            </a:extLst>
          </p:cNvPr>
          <p:cNvSpPr txBox="1"/>
          <p:nvPr/>
        </p:nvSpPr>
        <p:spPr>
          <a:xfrm>
            <a:off x="2637841" y="2425041"/>
            <a:ext cx="6101478" cy="400110"/>
          </a:xfrm>
          <a:prstGeom prst="rect">
            <a:avLst/>
          </a:prstGeom>
          <a:solidFill>
            <a:schemeClr val="bg1"/>
          </a:solidFill>
        </p:spPr>
        <p:txBody>
          <a:bodyPr wrap="none" rtlCol="0">
            <a:spAutoFit/>
          </a:bodyPr>
          <a:lstStyle/>
          <a:p>
            <a:r>
              <a:rPr lang="en-US" sz="2000" dirty="0">
                <a:solidFill>
                  <a:srgbClr val="1A294B"/>
                </a:solidFill>
              </a:rPr>
              <a:t>onos:add-test-flows [options] flowPerDevice numOfRuns</a:t>
            </a:r>
            <a:endParaRPr lang="en-DE" sz="2000" dirty="0">
              <a:solidFill>
                <a:srgbClr val="1A294B"/>
              </a:solidFill>
            </a:endParaRPr>
          </a:p>
        </p:txBody>
      </p:sp>
    </p:spTree>
    <p:extLst>
      <p:ext uri="{BB962C8B-B14F-4D97-AF65-F5344CB8AC3E}">
        <p14:creationId xmlns:p14="http://schemas.microsoft.com/office/powerpoint/2010/main" val="3163657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0E024E-4BE4-06D4-DA58-2442B1F15150}"/>
              </a:ext>
            </a:extLst>
          </p:cNvPr>
          <p:cNvPicPr>
            <a:picLocks noChangeAspect="1"/>
          </p:cNvPicPr>
          <p:nvPr/>
        </p:nvPicPr>
        <p:blipFill>
          <a:blip r:embed="rId2"/>
          <a:stretch>
            <a:fillRect/>
          </a:stretch>
        </p:blipFill>
        <p:spPr>
          <a:xfrm>
            <a:off x="1483348" y="276625"/>
            <a:ext cx="4317557" cy="6304750"/>
          </a:xfrm>
          <a:prstGeom prst="rect">
            <a:avLst/>
          </a:prstGeom>
        </p:spPr>
      </p:pic>
      <p:pic>
        <p:nvPicPr>
          <p:cNvPr id="5" name="Picture 4">
            <a:extLst>
              <a:ext uri="{FF2B5EF4-FFF2-40B4-BE49-F238E27FC236}">
                <a16:creationId xmlns:a16="http://schemas.microsoft.com/office/drawing/2014/main" id="{6A13F8C4-4310-FE35-AFDC-74D09220599C}"/>
              </a:ext>
            </a:extLst>
          </p:cNvPr>
          <p:cNvPicPr>
            <a:picLocks noChangeAspect="1"/>
          </p:cNvPicPr>
          <p:nvPr/>
        </p:nvPicPr>
        <p:blipFill>
          <a:blip r:embed="rId3"/>
          <a:stretch>
            <a:fillRect/>
          </a:stretch>
        </p:blipFill>
        <p:spPr>
          <a:xfrm>
            <a:off x="4650834" y="3778182"/>
            <a:ext cx="3480525" cy="2773296"/>
          </a:xfrm>
          <a:prstGeom prst="rect">
            <a:avLst/>
          </a:prstGeom>
        </p:spPr>
      </p:pic>
      <p:pic>
        <p:nvPicPr>
          <p:cNvPr id="7" name="Picture 6">
            <a:extLst>
              <a:ext uri="{FF2B5EF4-FFF2-40B4-BE49-F238E27FC236}">
                <a16:creationId xmlns:a16="http://schemas.microsoft.com/office/drawing/2014/main" id="{AFDCEC5D-80A1-0FA5-C7B9-F9DC68DDA156}"/>
              </a:ext>
            </a:extLst>
          </p:cNvPr>
          <p:cNvPicPr>
            <a:picLocks noChangeAspect="1"/>
          </p:cNvPicPr>
          <p:nvPr/>
        </p:nvPicPr>
        <p:blipFill rotWithShape="1">
          <a:blip r:embed="rId4"/>
          <a:srcRect b="44835"/>
          <a:stretch/>
        </p:blipFill>
        <p:spPr>
          <a:xfrm>
            <a:off x="8350129" y="3778182"/>
            <a:ext cx="2814737" cy="1669201"/>
          </a:xfrm>
          <a:prstGeom prst="rect">
            <a:avLst/>
          </a:prstGeom>
        </p:spPr>
      </p:pic>
      <p:pic>
        <p:nvPicPr>
          <p:cNvPr id="9" name="Picture 8">
            <a:extLst>
              <a:ext uri="{FF2B5EF4-FFF2-40B4-BE49-F238E27FC236}">
                <a16:creationId xmlns:a16="http://schemas.microsoft.com/office/drawing/2014/main" id="{012B7149-A162-493B-A71A-FF68C8CF7A73}"/>
              </a:ext>
            </a:extLst>
          </p:cNvPr>
          <p:cNvPicPr>
            <a:picLocks noChangeAspect="1"/>
          </p:cNvPicPr>
          <p:nvPr/>
        </p:nvPicPr>
        <p:blipFill>
          <a:blip r:embed="rId5"/>
          <a:stretch>
            <a:fillRect/>
          </a:stretch>
        </p:blipFill>
        <p:spPr>
          <a:xfrm>
            <a:off x="9475982" y="5164830"/>
            <a:ext cx="1538060" cy="314228"/>
          </a:xfrm>
          <a:prstGeom prst="rect">
            <a:avLst/>
          </a:prstGeom>
        </p:spPr>
      </p:pic>
      <p:pic>
        <p:nvPicPr>
          <p:cNvPr id="11" name="Picture 10">
            <a:extLst>
              <a:ext uri="{FF2B5EF4-FFF2-40B4-BE49-F238E27FC236}">
                <a16:creationId xmlns:a16="http://schemas.microsoft.com/office/drawing/2014/main" id="{5E4F44F6-95BB-5338-C21E-30EEB2342C38}"/>
              </a:ext>
            </a:extLst>
          </p:cNvPr>
          <p:cNvPicPr>
            <a:picLocks noChangeAspect="1"/>
          </p:cNvPicPr>
          <p:nvPr/>
        </p:nvPicPr>
        <p:blipFill>
          <a:blip r:embed="rId6"/>
          <a:stretch>
            <a:fillRect/>
          </a:stretch>
        </p:blipFill>
        <p:spPr>
          <a:xfrm>
            <a:off x="8374210" y="5447383"/>
            <a:ext cx="2203543" cy="1037407"/>
          </a:xfrm>
          <a:prstGeom prst="rect">
            <a:avLst/>
          </a:prstGeom>
        </p:spPr>
      </p:pic>
    </p:spTree>
    <p:extLst>
      <p:ext uri="{BB962C8B-B14F-4D97-AF65-F5344CB8AC3E}">
        <p14:creationId xmlns:p14="http://schemas.microsoft.com/office/powerpoint/2010/main" val="12556734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906E03-438E-DE7C-59A4-F3E307AB45C0}"/>
              </a:ext>
            </a:extLst>
          </p:cNvPr>
          <p:cNvPicPr>
            <a:picLocks noChangeAspect="1"/>
          </p:cNvPicPr>
          <p:nvPr/>
        </p:nvPicPr>
        <p:blipFill rotWithShape="1">
          <a:blip r:embed="rId2"/>
          <a:srcRect l="455" t="10843" r="531"/>
          <a:stretch/>
        </p:blipFill>
        <p:spPr>
          <a:xfrm>
            <a:off x="1902467" y="395577"/>
            <a:ext cx="8457014" cy="6066845"/>
          </a:xfrm>
          <a:prstGeom prst="rect">
            <a:avLst/>
          </a:prstGeom>
        </p:spPr>
      </p:pic>
      <p:cxnSp>
        <p:nvCxnSpPr>
          <p:cNvPr id="11" name="Straight Arrow Connector 10">
            <a:extLst>
              <a:ext uri="{FF2B5EF4-FFF2-40B4-BE49-F238E27FC236}">
                <a16:creationId xmlns:a16="http://schemas.microsoft.com/office/drawing/2014/main" id="{A4E70A34-6008-5F14-6413-20EDA39DF933}"/>
              </a:ext>
            </a:extLst>
          </p:cNvPr>
          <p:cNvCxnSpPr/>
          <p:nvPr/>
        </p:nvCxnSpPr>
        <p:spPr>
          <a:xfrm flipH="1" flipV="1">
            <a:off x="3220278" y="1630017"/>
            <a:ext cx="604299" cy="64405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33EB422-D3E8-0F71-7717-416CBD626E53}"/>
              </a:ext>
            </a:extLst>
          </p:cNvPr>
          <p:cNvCxnSpPr>
            <a:cxnSpLocks/>
          </p:cNvCxnSpPr>
          <p:nvPr/>
        </p:nvCxnSpPr>
        <p:spPr>
          <a:xfrm flipV="1">
            <a:off x="5793850" y="629478"/>
            <a:ext cx="0" cy="81765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0D4BCD-881D-3051-7A5C-1CCFE88FDD92}"/>
              </a:ext>
            </a:extLst>
          </p:cNvPr>
          <p:cNvCxnSpPr>
            <a:cxnSpLocks/>
          </p:cNvCxnSpPr>
          <p:nvPr/>
        </p:nvCxnSpPr>
        <p:spPr>
          <a:xfrm flipV="1">
            <a:off x="7404782" y="2369489"/>
            <a:ext cx="824818" cy="6400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81539F-4BBF-1663-6FAE-FAC0EA926A78}"/>
              </a:ext>
            </a:extLst>
          </p:cNvPr>
          <p:cNvCxnSpPr>
            <a:cxnSpLocks/>
          </p:cNvCxnSpPr>
          <p:nvPr/>
        </p:nvCxnSpPr>
        <p:spPr>
          <a:xfrm flipH="1">
            <a:off x="3929270" y="5255812"/>
            <a:ext cx="690438" cy="43069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34C1F0-0599-9588-BF1F-75FBF59D6462}"/>
              </a:ext>
            </a:extLst>
          </p:cNvPr>
          <p:cNvCxnSpPr>
            <a:cxnSpLocks/>
          </p:cNvCxnSpPr>
          <p:nvPr/>
        </p:nvCxnSpPr>
        <p:spPr>
          <a:xfrm flipH="1" flipV="1">
            <a:off x="2044810" y="716279"/>
            <a:ext cx="690972" cy="21925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B0F5594-6AEA-6052-A82D-9DD0A6DC2EBA}"/>
              </a:ext>
            </a:extLst>
          </p:cNvPr>
          <p:cNvCxnSpPr>
            <a:cxnSpLocks/>
          </p:cNvCxnSpPr>
          <p:nvPr/>
        </p:nvCxnSpPr>
        <p:spPr>
          <a:xfrm flipV="1">
            <a:off x="9485906" y="629478"/>
            <a:ext cx="571970" cy="333822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519777-3303-DA67-0FBA-0ED5ABFD15DE}"/>
              </a:ext>
            </a:extLst>
          </p:cNvPr>
          <p:cNvSpPr txBox="1"/>
          <p:nvPr/>
        </p:nvSpPr>
        <p:spPr>
          <a:xfrm>
            <a:off x="5221097" y="1447137"/>
            <a:ext cx="1145506" cy="369332"/>
          </a:xfrm>
          <a:prstGeom prst="rect">
            <a:avLst/>
          </a:prstGeom>
          <a:noFill/>
        </p:spPr>
        <p:txBody>
          <a:bodyPr wrap="none" rtlCol="0">
            <a:spAutoFit/>
          </a:bodyPr>
          <a:lstStyle/>
          <a:p>
            <a:r>
              <a:rPr lang="en-US" b="1" dirty="0">
                <a:solidFill>
                  <a:srgbClr val="FF0000"/>
                </a:solidFill>
              </a:rPr>
              <a:t>Masthead</a:t>
            </a:r>
            <a:endParaRPr lang="en-DE" b="1" dirty="0">
              <a:solidFill>
                <a:srgbClr val="FF0000"/>
              </a:solidFill>
            </a:endParaRPr>
          </a:p>
        </p:txBody>
      </p:sp>
      <p:sp>
        <p:nvSpPr>
          <p:cNvPr id="29" name="TextBox 28">
            <a:extLst>
              <a:ext uri="{FF2B5EF4-FFF2-40B4-BE49-F238E27FC236}">
                <a16:creationId xmlns:a16="http://schemas.microsoft.com/office/drawing/2014/main" id="{B9E2F8A7-B2B4-9F96-20B2-024896EE3069}"/>
              </a:ext>
            </a:extLst>
          </p:cNvPr>
          <p:cNvSpPr txBox="1"/>
          <p:nvPr/>
        </p:nvSpPr>
        <p:spPr>
          <a:xfrm>
            <a:off x="3524426" y="2264796"/>
            <a:ext cx="2622577" cy="369332"/>
          </a:xfrm>
          <a:prstGeom prst="rect">
            <a:avLst/>
          </a:prstGeom>
          <a:noFill/>
        </p:spPr>
        <p:txBody>
          <a:bodyPr wrap="none" rtlCol="0">
            <a:spAutoFit/>
          </a:bodyPr>
          <a:lstStyle/>
          <a:p>
            <a:r>
              <a:rPr lang="en-US" b="1" dirty="0">
                <a:solidFill>
                  <a:srgbClr val="FF0000"/>
                </a:solidFill>
              </a:rPr>
              <a:t>ONOS Cluster Node Panel</a:t>
            </a:r>
            <a:endParaRPr lang="en-DE" b="1" dirty="0">
              <a:solidFill>
                <a:srgbClr val="FF0000"/>
              </a:solidFill>
            </a:endParaRPr>
          </a:p>
        </p:txBody>
      </p:sp>
      <p:sp>
        <p:nvSpPr>
          <p:cNvPr id="31" name="TextBox 30">
            <a:extLst>
              <a:ext uri="{FF2B5EF4-FFF2-40B4-BE49-F238E27FC236}">
                <a16:creationId xmlns:a16="http://schemas.microsoft.com/office/drawing/2014/main" id="{9C278016-A8C3-7585-2CC9-6B059AEF3BF4}"/>
              </a:ext>
            </a:extLst>
          </p:cNvPr>
          <p:cNvSpPr txBox="1"/>
          <p:nvPr/>
        </p:nvSpPr>
        <p:spPr>
          <a:xfrm>
            <a:off x="3920144" y="4886480"/>
            <a:ext cx="1815112" cy="369332"/>
          </a:xfrm>
          <a:prstGeom prst="rect">
            <a:avLst/>
          </a:prstGeom>
          <a:noFill/>
        </p:spPr>
        <p:txBody>
          <a:bodyPr wrap="none" rtlCol="0">
            <a:spAutoFit/>
          </a:bodyPr>
          <a:lstStyle/>
          <a:p>
            <a:r>
              <a:rPr lang="en-US" b="1" dirty="0">
                <a:solidFill>
                  <a:srgbClr val="FF0000"/>
                </a:solidFill>
              </a:rPr>
              <a:t>Topology Toolbar</a:t>
            </a:r>
            <a:endParaRPr lang="en-DE" b="1" dirty="0">
              <a:solidFill>
                <a:srgbClr val="FF0000"/>
              </a:solidFill>
            </a:endParaRPr>
          </a:p>
        </p:txBody>
      </p:sp>
      <p:sp>
        <p:nvSpPr>
          <p:cNvPr id="33" name="TextBox 32">
            <a:extLst>
              <a:ext uri="{FF2B5EF4-FFF2-40B4-BE49-F238E27FC236}">
                <a16:creationId xmlns:a16="http://schemas.microsoft.com/office/drawing/2014/main" id="{AC56668E-5FF0-07B0-CEE6-2E3E1AC47790}"/>
              </a:ext>
            </a:extLst>
          </p:cNvPr>
          <p:cNvSpPr txBox="1"/>
          <p:nvPr/>
        </p:nvSpPr>
        <p:spPr>
          <a:xfrm>
            <a:off x="6247847" y="3009567"/>
            <a:ext cx="1678408" cy="369332"/>
          </a:xfrm>
          <a:prstGeom prst="rect">
            <a:avLst/>
          </a:prstGeom>
          <a:noFill/>
        </p:spPr>
        <p:txBody>
          <a:bodyPr wrap="none" rtlCol="0">
            <a:spAutoFit/>
          </a:bodyPr>
          <a:lstStyle/>
          <a:p>
            <a:r>
              <a:rPr lang="en-US" b="1" dirty="0">
                <a:solidFill>
                  <a:srgbClr val="FF0000"/>
                </a:solidFill>
              </a:rPr>
              <a:t>Summary Panel</a:t>
            </a:r>
            <a:endParaRPr lang="en-DE" b="1" dirty="0">
              <a:solidFill>
                <a:srgbClr val="FF0000"/>
              </a:solidFill>
            </a:endParaRPr>
          </a:p>
        </p:txBody>
      </p:sp>
      <p:sp>
        <p:nvSpPr>
          <p:cNvPr id="37" name="TextBox 36">
            <a:extLst>
              <a:ext uri="{FF2B5EF4-FFF2-40B4-BE49-F238E27FC236}">
                <a16:creationId xmlns:a16="http://schemas.microsoft.com/office/drawing/2014/main" id="{BFED3F50-12AD-084B-E03D-B7433198DDAE}"/>
              </a:ext>
            </a:extLst>
          </p:cNvPr>
          <p:cNvSpPr txBox="1"/>
          <p:nvPr/>
        </p:nvSpPr>
        <p:spPr>
          <a:xfrm>
            <a:off x="2006457" y="2908852"/>
            <a:ext cx="2538002" cy="369332"/>
          </a:xfrm>
          <a:prstGeom prst="rect">
            <a:avLst/>
          </a:prstGeom>
          <a:noFill/>
        </p:spPr>
        <p:txBody>
          <a:bodyPr wrap="none" rtlCol="0">
            <a:spAutoFit/>
          </a:bodyPr>
          <a:lstStyle/>
          <a:p>
            <a:r>
              <a:rPr lang="en-US" b="1" dirty="0">
                <a:solidFill>
                  <a:srgbClr val="FF0000"/>
                </a:solidFill>
              </a:rPr>
              <a:t>Navigation Menu Button</a:t>
            </a:r>
            <a:endParaRPr lang="en-DE" b="1" dirty="0">
              <a:solidFill>
                <a:srgbClr val="FF0000"/>
              </a:solidFill>
            </a:endParaRPr>
          </a:p>
        </p:txBody>
      </p:sp>
      <p:sp>
        <p:nvSpPr>
          <p:cNvPr id="40" name="TextBox 39">
            <a:extLst>
              <a:ext uri="{FF2B5EF4-FFF2-40B4-BE49-F238E27FC236}">
                <a16:creationId xmlns:a16="http://schemas.microsoft.com/office/drawing/2014/main" id="{0C8239DD-036D-1FD0-9D99-04D47331E3B1}"/>
              </a:ext>
            </a:extLst>
          </p:cNvPr>
          <p:cNvSpPr txBox="1"/>
          <p:nvPr/>
        </p:nvSpPr>
        <p:spPr>
          <a:xfrm>
            <a:off x="8615053" y="3967701"/>
            <a:ext cx="1263487" cy="646331"/>
          </a:xfrm>
          <a:prstGeom prst="rect">
            <a:avLst/>
          </a:prstGeom>
          <a:noFill/>
        </p:spPr>
        <p:txBody>
          <a:bodyPr wrap="none" rtlCol="0">
            <a:spAutoFit/>
          </a:bodyPr>
          <a:lstStyle/>
          <a:p>
            <a:r>
              <a:rPr lang="en-US" b="1" dirty="0">
                <a:solidFill>
                  <a:srgbClr val="FF0000"/>
                </a:solidFill>
              </a:rPr>
              <a:t>Username/</a:t>
            </a:r>
          </a:p>
          <a:p>
            <a:r>
              <a:rPr lang="en-US" b="1" dirty="0">
                <a:solidFill>
                  <a:srgbClr val="FF0000"/>
                </a:solidFill>
              </a:rPr>
              <a:t>Logout link</a:t>
            </a:r>
            <a:endParaRPr lang="en-DE" b="1" dirty="0">
              <a:solidFill>
                <a:srgbClr val="FF0000"/>
              </a:solidFill>
            </a:endParaRPr>
          </a:p>
        </p:txBody>
      </p:sp>
    </p:spTree>
    <p:extLst>
      <p:ext uri="{BB962C8B-B14F-4D97-AF65-F5344CB8AC3E}">
        <p14:creationId xmlns:p14="http://schemas.microsoft.com/office/powerpoint/2010/main" val="19526884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extLst>
              <p:ext uri="{D42A27DB-BD31-4B8C-83A1-F6EECF244321}">
                <p14:modId xmlns:p14="http://schemas.microsoft.com/office/powerpoint/2010/main" val="353027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2382715" y="2917581"/>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stCxn id="6" idx="2"/>
            <a:endCxn id="7" idx="0"/>
          </p:cNvCxnSpPr>
          <p:nvPr/>
        </p:nvCxnSpPr>
        <p:spPr>
          <a:xfrm>
            <a:off x="6189784" y="3867151"/>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p:nvPr/>
        </p:nvCxnSpPr>
        <p:spPr>
          <a:xfrm>
            <a:off x="6116515" y="1837593"/>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7623770" y="3188013"/>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84145"/>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44" name="Grafik 27">
            <a:extLst>
              <a:ext uri="{FF2B5EF4-FFF2-40B4-BE49-F238E27FC236}">
                <a16:creationId xmlns:a16="http://schemas.microsoft.com/office/drawing/2014/main" id="{0B136381-15EE-FA4F-F53F-6A1778AD4915}"/>
              </a:ext>
            </a:extLst>
          </p:cNvPr>
          <p:cNvGrpSpPr/>
          <p:nvPr/>
        </p:nvGrpSpPr>
        <p:grpSpPr bwMode="gray">
          <a:xfrm>
            <a:off x="7097103" y="5284145"/>
            <a:ext cx="374400" cy="374400"/>
            <a:chOff x="5843587" y="3176587"/>
            <a:chExt cx="500253" cy="500253"/>
          </a:xfrm>
          <a:solidFill>
            <a:schemeClr val="accent1">
              <a:lumMod val="75000"/>
            </a:schemeClr>
          </a:solidFill>
        </p:grpSpPr>
        <p:grpSp>
          <p:nvGrpSpPr>
            <p:cNvPr id="45" name="Grafik 27">
              <a:extLst>
                <a:ext uri="{FF2B5EF4-FFF2-40B4-BE49-F238E27FC236}">
                  <a16:creationId xmlns:a16="http://schemas.microsoft.com/office/drawing/2014/main" id="{5DDFE77A-984E-441C-3D71-76CA0E2C21D4}"/>
                </a:ext>
              </a:extLst>
            </p:cNvPr>
            <p:cNvGrpSpPr/>
            <p:nvPr/>
          </p:nvGrpSpPr>
          <p:grpSpPr bwMode="gray">
            <a:xfrm>
              <a:off x="5843587" y="3176587"/>
              <a:ext cx="500253" cy="500253"/>
              <a:chOff x="5843587" y="3176587"/>
              <a:chExt cx="500253" cy="500253"/>
            </a:xfrm>
            <a:grpFill/>
          </p:grpSpPr>
          <p:sp>
            <p:nvSpPr>
              <p:cNvPr id="80" name="Grafik 27">
                <a:extLst>
                  <a:ext uri="{FF2B5EF4-FFF2-40B4-BE49-F238E27FC236}">
                    <a16:creationId xmlns:a16="http://schemas.microsoft.com/office/drawing/2014/main" id="{BE4058C6-2FA6-0182-0C7D-AEB588D3334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81" name="Grafik 27">
                <a:extLst>
                  <a:ext uri="{FF2B5EF4-FFF2-40B4-BE49-F238E27FC236}">
                    <a16:creationId xmlns:a16="http://schemas.microsoft.com/office/drawing/2014/main" id="{F4517E31-46DF-E7FF-25CF-FB4EE10B93A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82" name="Grafik 27">
                <a:extLst>
                  <a:ext uri="{FF2B5EF4-FFF2-40B4-BE49-F238E27FC236}">
                    <a16:creationId xmlns:a16="http://schemas.microsoft.com/office/drawing/2014/main" id="{93ECCBC4-F481-111A-4C9C-8FE49FFE65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3" name="Grafik 27">
                <a:extLst>
                  <a:ext uri="{FF2B5EF4-FFF2-40B4-BE49-F238E27FC236}">
                    <a16:creationId xmlns:a16="http://schemas.microsoft.com/office/drawing/2014/main" id="{20B35378-22D8-E9B2-7D3E-BB854A545A0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4" name="Grafik 27">
                <a:extLst>
                  <a:ext uri="{FF2B5EF4-FFF2-40B4-BE49-F238E27FC236}">
                    <a16:creationId xmlns:a16="http://schemas.microsoft.com/office/drawing/2014/main" id="{BB331447-8134-6AFD-7F03-F59803E096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46" name="Grafik 27">
              <a:extLst>
                <a:ext uri="{FF2B5EF4-FFF2-40B4-BE49-F238E27FC236}">
                  <a16:creationId xmlns:a16="http://schemas.microsoft.com/office/drawing/2014/main" id="{1A5803A2-A9AF-35B0-2CA9-05B591576B1F}"/>
                </a:ext>
              </a:extLst>
            </p:cNvPr>
            <p:cNvGrpSpPr/>
            <p:nvPr/>
          </p:nvGrpSpPr>
          <p:grpSpPr bwMode="gray">
            <a:xfrm>
              <a:off x="5938956" y="3338821"/>
              <a:ext cx="244744" cy="240672"/>
              <a:chOff x="5938956" y="3338821"/>
              <a:chExt cx="244744" cy="240672"/>
            </a:xfrm>
            <a:grpFill/>
          </p:grpSpPr>
          <p:grpSp>
            <p:nvGrpSpPr>
              <p:cNvPr id="47" name="Grafik 27">
                <a:extLst>
                  <a:ext uri="{FF2B5EF4-FFF2-40B4-BE49-F238E27FC236}">
                    <a16:creationId xmlns:a16="http://schemas.microsoft.com/office/drawing/2014/main" id="{2C7442F9-0DCC-843A-54D3-902C7950CF88}"/>
                  </a:ext>
                </a:extLst>
              </p:cNvPr>
              <p:cNvGrpSpPr/>
              <p:nvPr/>
            </p:nvGrpSpPr>
            <p:grpSpPr bwMode="gray">
              <a:xfrm>
                <a:off x="6067638" y="3374040"/>
                <a:ext cx="81795" cy="81057"/>
                <a:chOff x="6067638" y="3374040"/>
                <a:chExt cx="81795" cy="81057"/>
              </a:xfrm>
              <a:grpFill/>
            </p:grpSpPr>
            <p:sp>
              <p:nvSpPr>
                <p:cNvPr id="77" name="Grafik 27">
                  <a:extLst>
                    <a:ext uri="{FF2B5EF4-FFF2-40B4-BE49-F238E27FC236}">
                      <a16:creationId xmlns:a16="http://schemas.microsoft.com/office/drawing/2014/main" id="{741A6A3C-FCFF-BB6E-CF6E-0F9AB82D45A8}"/>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78" name="Grafik 27">
                  <a:extLst>
                    <a:ext uri="{FF2B5EF4-FFF2-40B4-BE49-F238E27FC236}">
                      <a16:creationId xmlns:a16="http://schemas.microsoft.com/office/drawing/2014/main" id="{816E81B9-3D0D-1910-5E43-49B77B41DE69}"/>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9" name="Grafik 27">
                  <a:extLst>
                    <a:ext uri="{FF2B5EF4-FFF2-40B4-BE49-F238E27FC236}">
                      <a16:creationId xmlns:a16="http://schemas.microsoft.com/office/drawing/2014/main" id="{F69A7E17-3B6D-5B6E-FD93-B96E07C63545}"/>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48" name="Grafik 27">
                <a:extLst>
                  <a:ext uri="{FF2B5EF4-FFF2-40B4-BE49-F238E27FC236}">
                    <a16:creationId xmlns:a16="http://schemas.microsoft.com/office/drawing/2014/main" id="{94506FE5-0528-4A3C-7EFC-E7F53519967B}"/>
                  </a:ext>
                </a:extLst>
              </p:cNvPr>
              <p:cNvGrpSpPr/>
              <p:nvPr/>
            </p:nvGrpSpPr>
            <p:grpSpPr bwMode="gray">
              <a:xfrm>
                <a:off x="5973222" y="3374040"/>
                <a:ext cx="81795" cy="81057"/>
                <a:chOff x="5973222" y="3374040"/>
                <a:chExt cx="81795" cy="81057"/>
              </a:xfrm>
              <a:grpFill/>
            </p:grpSpPr>
            <p:sp>
              <p:nvSpPr>
                <p:cNvPr id="74" name="Grafik 27">
                  <a:extLst>
                    <a:ext uri="{FF2B5EF4-FFF2-40B4-BE49-F238E27FC236}">
                      <a16:creationId xmlns:a16="http://schemas.microsoft.com/office/drawing/2014/main" id="{6A0BE18F-EC47-F6AC-594F-58D61D651B97}"/>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75" name="Grafik 27">
                  <a:extLst>
                    <a:ext uri="{FF2B5EF4-FFF2-40B4-BE49-F238E27FC236}">
                      <a16:creationId xmlns:a16="http://schemas.microsoft.com/office/drawing/2014/main" id="{44799351-F611-BA24-4A4C-A94C846FE0AC}"/>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76" name="Grafik 27">
                  <a:extLst>
                    <a:ext uri="{FF2B5EF4-FFF2-40B4-BE49-F238E27FC236}">
                      <a16:creationId xmlns:a16="http://schemas.microsoft.com/office/drawing/2014/main" id="{04CB6BDC-82D3-799F-12F5-F344ABBD5EA9}"/>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49" name="Grafik 27">
                <a:extLst>
                  <a:ext uri="{FF2B5EF4-FFF2-40B4-BE49-F238E27FC236}">
                    <a16:creationId xmlns:a16="http://schemas.microsoft.com/office/drawing/2014/main" id="{82CBDA4E-BB9D-E928-B5D7-F6541D4AFAE7}"/>
                  </a:ext>
                </a:extLst>
              </p:cNvPr>
              <p:cNvGrpSpPr/>
              <p:nvPr/>
            </p:nvGrpSpPr>
            <p:grpSpPr bwMode="gray">
              <a:xfrm>
                <a:off x="6067638" y="3463218"/>
                <a:ext cx="81795" cy="81033"/>
                <a:chOff x="6067638" y="3463218"/>
                <a:chExt cx="81795" cy="81033"/>
              </a:xfrm>
              <a:grpFill/>
            </p:grpSpPr>
            <p:sp>
              <p:nvSpPr>
                <p:cNvPr id="71" name="Grafik 27">
                  <a:extLst>
                    <a:ext uri="{FF2B5EF4-FFF2-40B4-BE49-F238E27FC236}">
                      <a16:creationId xmlns:a16="http://schemas.microsoft.com/office/drawing/2014/main" id="{41795BD3-B8BB-D83F-766B-8E56711CAAE0}"/>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72" name="Grafik 27">
                  <a:extLst>
                    <a:ext uri="{FF2B5EF4-FFF2-40B4-BE49-F238E27FC236}">
                      <a16:creationId xmlns:a16="http://schemas.microsoft.com/office/drawing/2014/main" id="{DC9F2545-7A43-8BAD-7C36-3AFAA1FE275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3" name="Grafik 27">
                  <a:extLst>
                    <a:ext uri="{FF2B5EF4-FFF2-40B4-BE49-F238E27FC236}">
                      <a16:creationId xmlns:a16="http://schemas.microsoft.com/office/drawing/2014/main" id="{9CBD5336-62AC-53A3-5205-89916AF430C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50" name="Grafik 27">
                <a:extLst>
                  <a:ext uri="{FF2B5EF4-FFF2-40B4-BE49-F238E27FC236}">
                    <a16:creationId xmlns:a16="http://schemas.microsoft.com/office/drawing/2014/main" id="{8AC4BCAF-7826-0CA4-6FF9-50F020B87883}"/>
                  </a:ext>
                </a:extLst>
              </p:cNvPr>
              <p:cNvGrpSpPr/>
              <p:nvPr/>
            </p:nvGrpSpPr>
            <p:grpSpPr bwMode="gray">
              <a:xfrm>
                <a:off x="6074568" y="3434262"/>
                <a:ext cx="109132" cy="49506"/>
                <a:chOff x="6074568" y="3434262"/>
                <a:chExt cx="109132" cy="49506"/>
              </a:xfrm>
              <a:grpFill/>
            </p:grpSpPr>
            <p:sp>
              <p:nvSpPr>
                <p:cNvPr id="68" name="Grafik 27">
                  <a:extLst>
                    <a:ext uri="{FF2B5EF4-FFF2-40B4-BE49-F238E27FC236}">
                      <a16:creationId xmlns:a16="http://schemas.microsoft.com/office/drawing/2014/main" id="{3866B816-6D9B-4FC5-31D4-8B02BC434595}"/>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9" name="Grafik 27">
                  <a:extLst>
                    <a:ext uri="{FF2B5EF4-FFF2-40B4-BE49-F238E27FC236}">
                      <a16:creationId xmlns:a16="http://schemas.microsoft.com/office/drawing/2014/main" id="{0F270F81-42C1-D749-6BFD-A3E5339E5F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70" name="Grafik 27">
                  <a:extLst>
                    <a:ext uri="{FF2B5EF4-FFF2-40B4-BE49-F238E27FC236}">
                      <a16:creationId xmlns:a16="http://schemas.microsoft.com/office/drawing/2014/main" id="{2F0550ED-DBE2-8330-1175-F44B24B34039}"/>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1" name="Grafik 27">
                <a:extLst>
                  <a:ext uri="{FF2B5EF4-FFF2-40B4-BE49-F238E27FC236}">
                    <a16:creationId xmlns:a16="http://schemas.microsoft.com/office/drawing/2014/main" id="{5F7343D2-896B-3A09-22D2-569B6392414C}"/>
                  </a:ext>
                </a:extLst>
              </p:cNvPr>
              <p:cNvGrpSpPr/>
              <p:nvPr/>
            </p:nvGrpSpPr>
            <p:grpSpPr bwMode="gray">
              <a:xfrm>
                <a:off x="5938956" y="3434262"/>
                <a:ext cx="109227" cy="49506"/>
                <a:chOff x="5938956" y="3434262"/>
                <a:chExt cx="109227" cy="49506"/>
              </a:xfrm>
              <a:grpFill/>
            </p:grpSpPr>
            <p:sp>
              <p:nvSpPr>
                <p:cNvPr id="65" name="Grafik 27">
                  <a:extLst>
                    <a:ext uri="{FF2B5EF4-FFF2-40B4-BE49-F238E27FC236}">
                      <a16:creationId xmlns:a16="http://schemas.microsoft.com/office/drawing/2014/main" id="{AB4B3DF0-1935-F1F9-AEAE-38B11BE84A6C}"/>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6" name="Grafik 27">
                  <a:extLst>
                    <a:ext uri="{FF2B5EF4-FFF2-40B4-BE49-F238E27FC236}">
                      <a16:creationId xmlns:a16="http://schemas.microsoft.com/office/drawing/2014/main" id="{1359C3CE-2594-5438-5D16-D595B0AC44BF}"/>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7" name="Grafik 27">
                  <a:extLst>
                    <a:ext uri="{FF2B5EF4-FFF2-40B4-BE49-F238E27FC236}">
                      <a16:creationId xmlns:a16="http://schemas.microsoft.com/office/drawing/2014/main" id="{FC2EA51B-D9E1-C90C-529F-C900808F6930}"/>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52" name="Grafik 27">
                <a:extLst>
                  <a:ext uri="{FF2B5EF4-FFF2-40B4-BE49-F238E27FC236}">
                    <a16:creationId xmlns:a16="http://schemas.microsoft.com/office/drawing/2014/main" id="{7EDC4270-A250-966F-5713-642BB5B9912D}"/>
                  </a:ext>
                </a:extLst>
              </p:cNvPr>
              <p:cNvGrpSpPr/>
              <p:nvPr/>
            </p:nvGrpSpPr>
            <p:grpSpPr bwMode="gray">
              <a:xfrm>
                <a:off x="6034587" y="3470338"/>
                <a:ext cx="49387" cy="109156"/>
                <a:chOff x="6034587" y="3470338"/>
                <a:chExt cx="49387" cy="109156"/>
              </a:xfrm>
              <a:grpFill/>
            </p:grpSpPr>
            <p:sp>
              <p:nvSpPr>
                <p:cNvPr id="62" name="Grafik 27">
                  <a:extLst>
                    <a:ext uri="{FF2B5EF4-FFF2-40B4-BE49-F238E27FC236}">
                      <a16:creationId xmlns:a16="http://schemas.microsoft.com/office/drawing/2014/main" id="{CD0337CF-206C-BFC7-2050-487DE44F75A8}"/>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3" name="Grafik 27">
                  <a:extLst>
                    <a:ext uri="{FF2B5EF4-FFF2-40B4-BE49-F238E27FC236}">
                      <a16:creationId xmlns:a16="http://schemas.microsoft.com/office/drawing/2014/main" id="{64972F7D-F6D4-4C0A-E78B-BC651874B8E1}"/>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64" name="Grafik 27">
                  <a:extLst>
                    <a:ext uri="{FF2B5EF4-FFF2-40B4-BE49-F238E27FC236}">
                      <a16:creationId xmlns:a16="http://schemas.microsoft.com/office/drawing/2014/main" id="{ADBA1691-E827-0461-66F2-AC56D221A8F5}"/>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3" name="Grafik 27">
                <a:extLst>
                  <a:ext uri="{FF2B5EF4-FFF2-40B4-BE49-F238E27FC236}">
                    <a16:creationId xmlns:a16="http://schemas.microsoft.com/office/drawing/2014/main" id="{4E2254E7-AFA7-05EF-8331-B4A68CC3F896}"/>
                  </a:ext>
                </a:extLst>
              </p:cNvPr>
              <p:cNvGrpSpPr/>
              <p:nvPr/>
            </p:nvGrpSpPr>
            <p:grpSpPr bwMode="gray">
              <a:xfrm>
                <a:off x="6034587" y="3338821"/>
                <a:ext cx="49387" cy="109132"/>
                <a:chOff x="6034587" y="3338821"/>
                <a:chExt cx="49387" cy="109132"/>
              </a:xfrm>
              <a:grpFill/>
            </p:grpSpPr>
            <p:sp>
              <p:nvSpPr>
                <p:cNvPr id="59" name="Grafik 27">
                  <a:extLst>
                    <a:ext uri="{FF2B5EF4-FFF2-40B4-BE49-F238E27FC236}">
                      <a16:creationId xmlns:a16="http://schemas.microsoft.com/office/drawing/2014/main" id="{4E989F93-CE9E-D648-1773-AE1A3C77AC1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0" name="Grafik 27">
                  <a:extLst>
                    <a:ext uri="{FF2B5EF4-FFF2-40B4-BE49-F238E27FC236}">
                      <a16:creationId xmlns:a16="http://schemas.microsoft.com/office/drawing/2014/main" id="{DB12202A-3E84-F0FB-90AF-5AF69E2FE206}"/>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1" name="Grafik 27">
                  <a:extLst>
                    <a:ext uri="{FF2B5EF4-FFF2-40B4-BE49-F238E27FC236}">
                      <a16:creationId xmlns:a16="http://schemas.microsoft.com/office/drawing/2014/main" id="{3F83DCE1-04A4-C6B6-04F4-A375314A19AD}"/>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54" name="Grafik 27">
                <a:extLst>
                  <a:ext uri="{FF2B5EF4-FFF2-40B4-BE49-F238E27FC236}">
                    <a16:creationId xmlns:a16="http://schemas.microsoft.com/office/drawing/2014/main" id="{53FE468E-F028-BAEB-6E5B-08E2E0D5B949}"/>
                  </a:ext>
                </a:extLst>
              </p:cNvPr>
              <p:cNvGrpSpPr/>
              <p:nvPr/>
            </p:nvGrpSpPr>
            <p:grpSpPr bwMode="gray">
              <a:xfrm>
                <a:off x="5973222" y="3463218"/>
                <a:ext cx="81795" cy="81033"/>
                <a:chOff x="5973222" y="3463218"/>
                <a:chExt cx="81795" cy="81033"/>
              </a:xfrm>
              <a:grpFill/>
            </p:grpSpPr>
            <p:sp>
              <p:nvSpPr>
                <p:cNvPr id="56" name="Grafik 27">
                  <a:extLst>
                    <a:ext uri="{FF2B5EF4-FFF2-40B4-BE49-F238E27FC236}">
                      <a16:creationId xmlns:a16="http://schemas.microsoft.com/office/drawing/2014/main" id="{FA7F7C13-726C-87DE-F8D9-B0611AA9AF83}"/>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57" name="Grafik 27">
                  <a:extLst>
                    <a:ext uri="{FF2B5EF4-FFF2-40B4-BE49-F238E27FC236}">
                      <a16:creationId xmlns:a16="http://schemas.microsoft.com/office/drawing/2014/main" id="{BD4E4C05-826E-04EF-BE70-3BC3F31E31F4}"/>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58" name="Grafik 27">
                  <a:extLst>
                    <a:ext uri="{FF2B5EF4-FFF2-40B4-BE49-F238E27FC236}">
                      <a16:creationId xmlns:a16="http://schemas.microsoft.com/office/drawing/2014/main" id="{25BFED27-AE92-CF63-8647-9A73459EC300}"/>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55" name="Grafik 27">
                <a:extLst>
                  <a:ext uri="{FF2B5EF4-FFF2-40B4-BE49-F238E27FC236}">
                    <a16:creationId xmlns:a16="http://schemas.microsoft.com/office/drawing/2014/main" id="{DEF33DE6-A0D3-67F8-CEA0-3D03A30990A4}"/>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77305" y="5284145"/>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05" name="Grafik 27">
            <a:extLst>
              <a:ext uri="{FF2B5EF4-FFF2-40B4-BE49-F238E27FC236}">
                <a16:creationId xmlns:a16="http://schemas.microsoft.com/office/drawing/2014/main" id="{E15E9F64-27D1-2E12-D31E-691BB98A57C4}"/>
              </a:ext>
            </a:extLst>
          </p:cNvPr>
          <p:cNvGrpSpPr/>
          <p:nvPr/>
        </p:nvGrpSpPr>
        <p:grpSpPr bwMode="gray">
          <a:xfrm>
            <a:off x="8457507" y="5284145"/>
            <a:ext cx="374400" cy="374400"/>
            <a:chOff x="5843587" y="3176587"/>
            <a:chExt cx="500253" cy="500253"/>
          </a:xfrm>
          <a:solidFill>
            <a:schemeClr val="accent1">
              <a:lumMod val="75000"/>
            </a:schemeClr>
          </a:solidFill>
        </p:grpSpPr>
        <p:grpSp>
          <p:nvGrpSpPr>
            <p:cNvPr id="106" name="Grafik 27">
              <a:extLst>
                <a:ext uri="{FF2B5EF4-FFF2-40B4-BE49-F238E27FC236}">
                  <a16:creationId xmlns:a16="http://schemas.microsoft.com/office/drawing/2014/main" id="{37F266FA-35A6-072E-3ED2-1F764834B11F}"/>
                </a:ext>
              </a:extLst>
            </p:cNvPr>
            <p:cNvGrpSpPr/>
            <p:nvPr/>
          </p:nvGrpSpPr>
          <p:grpSpPr bwMode="gray">
            <a:xfrm>
              <a:off x="5843587" y="3176587"/>
              <a:ext cx="500253" cy="500253"/>
              <a:chOff x="5843587" y="3176587"/>
              <a:chExt cx="500253" cy="500253"/>
            </a:xfrm>
            <a:grpFill/>
          </p:grpSpPr>
          <p:sp>
            <p:nvSpPr>
              <p:cNvPr id="141" name="Grafik 27">
                <a:extLst>
                  <a:ext uri="{FF2B5EF4-FFF2-40B4-BE49-F238E27FC236}">
                    <a16:creationId xmlns:a16="http://schemas.microsoft.com/office/drawing/2014/main" id="{23B17ED1-4FEE-47AD-20E5-763EE58586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142" name="Grafik 27">
                <a:extLst>
                  <a:ext uri="{FF2B5EF4-FFF2-40B4-BE49-F238E27FC236}">
                    <a16:creationId xmlns:a16="http://schemas.microsoft.com/office/drawing/2014/main" id="{1E87F396-8105-0F96-E779-171EFA95925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143" name="Grafik 27">
                <a:extLst>
                  <a:ext uri="{FF2B5EF4-FFF2-40B4-BE49-F238E27FC236}">
                    <a16:creationId xmlns:a16="http://schemas.microsoft.com/office/drawing/2014/main" id="{D43663D8-3660-C3A6-7EF4-FC032B2094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4" name="Grafik 27">
                <a:extLst>
                  <a:ext uri="{FF2B5EF4-FFF2-40B4-BE49-F238E27FC236}">
                    <a16:creationId xmlns:a16="http://schemas.microsoft.com/office/drawing/2014/main" id="{F1E06C8A-86EB-24FA-7265-AD6B9CD180D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5" name="Grafik 27">
                <a:extLst>
                  <a:ext uri="{FF2B5EF4-FFF2-40B4-BE49-F238E27FC236}">
                    <a16:creationId xmlns:a16="http://schemas.microsoft.com/office/drawing/2014/main" id="{740D66F0-7704-7D62-9E8D-0F5C8A40B09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107" name="Grafik 27">
              <a:extLst>
                <a:ext uri="{FF2B5EF4-FFF2-40B4-BE49-F238E27FC236}">
                  <a16:creationId xmlns:a16="http://schemas.microsoft.com/office/drawing/2014/main" id="{6FB821A9-7B2D-C558-36DD-E21A1B3C1D2F}"/>
                </a:ext>
              </a:extLst>
            </p:cNvPr>
            <p:cNvGrpSpPr/>
            <p:nvPr/>
          </p:nvGrpSpPr>
          <p:grpSpPr bwMode="gray">
            <a:xfrm>
              <a:off x="5938956" y="3338821"/>
              <a:ext cx="244744" cy="240672"/>
              <a:chOff x="5938956" y="3338821"/>
              <a:chExt cx="244744" cy="240672"/>
            </a:xfrm>
            <a:grpFill/>
          </p:grpSpPr>
          <p:grpSp>
            <p:nvGrpSpPr>
              <p:cNvPr id="108" name="Grafik 27">
                <a:extLst>
                  <a:ext uri="{FF2B5EF4-FFF2-40B4-BE49-F238E27FC236}">
                    <a16:creationId xmlns:a16="http://schemas.microsoft.com/office/drawing/2014/main" id="{C73ED232-0818-E3FF-5106-4051D80E4636}"/>
                  </a:ext>
                </a:extLst>
              </p:cNvPr>
              <p:cNvGrpSpPr/>
              <p:nvPr/>
            </p:nvGrpSpPr>
            <p:grpSpPr bwMode="gray">
              <a:xfrm>
                <a:off x="6067638" y="3374040"/>
                <a:ext cx="81795" cy="81057"/>
                <a:chOff x="6067638" y="3374040"/>
                <a:chExt cx="81795" cy="81057"/>
              </a:xfrm>
              <a:grpFill/>
            </p:grpSpPr>
            <p:sp>
              <p:nvSpPr>
                <p:cNvPr id="138" name="Grafik 27">
                  <a:extLst>
                    <a:ext uri="{FF2B5EF4-FFF2-40B4-BE49-F238E27FC236}">
                      <a16:creationId xmlns:a16="http://schemas.microsoft.com/office/drawing/2014/main" id="{79FF8A86-8112-CFB0-FDDF-E9D3293C1E79}"/>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139" name="Grafik 27">
                  <a:extLst>
                    <a:ext uri="{FF2B5EF4-FFF2-40B4-BE49-F238E27FC236}">
                      <a16:creationId xmlns:a16="http://schemas.microsoft.com/office/drawing/2014/main" id="{C800D16C-64E3-0C38-0022-E7EEACC37C07}"/>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40" name="Grafik 27">
                  <a:extLst>
                    <a:ext uri="{FF2B5EF4-FFF2-40B4-BE49-F238E27FC236}">
                      <a16:creationId xmlns:a16="http://schemas.microsoft.com/office/drawing/2014/main" id="{CFBE8C92-9DCB-13C9-EF1D-E69D5BA7904B}"/>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109" name="Grafik 27">
                <a:extLst>
                  <a:ext uri="{FF2B5EF4-FFF2-40B4-BE49-F238E27FC236}">
                    <a16:creationId xmlns:a16="http://schemas.microsoft.com/office/drawing/2014/main" id="{301577A8-3687-97E7-7EE9-EAC425A4BC7C}"/>
                  </a:ext>
                </a:extLst>
              </p:cNvPr>
              <p:cNvGrpSpPr/>
              <p:nvPr/>
            </p:nvGrpSpPr>
            <p:grpSpPr bwMode="gray">
              <a:xfrm>
                <a:off x="5973222" y="3374040"/>
                <a:ext cx="81795" cy="81057"/>
                <a:chOff x="5973222" y="3374040"/>
                <a:chExt cx="81795" cy="81057"/>
              </a:xfrm>
              <a:grpFill/>
            </p:grpSpPr>
            <p:sp>
              <p:nvSpPr>
                <p:cNvPr id="135" name="Grafik 27">
                  <a:extLst>
                    <a:ext uri="{FF2B5EF4-FFF2-40B4-BE49-F238E27FC236}">
                      <a16:creationId xmlns:a16="http://schemas.microsoft.com/office/drawing/2014/main" id="{CC7E54FC-3C79-B680-8545-0464509CBF30}"/>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136" name="Grafik 27">
                  <a:extLst>
                    <a:ext uri="{FF2B5EF4-FFF2-40B4-BE49-F238E27FC236}">
                      <a16:creationId xmlns:a16="http://schemas.microsoft.com/office/drawing/2014/main" id="{E8DBFF1C-EFED-DC31-E924-4922AEBBEAC4}"/>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37" name="Grafik 27">
                  <a:extLst>
                    <a:ext uri="{FF2B5EF4-FFF2-40B4-BE49-F238E27FC236}">
                      <a16:creationId xmlns:a16="http://schemas.microsoft.com/office/drawing/2014/main" id="{4AB9A176-AAC7-F4DA-E6C2-B0D4BB1EF2B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110" name="Grafik 27">
                <a:extLst>
                  <a:ext uri="{FF2B5EF4-FFF2-40B4-BE49-F238E27FC236}">
                    <a16:creationId xmlns:a16="http://schemas.microsoft.com/office/drawing/2014/main" id="{B587CC79-1B03-7FED-ABE6-48A78B1A2828}"/>
                  </a:ext>
                </a:extLst>
              </p:cNvPr>
              <p:cNvGrpSpPr/>
              <p:nvPr/>
            </p:nvGrpSpPr>
            <p:grpSpPr bwMode="gray">
              <a:xfrm>
                <a:off x="6067638" y="3463218"/>
                <a:ext cx="81795" cy="81033"/>
                <a:chOff x="6067638" y="3463218"/>
                <a:chExt cx="81795" cy="81033"/>
              </a:xfrm>
              <a:grpFill/>
            </p:grpSpPr>
            <p:sp>
              <p:nvSpPr>
                <p:cNvPr id="132" name="Grafik 27">
                  <a:extLst>
                    <a:ext uri="{FF2B5EF4-FFF2-40B4-BE49-F238E27FC236}">
                      <a16:creationId xmlns:a16="http://schemas.microsoft.com/office/drawing/2014/main" id="{6E056C9A-3EEC-5341-CADA-40AF83E78D1B}"/>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133" name="Grafik 27">
                  <a:extLst>
                    <a:ext uri="{FF2B5EF4-FFF2-40B4-BE49-F238E27FC236}">
                      <a16:creationId xmlns:a16="http://schemas.microsoft.com/office/drawing/2014/main" id="{60035517-F79C-93D2-08A1-7000FBD786C3}"/>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34" name="Grafik 27">
                  <a:extLst>
                    <a:ext uri="{FF2B5EF4-FFF2-40B4-BE49-F238E27FC236}">
                      <a16:creationId xmlns:a16="http://schemas.microsoft.com/office/drawing/2014/main" id="{9F411201-A49F-B14A-FC76-4749D9CE24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111" name="Grafik 27">
                <a:extLst>
                  <a:ext uri="{FF2B5EF4-FFF2-40B4-BE49-F238E27FC236}">
                    <a16:creationId xmlns:a16="http://schemas.microsoft.com/office/drawing/2014/main" id="{DE52058F-8A09-97EC-FCAB-6CD0C6E3779F}"/>
                  </a:ext>
                </a:extLst>
              </p:cNvPr>
              <p:cNvGrpSpPr/>
              <p:nvPr/>
            </p:nvGrpSpPr>
            <p:grpSpPr bwMode="gray">
              <a:xfrm>
                <a:off x="6074568" y="3434262"/>
                <a:ext cx="109132" cy="49506"/>
                <a:chOff x="6074568" y="3434262"/>
                <a:chExt cx="109132" cy="49506"/>
              </a:xfrm>
              <a:grpFill/>
            </p:grpSpPr>
            <p:sp>
              <p:nvSpPr>
                <p:cNvPr id="129" name="Grafik 27">
                  <a:extLst>
                    <a:ext uri="{FF2B5EF4-FFF2-40B4-BE49-F238E27FC236}">
                      <a16:creationId xmlns:a16="http://schemas.microsoft.com/office/drawing/2014/main" id="{1B4B30EA-70FC-F1B3-1007-D0A90C5A4D2A}"/>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30" name="Grafik 27">
                  <a:extLst>
                    <a:ext uri="{FF2B5EF4-FFF2-40B4-BE49-F238E27FC236}">
                      <a16:creationId xmlns:a16="http://schemas.microsoft.com/office/drawing/2014/main" id="{26FB956C-87A5-616A-CEFC-5AF5FBBD78B7}"/>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131" name="Grafik 27">
                  <a:extLst>
                    <a:ext uri="{FF2B5EF4-FFF2-40B4-BE49-F238E27FC236}">
                      <a16:creationId xmlns:a16="http://schemas.microsoft.com/office/drawing/2014/main" id="{12B6313E-962F-819F-9848-F4A7BDF6507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2" name="Grafik 27">
                <a:extLst>
                  <a:ext uri="{FF2B5EF4-FFF2-40B4-BE49-F238E27FC236}">
                    <a16:creationId xmlns:a16="http://schemas.microsoft.com/office/drawing/2014/main" id="{B38F4DCE-CF8F-0B47-80B6-823A25999C55}"/>
                  </a:ext>
                </a:extLst>
              </p:cNvPr>
              <p:cNvGrpSpPr/>
              <p:nvPr/>
            </p:nvGrpSpPr>
            <p:grpSpPr bwMode="gray">
              <a:xfrm>
                <a:off x="5938956" y="3434262"/>
                <a:ext cx="109227" cy="49506"/>
                <a:chOff x="5938956" y="3434262"/>
                <a:chExt cx="109227" cy="49506"/>
              </a:xfrm>
              <a:grpFill/>
            </p:grpSpPr>
            <p:sp>
              <p:nvSpPr>
                <p:cNvPr id="126" name="Grafik 27">
                  <a:extLst>
                    <a:ext uri="{FF2B5EF4-FFF2-40B4-BE49-F238E27FC236}">
                      <a16:creationId xmlns:a16="http://schemas.microsoft.com/office/drawing/2014/main" id="{8A14027B-24A8-61F7-4DFE-FAE2D2979105}"/>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27" name="Grafik 27">
                  <a:extLst>
                    <a:ext uri="{FF2B5EF4-FFF2-40B4-BE49-F238E27FC236}">
                      <a16:creationId xmlns:a16="http://schemas.microsoft.com/office/drawing/2014/main" id="{CA065266-1B8E-CB63-BBDB-323B0A9D52A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8" name="Grafik 27">
                  <a:extLst>
                    <a:ext uri="{FF2B5EF4-FFF2-40B4-BE49-F238E27FC236}">
                      <a16:creationId xmlns:a16="http://schemas.microsoft.com/office/drawing/2014/main" id="{50BC0636-5219-B6A3-9159-24514ED6206C}"/>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113" name="Grafik 27">
                <a:extLst>
                  <a:ext uri="{FF2B5EF4-FFF2-40B4-BE49-F238E27FC236}">
                    <a16:creationId xmlns:a16="http://schemas.microsoft.com/office/drawing/2014/main" id="{BAAF1C4E-7AAB-BC17-E0F8-50529A83F610}"/>
                  </a:ext>
                </a:extLst>
              </p:cNvPr>
              <p:cNvGrpSpPr/>
              <p:nvPr/>
            </p:nvGrpSpPr>
            <p:grpSpPr bwMode="gray">
              <a:xfrm>
                <a:off x="6034587" y="3470338"/>
                <a:ext cx="49387" cy="109156"/>
                <a:chOff x="6034587" y="3470338"/>
                <a:chExt cx="49387" cy="109156"/>
              </a:xfrm>
              <a:grpFill/>
            </p:grpSpPr>
            <p:sp>
              <p:nvSpPr>
                <p:cNvPr id="123" name="Grafik 27">
                  <a:extLst>
                    <a:ext uri="{FF2B5EF4-FFF2-40B4-BE49-F238E27FC236}">
                      <a16:creationId xmlns:a16="http://schemas.microsoft.com/office/drawing/2014/main" id="{D410C7B2-48EF-F008-0866-36D7BC30ECEF}"/>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4" name="Grafik 27">
                  <a:extLst>
                    <a:ext uri="{FF2B5EF4-FFF2-40B4-BE49-F238E27FC236}">
                      <a16:creationId xmlns:a16="http://schemas.microsoft.com/office/drawing/2014/main" id="{4A3FE689-8837-7668-585D-76FB24D89860}"/>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125" name="Grafik 27">
                  <a:extLst>
                    <a:ext uri="{FF2B5EF4-FFF2-40B4-BE49-F238E27FC236}">
                      <a16:creationId xmlns:a16="http://schemas.microsoft.com/office/drawing/2014/main" id="{F6E98553-9A60-33CC-E96F-FDE1E09A4412}"/>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4" name="Grafik 27">
                <a:extLst>
                  <a:ext uri="{FF2B5EF4-FFF2-40B4-BE49-F238E27FC236}">
                    <a16:creationId xmlns:a16="http://schemas.microsoft.com/office/drawing/2014/main" id="{76602D4F-17C4-121B-00C1-16C558D2A586}"/>
                  </a:ext>
                </a:extLst>
              </p:cNvPr>
              <p:cNvGrpSpPr/>
              <p:nvPr/>
            </p:nvGrpSpPr>
            <p:grpSpPr bwMode="gray">
              <a:xfrm>
                <a:off x="6034587" y="3338821"/>
                <a:ext cx="49387" cy="109132"/>
                <a:chOff x="6034587" y="3338821"/>
                <a:chExt cx="49387" cy="109132"/>
              </a:xfrm>
              <a:grpFill/>
            </p:grpSpPr>
            <p:sp>
              <p:nvSpPr>
                <p:cNvPr id="120" name="Grafik 27">
                  <a:extLst>
                    <a:ext uri="{FF2B5EF4-FFF2-40B4-BE49-F238E27FC236}">
                      <a16:creationId xmlns:a16="http://schemas.microsoft.com/office/drawing/2014/main" id="{07AB64E2-07E5-CAFB-1173-91D45651EF8F}"/>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1" name="Grafik 27">
                  <a:extLst>
                    <a:ext uri="{FF2B5EF4-FFF2-40B4-BE49-F238E27FC236}">
                      <a16:creationId xmlns:a16="http://schemas.microsoft.com/office/drawing/2014/main" id="{C762833F-09A9-58AD-8E74-006E3695F283}"/>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2" name="Grafik 27">
                  <a:extLst>
                    <a:ext uri="{FF2B5EF4-FFF2-40B4-BE49-F238E27FC236}">
                      <a16:creationId xmlns:a16="http://schemas.microsoft.com/office/drawing/2014/main" id="{6FA3FDAB-6F3A-1CCC-59F7-A2A403733F00}"/>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115" name="Grafik 27">
                <a:extLst>
                  <a:ext uri="{FF2B5EF4-FFF2-40B4-BE49-F238E27FC236}">
                    <a16:creationId xmlns:a16="http://schemas.microsoft.com/office/drawing/2014/main" id="{5D9F761A-961E-1374-6004-DDB1A79510A6}"/>
                  </a:ext>
                </a:extLst>
              </p:cNvPr>
              <p:cNvGrpSpPr/>
              <p:nvPr/>
            </p:nvGrpSpPr>
            <p:grpSpPr bwMode="gray">
              <a:xfrm>
                <a:off x="5973222" y="3463218"/>
                <a:ext cx="81795" cy="81033"/>
                <a:chOff x="5973222" y="3463218"/>
                <a:chExt cx="81795" cy="81033"/>
              </a:xfrm>
              <a:grpFill/>
            </p:grpSpPr>
            <p:sp>
              <p:nvSpPr>
                <p:cNvPr id="117" name="Grafik 27">
                  <a:extLst>
                    <a:ext uri="{FF2B5EF4-FFF2-40B4-BE49-F238E27FC236}">
                      <a16:creationId xmlns:a16="http://schemas.microsoft.com/office/drawing/2014/main" id="{7CF2E599-C271-88E4-9C41-D11075BD3605}"/>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118" name="Grafik 27">
                  <a:extLst>
                    <a:ext uri="{FF2B5EF4-FFF2-40B4-BE49-F238E27FC236}">
                      <a16:creationId xmlns:a16="http://schemas.microsoft.com/office/drawing/2014/main" id="{52A9F698-69BF-65D7-CB33-38D0CF85CB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19" name="Grafik 27">
                  <a:extLst>
                    <a:ext uri="{FF2B5EF4-FFF2-40B4-BE49-F238E27FC236}">
                      <a16:creationId xmlns:a16="http://schemas.microsoft.com/office/drawing/2014/main" id="{636C6F1E-2001-561B-CB92-D0A657E7E992}"/>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116" name="Grafik 27">
                <a:extLst>
                  <a:ext uri="{FF2B5EF4-FFF2-40B4-BE49-F238E27FC236}">
                    <a16:creationId xmlns:a16="http://schemas.microsoft.com/office/drawing/2014/main" id="{20ADDE3D-4F24-DF2B-B3AB-FBDAC5257DC3}"/>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8711556"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711556" y="1039642"/>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274901" y="2202453"/>
            <a:ext cx="3061208" cy="369332"/>
          </a:xfrm>
          <a:prstGeom prst="rect">
            <a:avLst/>
          </a:prstGeom>
          <a:noFill/>
          <a:ln>
            <a:noFill/>
          </a:ln>
        </p:spPr>
        <p:txBody>
          <a:bodyPr wrap="square" rtlCol="0">
            <a:spAutoFit/>
          </a:bodyPr>
          <a:lstStyle/>
          <a:p>
            <a:r>
              <a:rPr lang="en-US" dirty="0">
                <a:solidFill>
                  <a:schemeClr val="accent1">
                    <a:lumMod val="75000"/>
                  </a:schemeClr>
                </a:solidFill>
              </a:rPr>
              <a:t>Northbound Interface (NBI)</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355693" y="4224638"/>
            <a:ext cx="3061208" cy="369332"/>
          </a:xfrm>
          <a:prstGeom prst="rect">
            <a:avLst/>
          </a:prstGeom>
          <a:noFill/>
          <a:ln>
            <a:noFill/>
          </a:ln>
        </p:spPr>
        <p:txBody>
          <a:bodyPr wrap="square" rtlCol="0">
            <a:spAutoFit/>
          </a:bodyPr>
          <a:lstStyle/>
          <a:p>
            <a:r>
              <a:rPr lang="en-US" dirty="0">
                <a:solidFill>
                  <a:schemeClr val="accent1">
                    <a:lumMod val="75000"/>
                  </a:schemeClr>
                </a:solidFill>
              </a:rPr>
              <a:t>Southbound Interface (SBI)</a:t>
            </a:r>
          </a:p>
        </p:txBody>
      </p:sp>
      <p:sp>
        <p:nvSpPr>
          <p:cNvPr id="171" name="Rectangle 170">
            <a:extLst>
              <a:ext uri="{FF2B5EF4-FFF2-40B4-BE49-F238E27FC236}">
                <a16:creationId xmlns:a16="http://schemas.microsoft.com/office/drawing/2014/main" id="{E3CFE02C-3B84-AF21-9F30-9E085858C583}"/>
              </a:ext>
            </a:extLst>
          </p:cNvPr>
          <p:cNvSpPr/>
          <p:nvPr/>
        </p:nvSpPr>
        <p:spPr>
          <a:xfrm>
            <a:off x="6861414" y="2218512"/>
            <a:ext cx="1292541"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855903" y="4145846"/>
            <a:ext cx="2648582"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OpenFlow, BGP, NetConf</a:t>
            </a:r>
          </a:p>
        </p:txBody>
      </p:sp>
    </p:spTree>
    <p:extLst>
      <p:ext uri="{BB962C8B-B14F-4D97-AF65-F5344CB8AC3E}">
        <p14:creationId xmlns:p14="http://schemas.microsoft.com/office/powerpoint/2010/main" val="42856060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18398585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3FCD87C-8C84-D5A2-8FBB-1A6EE6374FEC}"/>
              </a:ext>
            </a:extLst>
          </p:cNvPr>
          <p:cNvPicPr>
            <a:picLocks noChangeAspect="1"/>
          </p:cNvPicPr>
          <p:nvPr/>
        </p:nvPicPr>
        <p:blipFill>
          <a:blip r:embed="rId5"/>
          <a:stretch>
            <a:fillRect/>
          </a:stretch>
        </p:blipFill>
        <p:spPr>
          <a:xfrm>
            <a:off x="3645586" y="0"/>
            <a:ext cx="4900827" cy="6858000"/>
          </a:xfrm>
          <a:prstGeom prst="rect">
            <a:avLst/>
          </a:prstGeom>
        </p:spPr>
      </p:pic>
    </p:spTree>
    <p:extLst>
      <p:ext uri="{BB962C8B-B14F-4D97-AF65-F5344CB8AC3E}">
        <p14:creationId xmlns:p14="http://schemas.microsoft.com/office/powerpoint/2010/main" val="5745204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406232" y="2743197"/>
            <a:ext cx="374400" cy="374400"/>
            <a:chOff x="5843587" y="3176587"/>
            <a:chExt cx="500253" cy="500253"/>
          </a:xfrm>
          <a:solidFill>
            <a:schemeClr val="accent1">
              <a:lumMod val="75000"/>
            </a:schemeClr>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613031" y="2743197"/>
            <a:ext cx="374400" cy="374400"/>
            <a:chOff x="5843587" y="3176587"/>
            <a:chExt cx="500253" cy="500253"/>
          </a:xfrm>
          <a:solidFill>
            <a:schemeClr val="accent1">
              <a:lumMod val="75000"/>
            </a:schemeClr>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99433" y="2743197"/>
            <a:ext cx="374400" cy="374400"/>
            <a:chOff x="5843587" y="3176587"/>
            <a:chExt cx="500253" cy="500253"/>
          </a:xfrm>
          <a:solidFill>
            <a:schemeClr val="accent1">
              <a:lumMod val="75000"/>
            </a:schemeClr>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92634" y="2743197"/>
            <a:ext cx="374400" cy="374400"/>
            <a:chOff x="5843587" y="3176587"/>
            <a:chExt cx="500253" cy="500253"/>
          </a:xfrm>
          <a:solidFill>
            <a:schemeClr val="accent1">
              <a:lumMod val="75000"/>
            </a:schemeClr>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14" name="Grafik 3753">
            <a:extLst>
              <a:ext uri="{FF2B5EF4-FFF2-40B4-BE49-F238E27FC236}">
                <a16:creationId xmlns:a16="http://schemas.microsoft.com/office/drawing/2014/main" id="{E27AAC83-BD6A-9216-224B-97103214501F}"/>
              </a:ext>
            </a:extLst>
          </p:cNvPr>
          <p:cNvGrpSpPr/>
          <p:nvPr/>
        </p:nvGrpSpPr>
        <p:grpSpPr bwMode="gray">
          <a:xfrm>
            <a:off x="3267684" y="3994004"/>
            <a:ext cx="373758" cy="373758"/>
            <a:chOff x="5843587" y="3176587"/>
            <a:chExt cx="500253" cy="500253"/>
          </a:xfrm>
          <a:solidFill>
            <a:schemeClr val="accent1">
              <a:lumMod val="75000"/>
            </a:schemeClr>
          </a:solidFill>
        </p:grpSpPr>
        <p:grpSp>
          <p:nvGrpSpPr>
            <p:cNvPr id="115" name="Grafik 3753">
              <a:extLst>
                <a:ext uri="{FF2B5EF4-FFF2-40B4-BE49-F238E27FC236}">
                  <a16:creationId xmlns:a16="http://schemas.microsoft.com/office/drawing/2014/main" id="{7C6DF8E8-7552-291F-98EB-21516B1F8117}"/>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47043D93-C4FE-E74A-DD13-B97BFE7CE2CF}"/>
                  </a:ext>
                </a:extLst>
              </p:cNvPr>
              <p:cNvGrpSpPr/>
              <p:nvPr/>
            </p:nvGrpSpPr>
            <p:grpSpPr bwMode="gray">
              <a:xfrm>
                <a:off x="6118933" y="3230233"/>
                <a:ext cx="117485" cy="65892"/>
                <a:chOff x="6118933" y="3230233"/>
                <a:chExt cx="117485" cy="65892"/>
              </a:xfrm>
              <a:grpFill/>
            </p:grpSpPr>
            <p:sp>
              <p:nvSpPr>
                <p:cNvPr id="131" name="Grafik 3753">
                  <a:extLst>
                    <a:ext uri="{FF2B5EF4-FFF2-40B4-BE49-F238E27FC236}">
                      <a16:creationId xmlns:a16="http://schemas.microsoft.com/office/drawing/2014/main" id="{228FDD8B-6A3D-10A1-A1BD-6EC9AF7ED6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32" name="Grafik 3753">
                  <a:extLst>
                    <a:ext uri="{FF2B5EF4-FFF2-40B4-BE49-F238E27FC236}">
                      <a16:creationId xmlns:a16="http://schemas.microsoft.com/office/drawing/2014/main" id="{E17F888C-DB5F-872F-DB02-80E929ED87C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33" name="Grafik 3753">
                  <a:extLst>
                    <a:ext uri="{FF2B5EF4-FFF2-40B4-BE49-F238E27FC236}">
                      <a16:creationId xmlns:a16="http://schemas.microsoft.com/office/drawing/2014/main" id="{8186A77C-012B-665C-28BF-F59802C64F0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B9C6CA86-80DB-6162-0703-154B27689F5F}"/>
                  </a:ext>
                </a:extLst>
              </p:cNvPr>
              <p:cNvGrpSpPr/>
              <p:nvPr/>
            </p:nvGrpSpPr>
            <p:grpSpPr bwMode="gray">
              <a:xfrm>
                <a:off x="5951103" y="3314244"/>
                <a:ext cx="117485" cy="65892"/>
                <a:chOff x="5951103" y="3314244"/>
                <a:chExt cx="117485" cy="65892"/>
              </a:xfrm>
              <a:grpFill/>
            </p:grpSpPr>
            <p:sp>
              <p:nvSpPr>
                <p:cNvPr id="128" name="Grafik 3753">
                  <a:extLst>
                    <a:ext uri="{FF2B5EF4-FFF2-40B4-BE49-F238E27FC236}">
                      <a16:creationId xmlns:a16="http://schemas.microsoft.com/office/drawing/2014/main" id="{30CCD9B0-2E59-EA32-AB80-0FC24CBFEC9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29" name="Grafik 3753">
                  <a:extLst>
                    <a:ext uri="{FF2B5EF4-FFF2-40B4-BE49-F238E27FC236}">
                      <a16:creationId xmlns:a16="http://schemas.microsoft.com/office/drawing/2014/main" id="{264E7382-821B-1406-17A4-633BC34542B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30" name="Grafik 3753">
                  <a:extLst>
                    <a:ext uri="{FF2B5EF4-FFF2-40B4-BE49-F238E27FC236}">
                      <a16:creationId xmlns:a16="http://schemas.microsoft.com/office/drawing/2014/main" id="{D9AB3EFD-37AA-8E12-3A51-C22DD195319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9858F912-B5BA-AD60-6F18-3A5DD62FCD55}"/>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BDA30EBA-D6A8-6ED4-AEE3-CFF1A195C01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0316979D-91E5-4CEE-24EB-A42C2C3CE74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C6A49EDA-042B-7988-8BFF-CB4B0EA902A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1E441EA3-63FD-1544-0F88-4FAD06D75B0A}"/>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271EFBDC-5B61-B53B-CE0D-2CFBE1351017}"/>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EEEB08A7-02B8-D2C2-959A-7D0B7B32451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FA2D2687-74DE-CCF8-9310-61A01A39DFA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518A3E06-5D78-C0C0-E815-728815302C1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dirty="0"/>
            </a:p>
          </p:txBody>
        </p:sp>
        <p:sp>
          <p:nvSpPr>
            <p:cNvPr id="117" name="Grafik 3753">
              <a:extLst>
                <a:ext uri="{FF2B5EF4-FFF2-40B4-BE49-F238E27FC236}">
                  <a16:creationId xmlns:a16="http://schemas.microsoft.com/office/drawing/2014/main" id="{D4969171-A5B0-3E6D-018D-00E553BB832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36" name="Grafik 3753">
            <a:extLst>
              <a:ext uri="{FF2B5EF4-FFF2-40B4-BE49-F238E27FC236}">
                <a16:creationId xmlns:a16="http://schemas.microsoft.com/office/drawing/2014/main" id="{ECE7D082-692A-D3D1-6A76-0DDE31C2A478}"/>
              </a:ext>
            </a:extLst>
          </p:cNvPr>
          <p:cNvGrpSpPr/>
          <p:nvPr/>
        </p:nvGrpSpPr>
        <p:grpSpPr bwMode="gray">
          <a:xfrm>
            <a:off x="4722005" y="3994004"/>
            <a:ext cx="373758" cy="373758"/>
            <a:chOff x="5843587" y="3176587"/>
            <a:chExt cx="500253" cy="500253"/>
          </a:xfrm>
          <a:solidFill>
            <a:schemeClr val="accent1">
              <a:lumMod val="75000"/>
            </a:schemeClr>
          </a:solidFill>
        </p:grpSpPr>
        <p:grpSp>
          <p:nvGrpSpPr>
            <p:cNvPr id="137" name="Grafik 3753">
              <a:extLst>
                <a:ext uri="{FF2B5EF4-FFF2-40B4-BE49-F238E27FC236}">
                  <a16:creationId xmlns:a16="http://schemas.microsoft.com/office/drawing/2014/main" id="{E5C772A2-CF3D-190C-3F06-4C0EA0F0E992}"/>
                </a:ext>
              </a:extLst>
            </p:cNvPr>
            <p:cNvGrpSpPr/>
            <p:nvPr/>
          </p:nvGrpSpPr>
          <p:grpSpPr bwMode="gray">
            <a:xfrm>
              <a:off x="5951066" y="3230233"/>
              <a:ext cx="285352" cy="149902"/>
              <a:chOff x="5951066" y="3230233"/>
              <a:chExt cx="285352" cy="149902"/>
            </a:xfrm>
            <a:grpFill/>
          </p:grpSpPr>
          <p:grpSp>
            <p:nvGrpSpPr>
              <p:cNvPr id="140" name="Grafik 3753">
                <a:extLst>
                  <a:ext uri="{FF2B5EF4-FFF2-40B4-BE49-F238E27FC236}">
                    <a16:creationId xmlns:a16="http://schemas.microsoft.com/office/drawing/2014/main" id="{2F908F3D-6E2A-FD9E-BE3C-0C411DBC20AE}"/>
                  </a:ext>
                </a:extLst>
              </p:cNvPr>
              <p:cNvGrpSpPr/>
              <p:nvPr/>
            </p:nvGrpSpPr>
            <p:grpSpPr bwMode="gray">
              <a:xfrm>
                <a:off x="6118933" y="3230233"/>
                <a:ext cx="117485" cy="65892"/>
                <a:chOff x="6118933" y="3230233"/>
                <a:chExt cx="117485" cy="65892"/>
              </a:xfrm>
              <a:grpFill/>
            </p:grpSpPr>
            <p:sp>
              <p:nvSpPr>
                <p:cNvPr id="153" name="Grafik 3753">
                  <a:extLst>
                    <a:ext uri="{FF2B5EF4-FFF2-40B4-BE49-F238E27FC236}">
                      <a16:creationId xmlns:a16="http://schemas.microsoft.com/office/drawing/2014/main" id="{D7539804-C86E-F2F0-70B2-F39D39B67E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4" name="Grafik 3753">
                  <a:extLst>
                    <a:ext uri="{FF2B5EF4-FFF2-40B4-BE49-F238E27FC236}">
                      <a16:creationId xmlns:a16="http://schemas.microsoft.com/office/drawing/2014/main" id="{E7366068-E319-5F19-8072-C45D79FFF86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5" name="Grafik 3753">
                  <a:extLst>
                    <a:ext uri="{FF2B5EF4-FFF2-40B4-BE49-F238E27FC236}">
                      <a16:creationId xmlns:a16="http://schemas.microsoft.com/office/drawing/2014/main" id="{4B12D07B-9CFD-A5C6-AC8B-C2B27DE2654E}"/>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1" name="Grafik 3753">
                <a:extLst>
                  <a:ext uri="{FF2B5EF4-FFF2-40B4-BE49-F238E27FC236}">
                    <a16:creationId xmlns:a16="http://schemas.microsoft.com/office/drawing/2014/main" id="{3CFEB8CB-D42B-936D-F5C7-6EA273F31E1B}"/>
                  </a:ext>
                </a:extLst>
              </p:cNvPr>
              <p:cNvGrpSpPr/>
              <p:nvPr/>
            </p:nvGrpSpPr>
            <p:grpSpPr bwMode="gray">
              <a:xfrm>
                <a:off x="5951103" y="3314244"/>
                <a:ext cx="117485" cy="65892"/>
                <a:chOff x="5951103" y="3314244"/>
                <a:chExt cx="117485" cy="65892"/>
              </a:xfrm>
              <a:grpFill/>
            </p:grpSpPr>
            <p:sp>
              <p:nvSpPr>
                <p:cNvPr id="150" name="Grafik 3753">
                  <a:extLst>
                    <a:ext uri="{FF2B5EF4-FFF2-40B4-BE49-F238E27FC236}">
                      <a16:creationId xmlns:a16="http://schemas.microsoft.com/office/drawing/2014/main" id="{76C2F5C6-0B65-2980-7C03-FE58A6F3EF27}"/>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1" name="Grafik 3753">
                  <a:extLst>
                    <a:ext uri="{FF2B5EF4-FFF2-40B4-BE49-F238E27FC236}">
                      <a16:creationId xmlns:a16="http://schemas.microsoft.com/office/drawing/2014/main" id="{4295819B-E2EB-EC73-9B83-4BC148BB390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2" name="Grafik 3753">
                  <a:extLst>
                    <a:ext uri="{FF2B5EF4-FFF2-40B4-BE49-F238E27FC236}">
                      <a16:creationId xmlns:a16="http://schemas.microsoft.com/office/drawing/2014/main" id="{35E58453-A714-F8D1-4B57-DDD035A0560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2" name="Grafik 3753">
                <a:extLst>
                  <a:ext uri="{FF2B5EF4-FFF2-40B4-BE49-F238E27FC236}">
                    <a16:creationId xmlns:a16="http://schemas.microsoft.com/office/drawing/2014/main" id="{78E9F541-8DEE-4C18-E6B4-6D39C4F2772F}"/>
                  </a:ext>
                </a:extLst>
              </p:cNvPr>
              <p:cNvGrpSpPr/>
              <p:nvPr/>
            </p:nvGrpSpPr>
            <p:grpSpPr bwMode="gray">
              <a:xfrm>
                <a:off x="6118954" y="3314261"/>
                <a:ext cx="117405" cy="65875"/>
                <a:chOff x="6118954" y="3314261"/>
                <a:chExt cx="117405" cy="65875"/>
              </a:xfrm>
              <a:grpFill/>
            </p:grpSpPr>
            <p:sp>
              <p:nvSpPr>
                <p:cNvPr id="147" name="Grafik 3753">
                  <a:extLst>
                    <a:ext uri="{FF2B5EF4-FFF2-40B4-BE49-F238E27FC236}">
                      <a16:creationId xmlns:a16="http://schemas.microsoft.com/office/drawing/2014/main" id="{F87569C7-811D-EA65-DC6A-FA5556152AF0}"/>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8" name="Grafik 3753">
                  <a:extLst>
                    <a:ext uri="{FF2B5EF4-FFF2-40B4-BE49-F238E27FC236}">
                      <a16:creationId xmlns:a16="http://schemas.microsoft.com/office/drawing/2014/main" id="{4CDBC1AE-83EE-7F15-794F-D66AE48E4D9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9" name="Grafik 3753">
                  <a:extLst>
                    <a:ext uri="{FF2B5EF4-FFF2-40B4-BE49-F238E27FC236}">
                      <a16:creationId xmlns:a16="http://schemas.microsoft.com/office/drawing/2014/main" id="{F2ADD356-2EC3-CFCD-0818-8D46E9DB0D7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3" name="Grafik 3753">
                <a:extLst>
                  <a:ext uri="{FF2B5EF4-FFF2-40B4-BE49-F238E27FC236}">
                    <a16:creationId xmlns:a16="http://schemas.microsoft.com/office/drawing/2014/main" id="{360B89A3-817F-1E48-3774-C233EDC4EE23}"/>
                  </a:ext>
                </a:extLst>
              </p:cNvPr>
              <p:cNvGrpSpPr/>
              <p:nvPr/>
            </p:nvGrpSpPr>
            <p:grpSpPr bwMode="gray">
              <a:xfrm>
                <a:off x="5951066" y="3230345"/>
                <a:ext cx="117405" cy="65779"/>
                <a:chOff x="5951066" y="3230345"/>
                <a:chExt cx="117405" cy="65779"/>
              </a:xfrm>
              <a:grpFill/>
            </p:grpSpPr>
            <p:sp>
              <p:nvSpPr>
                <p:cNvPr id="144" name="Grafik 3753">
                  <a:extLst>
                    <a:ext uri="{FF2B5EF4-FFF2-40B4-BE49-F238E27FC236}">
                      <a16:creationId xmlns:a16="http://schemas.microsoft.com/office/drawing/2014/main" id="{3B6D1E32-3BDF-747A-8223-8068B1C3893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5" name="Grafik 3753">
                  <a:extLst>
                    <a:ext uri="{FF2B5EF4-FFF2-40B4-BE49-F238E27FC236}">
                      <a16:creationId xmlns:a16="http://schemas.microsoft.com/office/drawing/2014/main" id="{97E2DBB5-A54A-3F0E-66D4-5CA718596E4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6" name="Grafik 3753">
                  <a:extLst>
                    <a:ext uri="{FF2B5EF4-FFF2-40B4-BE49-F238E27FC236}">
                      <a16:creationId xmlns:a16="http://schemas.microsoft.com/office/drawing/2014/main" id="{35052433-BF8E-C319-32A1-48B907ED81C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8" name="Grafik 3753">
              <a:extLst>
                <a:ext uri="{FF2B5EF4-FFF2-40B4-BE49-F238E27FC236}">
                  <a16:creationId xmlns:a16="http://schemas.microsoft.com/office/drawing/2014/main" id="{CE025007-DD18-072D-DE6D-5B8653C576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9" name="Grafik 3753">
              <a:extLst>
                <a:ext uri="{FF2B5EF4-FFF2-40B4-BE49-F238E27FC236}">
                  <a16:creationId xmlns:a16="http://schemas.microsoft.com/office/drawing/2014/main" id="{94BFA6C4-FF87-77E0-5E11-791B0A0F7B0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6" name="Grafik 3753">
            <a:extLst>
              <a:ext uri="{FF2B5EF4-FFF2-40B4-BE49-F238E27FC236}">
                <a16:creationId xmlns:a16="http://schemas.microsoft.com/office/drawing/2014/main" id="{18ABD1A7-E4A0-4808-5B24-622229DB0006}"/>
              </a:ext>
            </a:extLst>
          </p:cNvPr>
          <p:cNvGrpSpPr/>
          <p:nvPr/>
        </p:nvGrpSpPr>
        <p:grpSpPr bwMode="gray">
          <a:xfrm>
            <a:off x="7613654" y="3994004"/>
            <a:ext cx="373758" cy="373758"/>
            <a:chOff x="5843587" y="3176587"/>
            <a:chExt cx="500253" cy="500253"/>
          </a:xfrm>
          <a:solidFill>
            <a:schemeClr val="accent1">
              <a:lumMod val="75000"/>
            </a:schemeClr>
          </a:solidFill>
        </p:grpSpPr>
        <p:grpSp>
          <p:nvGrpSpPr>
            <p:cNvPr id="157" name="Grafik 3753">
              <a:extLst>
                <a:ext uri="{FF2B5EF4-FFF2-40B4-BE49-F238E27FC236}">
                  <a16:creationId xmlns:a16="http://schemas.microsoft.com/office/drawing/2014/main" id="{E4B39905-8473-BB14-51FF-5D55B2BE7508}"/>
                </a:ext>
              </a:extLst>
            </p:cNvPr>
            <p:cNvGrpSpPr/>
            <p:nvPr/>
          </p:nvGrpSpPr>
          <p:grpSpPr bwMode="gray">
            <a:xfrm>
              <a:off x="5951066" y="3230233"/>
              <a:ext cx="285352" cy="149902"/>
              <a:chOff x="5951066" y="3230233"/>
              <a:chExt cx="285352" cy="149902"/>
            </a:xfrm>
            <a:grpFill/>
          </p:grpSpPr>
          <p:grpSp>
            <p:nvGrpSpPr>
              <p:cNvPr id="160" name="Grafik 3753">
                <a:extLst>
                  <a:ext uri="{FF2B5EF4-FFF2-40B4-BE49-F238E27FC236}">
                    <a16:creationId xmlns:a16="http://schemas.microsoft.com/office/drawing/2014/main" id="{34F9E2A7-7473-D073-11C8-71709CAE62A3}"/>
                  </a:ext>
                </a:extLst>
              </p:cNvPr>
              <p:cNvGrpSpPr/>
              <p:nvPr/>
            </p:nvGrpSpPr>
            <p:grpSpPr bwMode="gray">
              <a:xfrm>
                <a:off x="6118933" y="3230233"/>
                <a:ext cx="117485" cy="65892"/>
                <a:chOff x="6118933" y="3230233"/>
                <a:chExt cx="117485" cy="65892"/>
              </a:xfrm>
              <a:grpFill/>
            </p:grpSpPr>
            <p:sp>
              <p:nvSpPr>
                <p:cNvPr id="173" name="Grafik 3753">
                  <a:extLst>
                    <a:ext uri="{FF2B5EF4-FFF2-40B4-BE49-F238E27FC236}">
                      <a16:creationId xmlns:a16="http://schemas.microsoft.com/office/drawing/2014/main" id="{FA1FE865-5590-FE90-170F-540E6DE3D2EF}"/>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74" name="Grafik 3753">
                  <a:extLst>
                    <a:ext uri="{FF2B5EF4-FFF2-40B4-BE49-F238E27FC236}">
                      <a16:creationId xmlns:a16="http://schemas.microsoft.com/office/drawing/2014/main" id="{5A99B986-78FE-5F6D-ADA6-007F26C7F29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75" name="Grafik 3753">
                  <a:extLst>
                    <a:ext uri="{FF2B5EF4-FFF2-40B4-BE49-F238E27FC236}">
                      <a16:creationId xmlns:a16="http://schemas.microsoft.com/office/drawing/2014/main" id="{AAFE0401-87D7-4714-330B-58ED9F90AB0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61" name="Grafik 3753">
                <a:extLst>
                  <a:ext uri="{FF2B5EF4-FFF2-40B4-BE49-F238E27FC236}">
                    <a16:creationId xmlns:a16="http://schemas.microsoft.com/office/drawing/2014/main" id="{38E71DBE-B30B-D74E-1918-4F5F71DF945A}"/>
                  </a:ext>
                </a:extLst>
              </p:cNvPr>
              <p:cNvGrpSpPr/>
              <p:nvPr/>
            </p:nvGrpSpPr>
            <p:grpSpPr bwMode="gray">
              <a:xfrm>
                <a:off x="5951103" y="3314244"/>
                <a:ext cx="117485" cy="65892"/>
                <a:chOff x="5951103" y="3314244"/>
                <a:chExt cx="117485" cy="65892"/>
              </a:xfrm>
              <a:grpFill/>
            </p:grpSpPr>
            <p:sp>
              <p:nvSpPr>
                <p:cNvPr id="170" name="Grafik 3753">
                  <a:extLst>
                    <a:ext uri="{FF2B5EF4-FFF2-40B4-BE49-F238E27FC236}">
                      <a16:creationId xmlns:a16="http://schemas.microsoft.com/office/drawing/2014/main" id="{A6FCA650-E78D-CFAB-260C-CCA7044BEDD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71" name="Grafik 3753">
                  <a:extLst>
                    <a:ext uri="{FF2B5EF4-FFF2-40B4-BE49-F238E27FC236}">
                      <a16:creationId xmlns:a16="http://schemas.microsoft.com/office/drawing/2014/main" id="{8C1D4EA3-3CC3-6972-D7E2-BF82B9EEB1BB}"/>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72" name="Grafik 3753">
                  <a:extLst>
                    <a:ext uri="{FF2B5EF4-FFF2-40B4-BE49-F238E27FC236}">
                      <a16:creationId xmlns:a16="http://schemas.microsoft.com/office/drawing/2014/main" id="{2C80721B-25ED-5C70-865A-F27EB13DE8C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62" name="Grafik 3753">
                <a:extLst>
                  <a:ext uri="{FF2B5EF4-FFF2-40B4-BE49-F238E27FC236}">
                    <a16:creationId xmlns:a16="http://schemas.microsoft.com/office/drawing/2014/main" id="{6392AD7C-3971-9DAB-E8F6-8FC6A30BF3BD}"/>
                  </a:ext>
                </a:extLst>
              </p:cNvPr>
              <p:cNvGrpSpPr/>
              <p:nvPr/>
            </p:nvGrpSpPr>
            <p:grpSpPr bwMode="gray">
              <a:xfrm>
                <a:off x="6118954" y="3314261"/>
                <a:ext cx="117405" cy="65875"/>
                <a:chOff x="6118954" y="3314261"/>
                <a:chExt cx="117405" cy="65875"/>
              </a:xfrm>
              <a:grpFill/>
            </p:grpSpPr>
            <p:sp>
              <p:nvSpPr>
                <p:cNvPr id="167" name="Grafik 3753">
                  <a:extLst>
                    <a:ext uri="{FF2B5EF4-FFF2-40B4-BE49-F238E27FC236}">
                      <a16:creationId xmlns:a16="http://schemas.microsoft.com/office/drawing/2014/main" id="{3D650349-4ABE-33D6-BDDE-81865285334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68" name="Grafik 3753">
                  <a:extLst>
                    <a:ext uri="{FF2B5EF4-FFF2-40B4-BE49-F238E27FC236}">
                      <a16:creationId xmlns:a16="http://schemas.microsoft.com/office/drawing/2014/main" id="{590A38E7-8E86-B2DC-272C-40EAFD6A724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69" name="Grafik 3753">
                  <a:extLst>
                    <a:ext uri="{FF2B5EF4-FFF2-40B4-BE49-F238E27FC236}">
                      <a16:creationId xmlns:a16="http://schemas.microsoft.com/office/drawing/2014/main" id="{E00AAB9A-129D-6CD3-CEC9-B4A35AA184D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63" name="Grafik 3753">
                <a:extLst>
                  <a:ext uri="{FF2B5EF4-FFF2-40B4-BE49-F238E27FC236}">
                    <a16:creationId xmlns:a16="http://schemas.microsoft.com/office/drawing/2014/main" id="{98E05D80-6581-8382-756A-868AAE421FDD}"/>
                  </a:ext>
                </a:extLst>
              </p:cNvPr>
              <p:cNvGrpSpPr/>
              <p:nvPr/>
            </p:nvGrpSpPr>
            <p:grpSpPr bwMode="gray">
              <a:xfrm>
                <a:off x="5951066" y="3230345"/>
                <a:ext cx="117405" cy="65779"/>
                <a:chOff x="5951066" y="3230345"/>
                <a:chExt cx="117405" cy="65779"/>
              </a:xfrm>
              <a:grpFill/>
            </p:grpSpPr>
            <p:sp>
              <p:nvSpPr>
                <p:cNvPr id="164" name="Grafik 3753">
                  <a:extLst>
                    <a:ext uri="{FF2B5EF4-FFF2-40B4-BE49-F238E27FC236}">
                      <a16:creationId xmlns:a16="http://schemas.microsoft.com/office/drawing/2014/main" id="{FCF06A4F-7E36-996D-CDDE-68AC928C82C4}"/>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65" name="Grafik 3753">
                  <a:extLst>
                    <a:ext uri="{FF2B5EF4-FFF2-40B4-BE49-F238E27FC236}">
                      <a16:creationId xmlns:a16="http://schemas.microsoft.com/office/drawing/2014/main" id="{857ED35C-5DA2-BC45-D601-F4699A9B88A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66" name="Grafik 3753">
                  <a:extLst>
                    <a:ext uri="{FF2B5EF4-FFF2-40B4-BE49-F238E27FC236}">
                      <a16:creationId xmlns:a16="http://schemas.microsoft.com/office/drawing/2014/main" id="{085D26B6-27BD-A1CF-A352-52D0A65EECC3}"/>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8" name="Grafik 3753">
              <a:extLst>
                <a:ext uri="{FF2B5EF4-FFF2-40B4-BE49-F238E27FC236}">
                  <a16:creationId xmlns:a16="http://schemas.microsoft.com/office/drawing/2014/main" id="{E6B981C8-3625-A325-F0D7-E916092EFF9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59" name="Grafik 3753">
              <a:extLst>
                <a:ext uri="{FF2B5EF4-FFF2-40B4-BE49-F238E27FC236}">
                  <a16:creationId xmlns:a16="http://schemas.microsoft.com/office/drawing/2014/main" id="{0A3F8D1C-CADF-1792-A194-B4A8F6CC5A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178" name="Straight Connector 177">
            <a:extLst>
              <a:ext uri="{FF2B5EF4-FFF2-40B4-BE49-F238E27FC236}">
                <a16:creationId xmlns:a16="http://schemas.microsoft.com/office/drawing/2014/main" id="{DB786F56-D555-0F65-C7D3-3734BE335CF3}"/>
              </a:ext>
            </a:extLst>
          </p:cNvPr>
          <p:cNvCxnSpPr>
            <a:cxnSpLocks/>
            <a:stCxn id="111" idx="4"/>
            <a:endCxn id="181" idx="2"/>
          </p:cNvCxnSpPr>
          <p:nvPr/>
        </p:nvCxnSpPr>
        <p:spPr>
          <a:xfrm flipV="1">
            <a:off x="4365465" y="2097395"/>
            <a:ext cx="1356135" cy="6473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9" name="Grafik 17">
            <a:extLst>
              <a:ext uri="{FF2B5EF4-FFF2-40B4-BE49-F238E27FC236}">
                <a16:creationId xmlns:a16="http://schemas.microsoft.com/office/drawing/2014/main" id="{E917DC60-9685-6E8B-0722-35D855C20CF5}"/>
              </a:ext>
            </a:extLst>
          </p:cNvPr>
          <p:cNvGrpSpPr/>
          <p:nvPr/>
        </p:nvGrpSpPr>
        <p:grpSpPr bwMode="gray">
          <a:xfrm>
            <a:off x="5721600" y="1728342"/>
            <a:ext cx="374400" cy="374400"/>
            <a:chOff x="5843587" y="3176587"/>
            <a:chExt cx="500253" cy="500253"/>
          </a:xfrm>
          <a:solidFill>
            <a:schemeClr val="accent1">
              <a:lumMod val="75000"/>
            </a:schemeClr>
          </a:solidFill>
        </p:grpSpPr>
        <p:sp>
          <p:nvSpPr>
            <p:cNvPr id="180" name="Grafik 17">
              <a:extLst>
                <a:ext uri="{FF2B5EF4-FFF2-40B4-BE49-F238E27FC236}">
                  <a16:creationId xmlns:a16="http://schemas.microsoft.com/office/drawing/2014/main" id="{EC38A597-DD64-5424-9475-953CFF982F1E}"/>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181" name="Grafik 17">
              <a:extLst>
                <a:ext uri="{FF2B5EF4-FFF2-40B4-BE49-F238E27FC236}">
                  <a16:creationId xmlns:a16="http://schemas.microsoft.com/office/drawing/2014/main" id="{ABCA9DC4-9A26-8E38-E145-773F947FFE6B}"/>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182" name="Grafik 17">
              <a:extLst>
                <a:ext uri="{FF2B5EF4-FFF2-40B4-BE49-F238E27FC236}">
                  <a16:creationId xmlns:a16="http://schemas.microsoft.com/office/drawing/2014/main" id="{57D79DD2-0706-3B6F-BEFF-D668A46003C7}"/>
                </a:ext>
              </a:extLst>
            </p:cNvPr>
            <p:cNvGrpSpPr/>
            <p:nvPr/>
          </p:nvGrpSpPr>
          <p:grpSpPr bwMode="gray">
            <a:xfrm>
              <a:off x="5951338" y="3239571"/>
              <a:ext cx="284749" cy="131325"/>
              <a:chOff x="5951338" y="3239571"/>
              <a:chExt cx="284749" cy="131325"/>
            </a:xfrm>
            <a:grpFill/>
          </p:grpSpPr>
          <p:grpSp>
            <p:nvGrpSpPr>
              <p:cNvPr id="183" name="Grafik 17">
                <a:extLst>
                  <a:ext uri="{FF2B5EF4-FFF2-40B4-BE49-F238E27FC236}">
                    <a16:creationId xmlns:a16="http://schemas.microsoft.com/office/drawing/2014/main" id="{75C337E2-70B1-ED9E-72FF-0A87EE489B2D}"/>
                  </a:ext>
                </a:extLst>
              </p:cNvPr>
              <p:cNvGrpSpPr/>
              <p:nvPr/>
            </p:nvGrpSpPr>
            <p:grpSpPr bwMode="gray">
              <a:xfrm>
                <a:off x="5963149" y="3239571"/>
                <a:ext cx="119419" cy="51030"/>
                <a:chOff x="5963149" y="3239571"/>
                <a:chExt cx="119419" cy="51030"/>
              </a:xfrm>
              <a:grpFill/>
            </p:grpSpPr>
            <p:sp>
              <p:nvSpPr>
                <p:cNvPr id="196" name="Grafik 17">
                  <a:extLst>
                    <a:ext uri="{FF2B5EF4-FFF2-40B4-BE49-F238E27FC236}">
                      <a16:creationId xmlns:a16="http://schemas.microsoft.com/office/drawing/2014/main" id="{0308E1FE-D601-463D-93B7-54E51A3B8441}"/>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197" name="Grafik 17">
                  <a:extLst>
                    <a:ext uri="{FF2B5EF4-FFF2-40B4-BE49-F238E27FC236}">
                      <a16:creationId xmlns:a16="http://schemas.microsoft.com/office/drawing/2014/main" id="{418171E1-61E6-36F8-9B96-B267BDC20B58}"/>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198" name="Grafik 17">
                  <a:extLst>
                    <a:ext uri="{FF2B5EF4-FFF2-40B4-BE49-F238E27FC236}">
                      <a16:creationId xmlns:a16="http://schemas.microsoft.com/office/drawing/2014/main" id="{1E65A753-85EC-C640-4750-14FE83AE951A}"/>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184" name="Grafik 17">
                <a:extLst>
                  <a:ext uri="{FF2B5EF4-FFF2-40B4-BE49-F238E27FC236}">
                    <a16:creationId xmlns:a16="http://schemas.microsoft.com/office/drawing/2014/main" id="{DD83FF8A-51A5-9894-C35F-EB751F941E83}"/>
                  </a:ext>
                </a:extLst>
              </p:cNvPr>
              <p:cNvGrpSpPr/>
              <p:nvPr/>
            </p:nvGrpSpPr>
            <p:grpSpPr bwMode="gray">
              <a:xfrm>
                <a:off x="5951338" y="3319866"/>
                <a:ext cx="131230" cy="51030"/>
                <a:chOff x="5951338" y="3319866"/>
                <a:chExt cx="131230" cy="51030"/>
              </a:xfrm>
              <a:grpFill/>
            </p:grpSpPr>
            <p:sp>
              <p:nvSpPr>
                <p:cNvPr id="193" name="Grafik 17">
                  <a:extLst>
                    <a:ext uri="{FF2B5EF4-FFF2-40B4-BE49-F238E27FC236}">
                      <a16:creationId xmlns:a16="http://schemas.microsoft.com/office/drawing/2014/main" id="{58B99761-F9D9-B3D1-BA3F-0E98F6687EE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194" name="Grafik 17">
                  <a:extLst>
                    <a:ext uri="{FF2B5EF4-FFF2-40B4-BE49-F238E27FC236}">
                      <a16:creationId xmlns:a16="http://schemas.microsoft.com/office/drawing/2014/main" id="{2602B8A9-D816-9C5D-FD70-8115B193559E}"/>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195" name="Grafik 17">
                  <a:extLst>
                    <a:ext uri="{FF2B5EF4-FFF2-40B4-BE49-F238E27FC236}">
                      <a16:creationId xmlns:a16="http://schemas.microsoft.com/office/drawing/2014/main" id="{7A82EACF-C96A-B391-CBDB-84A1B981FC39}"/>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185" name="Grafik 17">
                <a:extLst>
                  <a:ext uri="{FF2B5EF4-FFF2-40B4-BE49-F238E27FC236}">
                    <a16:creationId xmlns:a16="http://schemas.microsoft.com/office/drawing/2014/main" id="{504C4DDB-AEFE-6348-1FC6-866204EC4F90}"/>
                  </a:ext>
                </a:extLst>
              </p:cNvPr>
              <p:cNvGrpSpPr/>
              <p:nvPr/>
            </p:nvGrpSpPr>
            <p:grpSpPr bwMode="gray">
              <a:xfrm>
                <a:off x="6104953" y="3239571"/>
                <a:ext cx="119514" cy="51030"/>
                <a:chOff x="6104953" y="3239571"/>
                <a:chExt cx="119514" cy="51030"/>
              </a:xfrm>
              <a:grpFill/>
            </p:grpSpPr>
            <p:sp>
              <p:nvSpPr>
                <p:cNvPr id="190" name="Grafik 17">
                  <a:extLst>
                    <a:ext uri="{FF2B5EF4-FFF2-40B4-BE49-F238E27FC236}">
                      <a16:creationId xmlns:a16="http://schemas.microsoft.com/office/drawing/2014/main" id="{AAF630CE-D48D-012F-EFC4-3B933DEE07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191" name="Grafik 17">
                  <a:extLst>
                    <a:ext uri="{FF2B5EF4-FFF2-40B4-BE49-F238E27FC236}">
                      <a16:creationId xmlns:a16="http://schemas.microsoft.com/office/drawing/2014/main" id="{2C8A879D-7C78-6467-9ECB-68F7E991734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192" name="Grafik 17">
                  <a:extLst>
                    <a:ext uri="{FF2B5EF4-FFF2-40B4-BE49-F238E27FC236}">
                      <a16:creationId xmlns:a16="http://schemas.microsoft.com/office/drawing/2014/main" id="{D8C9C8C3-D516-66FF-281D-72168A599CA7}"/>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186" name="Grafik 17">
                <a:extLst>
                  <a:ext uri="{FF2B5EF4-FFF2-40B4-BE49-F238E27FC236}">
                    <a16:creationId xmlns:a16="http://schemas.microsoft.com/office/drawing/2014/main" id="{1606541B-85D3-07D5-65D0-CA28DB2BECF0}"/>
                  </a:ext>
                </a:extLst>
              </p:cNvPr>
              <p:cNvGrpSpPr/>
              <p:nvPr/>
            </p:nvGrpSpPr>
            <p:grpSpPr bwMode="gray">
              <a:xfrm>
                <a:off x="6104953" y="3319866"/>
                <a:ext cx="131135" cy="51030"/>
                <a:chOff x="6104953" y="3319866"/>
                <a:chExt cx="131135" cy="51030"/>
              </a:xfrm>
              <a:grpFill/>
            </p:grpSpPr>
            <p:sp>
              <p:nvSpPr>
                <p:cNvPr id="187" name="Grafik 17">
                  <a:extLst>
                    <a:ext uri="{FF2B5EF4-FFF2-40B4-BE49-F238E27FC236}">
                      <a16:creationId xmlns:a16="http://schemas.microsoft.com/office/drawing/2014/main" id="{B20D4FDA-E268-2DE4-5921-EBC4BD422244}"/>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188" name="Grafik 17">
                  <a:extLst>
                    <a:ext uri="{FF2B5EF4-FFF2-40B4-BE49-F238E27FC236}">
                      <a16:creationId xmlns:a16="http://schemas.microsoft.com/office/drawing/2014/main" id="{4A71C506-E975-FD52-2F2F-7C82A2213AC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189" name="Grafik 17">
                  <a:extLst>
                    <a:ext uri="{FF2B5EF4-FFF2-40B4-BE49-F238E27FC236}">
                      <a16:creationId xmlns:a16="http://schemas.microsoft.com/office/drawing/2014/main" id="{BE123353-49D7-1B69-A75D-5C29D0C4D3BD}"/>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cxnSp>
        <p:nvCxnSpPr>
          <p:cNvPr id="201" name="Straight Connector 200">
            <a:extLst>
              <a:ext uri="{FF2B5EF4-FFF2-40B4-BE49-F238E27FC236}">
                <a16:creationId xmlns:a16="http://schemas.microsoft.com/office/drawing/2014/main" id="{5BD42AA1-F07F-C2A2-07C2-7CA9CE3A3933}"/>
              </a:ext>
            </a:extLst>
          </p:cNvPr>
          <p:cNvCxnSpPr>
            <a:cxnSpLocks/>
            <a:stCxn id="83" idx="4"/>
            <a:endCxn id="181" idx="9"/>
          </p:cNvCxnSpPr>
          <p:nvPr/>
        </p:nvCxnSpPr>
        <p:spPr>
          <a:xfrm flipV="1">
            <a:off x="5572264" y="2092048"/>
            <a:ext cx="160029"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1036680-6762-ABDA-CAAB-427B87AA4E07}"/>
              </a:ext>
            </a:extLst>
          </p:cNvPr>
          <p:cNvCxnSpPr>
            <a:cxnSpLocks/>
            <a:stCxn id="28" idx="4"/>
            <a:endCxn id="181" idx="10"/>
          </p:cNvCxnSpPr>
          <p:nvPr/>
        </p:nvCxnSpPr>
        <p:spPr>
          <a:xfrm flipH="1" flipV="1">
            <a:off x="6085307" y="2092048"/>
            <a:ext cx="378524"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B2BBEBF-FC07-FBB8-37FE-9712FDC86EB1}"/>
              </a:ext>
            </a:extLst>
          </p:cNvPr>
          <p:cNvCxnSpPr>
            <a:cxnSpLocks/>
            <a:stCxn id="56" idx="4"/>
            <a:endCxn id="181" idx="10"/>
          </p:cNvCxnSpPr>
          <p:nvPr/>
        </p:nvCxnSpPr>
        <p:spPr>
          <a:xfrm flipH="1" flipV="1">
            <a:off x="6085307" y="2092048"/>
            <a:ext cx="1585323"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820D728-CFBB-064B-9D49-D6663B5D5F8D}"/>
              </a:ext>
            </a:extLst>
          </p:cNvPr>
          <p:cNvCxnSpPr>
            <a:cxnSpLocks/>
            <a:stCxn id="116" idx="2"/>
            <a:endCxn id="109" idx="1"/>
          </p:cNvCxnSpPr>
          <p:nvPr/>
        </p:nvCxnSpPr>
        <p:spPr>
          <a:xfrm flipV="1">
            <a:off x="3454563" y="3117597"/>
            <a:ext cx="543418" cy="87640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138" idx="2"/>
            <a:endCxn id="109" idx="10"/>
          </p:cNvCxnSpPr>
          <p:nvPr/>
        </p:nvCxnSpPr>
        <p:spPr>
          <a:xfrm flipH="1" flipV="1">
            <a:off x="4307866" y="3106904"/>
            <a:ext cx="601018"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a:stCxn id="158" idx="2"/>
          </p:cNvCxnSpPr>
          <p:nvPr/>
        </p:nvCxnSpPr>
        <p:spPr>
          <a:xfrm flipH="1" flipV="1">
            <a:off x="7781646" y="31069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323153" y="293480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517780" y="293024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728899" y="2924563"/>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7538F59-4C98-4FF0-D24C-94E6D1F00E75}"/>
              </a:ext>
            </a:extLst>
          </p:cNvPr>
          <p:cNvCxnSpPr>
            <a:cxnSpLocks/>
          </p:cNvCxnSpPr>
          <p:nvPr/>
        </p:nvCxnSpPr>
        <p:spPr>
          <a:xfrm flipV="1">
            <a:off x="5908799" y="1532374"/>
            <a:ext cx="0" cy="19596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115651" y="31289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11737" y="3124582"/>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8008124" y="280288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430862" y="2810584"/>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547738" y="2470587"/>
            <a:ext cx="963725" cy="230832"/>
          </a:xfrm>
          <a:prstGeom prst="rect">
            <a:avLst/>
          </a:prstGeom>
          <a:noFill/>
        </p:spPr>
        <p:txBody>
          <a:bodyPr wrap="none" rtlCol="0">
            <a:spAutoFit/>
          </a:bodyPr>
          <a:lstStyle/>
          <a:p>
            <a:r>
              <a:rPr lang="en-US" sz="900" dirty="0">
                <a:solidFill>
                  <a:srgbClr val="FF0000"/>
                </a:solidFill>
              </a:rPr>
              <a:t>192.168.122.161</a:t>
            </a:r>
            <a:endParaRPr lang="en-DE" sz="900" dirty="0">
              <a:solidFill>
                <a:srgbClr val="FF0000"/>
              </a:solidFill>
            </a:endParaRPr>
          </a:p>
        </p:txBody>
      </p:sp>
      <p:sp>
        <p:nvSpPr>
          <p:cNvPr id="233" name="TextBox 232">
            <a:extLst>
              <a:ext uri="{FF2B5EF4-FFF2-40B4-BE49-F238E27FC236}">
                <a16:creationId xmlns:a16="http://schemas.microsoft.com/office/drawing/2014/main" id="{12461565-6A32-1E60-5648-AF3D02FD1A8D}"/>
              </a:ext>
            </a:extLst>
          </p:cNvPr>
          <p:cNvSpPr txBox="1"/>
          <p:nvPr/>
        </p:nvSpPr>
        <p:spPr>
          <a:xfrm>
            <a:off x="7492866" y="2470587"/>
            <a:ext cx="963725" cy="230832"/>
          </a:xfrm>
          <a:prstGeom prst="rect">
            <a:avLst/>
          </a:prstGeom>
          <a:noFill/>
        </p:spPr>
        <p:txBody>
          <a:bodyPr wrap="none" rtlCol="0">
            <a:spAutoFit/>
          </a:bodyPr>
          <a:lstStyle/>
          <a:p>
            <a:r>
              <a:rPr lang="en-US" sz="900" dirty="0">
                <a:solidFill>
                  <a:srgbClr val="FF0000"/>
                </a:solidFill>
              </a:rPr>
              <a:t>192.168.122.164</a:t>
            </a:r>
            <a:endParaRPr lang="en-DE" sz="900" dirty="0">
              <a:solidFill>
                <a:srgbClr val="FF0000"/>
              </a:solidFill>
            </a:endParaRPr>
          </a:p>
        </p:txBody>
      </p:sp>
      <p:sp>
        <p:nvSpPr>
          <p:cNvPr id="234" name="TextBox 233">
            <a:extLst>
              <a:ext uri="{FF2B5EF4-FFF2-40B4-BE49-F238E27FC236}">
                <a16:creationId xmlns:a16="http://schemas.microsoft.com/office/drawing/2014/main" id="{7D8A7678-E44F-2C9A-48A2-F6C16BBB9652}"/>
              </a:ext>
            </a:extLst>
          </p:cNvPr>
          <p:cNvSpPr txBox="1"/>
          <p:nvPr/>
        </p:nvSpPr>
        <p:spPr>
          <a:xfrm>
            <a:off x="6334982" y="2470587"/>
            <a:ext cx="963725" cy="230832"/>
          </a:xfrm>
          <a:prstGeom prst="rect">
            <a:avLst/>
          </a:prstGeom>
          <a:noFill/>
        </p:spPr>
        <p:txBody>
          <a:bodyPr wrap="none" rtlCol="0">
            <a:spAutoFit/>
          </a:bodyPr>
          <a:lstStyle/>
          <a:p>
            <a:r>
              <a:rPr lang="en-US" sz="900" dirty="0">
                <a:solidFill>
                  <a:srgbClr val="FF0000"/>
                </a:solidFill>
              </a:rPr>
              <a:t>192.168.122.163</a:t>
            </a:r>
            <a:endParaRPr lang="en-DE" sz="900" dirty="0">
              <a:solidFill>
                <a:srgbClr val="FF0000"/>
              </a:solidFill>
            </a:endParaRPr>
          </a:p>
        </p:txBody>
      </p:sp>
      <p:sp>
        <p:nvSpPr>
          <p:cNvPr id="235" name="TextBox 234">
            <a:extLst>
              <a:ext uri="{FF2B5EF4-FFF2-40B4-BE49-F238E27FC236}">
                <a16:creationId xmlns:a16="http://schemas.microsoft.com/office/drawing/2014/main" id="{A437069B-F58D-C538-4F12-84135A3DC661}"/>
              </a:ext>
            </a:extLst>
          </p:cNvPr>
          <p:cNvSpPr txBox="1"/>
          <p:nvPr/>
        </p:nvSpPr>
        <p:spPr>
          <a:xfrm>
            <a:off x="4734426" y="2470587"/>
            <a:ext cx="963725" cy="230832"/>
          </a:xfrm>
          <a:prstGeom prst="rect">
            <a:avLst/>
          </a:prstGeom>
          <a:noFill/>
        </p:spPr>
        <p:txBody>
          <a:bodyPr wrap="none" rtlCol="0">
            <a:spAutoFit/>
          </a:bodyPr>
          <a:lstStyle/>
          <a:p>
            <a:r>
              <a:rPr lang="en-US" sz="900" dirty="0">
                <a:solidFill>
                  <a:srgbClr val="FF0000"/>
                </a:solidFill>
              </a:rPr>
              <a:t>192.168.122.162</a:t>
            </a:r>
            <a:endParaRPr lang="en-DE" sz="900" dirty="0">
              <a:solidFill>
                <a:srgbClr val="FF0000"/>
              </a:solidFill>
            </a:endParaRPr>
          </a:p>
        </p:txBody>
      </p:sp>
      <p:sp>
        <p:nvSpPr>
          <p:cNvPr id="236" name="TextBox 235">
            <a:extLst>
              <a:ext uri="{FF2B5EF4-FFF2-40B4-BE49-F238E27FC236}">
                <a16:creationId xmlns:a16="http://schemas.microsoft.com/office/drawing/2014/main" id="{FA2EEF77-7CC2-6596-14F8-6B295F37168A}"/>
              </a:ext>
            </a:extLst>
          </p:cNvPr>
          <p:cNvSpPr txBox="1"/>
          <p:nvPr/>
        </p:nvSpPr>
        <p:spPr>
          <a:xfrm>
            <a:off x="2811494" y="3771596"/>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37" name="TextBox 236">
            <a:extLst>
              <a:ext uri="{FF2B5EF4-FFF2-40B4-BE49-F238E27FC236}">
                <a16:creationId xmlns:a16="http://schemas.microsoft.com/office/drawing/2014/main" id="{6035BC7F-4E57-2370-667A-C460C3EAEA10}"/>
              </a:ext>
            </a:extLst>
          </p:cNvPr>
          <p:cNvSpPr txBox="1"/>
          <p:nvPr/>
        </p:nvSpPr>
        <p:spPr>
          <a:xfrm>
            <a:off x="4824179" y="3771596"/>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238" name="TextBox 237">
            <a:extLst>
              <a:ext uri="{FF2B5EF4-FFF2-40B4-BE49-F238E27FC236}">
                <a16:creationId xmlns:a16="http://schemas.microsoft.com/office/drawing/2014/main" id="{28DD8293-65A8-96F2-60B3-CD070EE3FED3}"/>
              </a:ext>
            </a:extLst>
          </p:cNvPr>
          <p:cNvSpPr txBox="1"/>
          <p:nvPr/>
        </p:nvSpPr>
        <p:spPr>
          <a:xfrm>
            <a:off x="7800533" y="3771596"/>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239" name="TextBox 238">
            <a:extLst>
              <a:ext uri="{FF2B5EF4-FFF2-40B4-BE49-F238E27FC236}">
                <a16:creationId xmlns:a16="http://schemas.microsoft.com/office/drawing/2014/main" id="{89B519F9-8FF1-2CDB-05DC-61DA7E648DC4}"/>
              </a:ext>
            </a:extLst>
          </p:cNvPr>
          <p:cNvSpPr txBox="1"/>
          <p:nvPr/>
        </p:nvSpPr>
        <p:spPr>
          <a:xfrm>
            <a:off x="4044782" y="2578729"/>
            <a:ext cx="399468" cy="230832"/>
          </a:xfrm>
          <a:prstGeom prst="rect">
            <a:avLst/>
          </a:prstGeom>
          <a:noFill/>
        </p:spPr>
        <p:txBody>
          <a:bodyPr wrap="none" rtlCol="0">
            <a:spAutoFit/>
          </a:bodyPr>
          <a:lstStyle/>
          <a:p>
            <a:r>
              <a:rPr lang="en-US" sz="900" dirty="0"/>
              <a:t>eth0</a:t>
            </a:r>
            <a:endParaRPr lang="en-DE" sz="900" dirty="0"/>
          </a:p>
        </p:txBody>
      </p:sp>
      <p:sp>
        <p:nvSpPr>
          <p:cNvPr id="240" name="TextBox 239">
            <a:extLst>
              <a:ext uri="{FF2B5EF4-FFF2-40B4-BE49-F238E27FC236}">
                <a16:creationId xmlns:a16="http://schemas.microsoft.com/office/drawing/2014/main" id="{F58F9E04-AB3C-4FB3-CDFF-2849E2CFDEB5}"/>
              </a:ext>
            </a:extLst>
          </p:cNvPr>
          <p:cNvSpPr txBox="1"/>
          <p:nvPr/>
        </p:nvSpPr>
        <p:spPr>
          <a:xfrm>
            <a:off x="7575261" y="2578729"/>
            <a:ext cx="399468" cy="230832"/>
          </a:xfrm>
          <a:prstGeom prst="rect">
            <a:avLst/>
          </a:prstGeom>
          <a:noFill/>
        </p:spPr>
        <p:txBody>
          <a:bodyPr wrap="none" rtlCol="0">
            <a:spAutoFit/>
          </a:bodyPr>
          <a:lstStyle/>
          <a:p>
            <a:r>
              <a:rPr lang="en-US" sz="900" dirty="0"/>
              <a:t>eth0</a:t>
            </a:r>
            <a:endParaRPr lang="en-DE" sz="900" dirty="0"/>
          </a:p>
        </p:txBody>
      </p:sp>
      <p:grpSp>
        <p:nvGrpSpPr>
          <p:cNvPr id="252" name="Grafik 23">
            <a:extLst>
              <a:ext uri="{FF2B5EF4-FFF2-40B4-BE49-F238E27FC236}">
                <a16:creationId xmlns:a16="http://schemas.microsoft.com/office/drawing/2014/main" id="{80359D61-8602-5F76-7459-3602014E4178}"/>
              </a:ext>
            </a:extLst>
          </p:cNvPr>
          <p:cNvGrpSpPr>
            <a:grpSpLocks noChangeAspect="1"/>
          </p:cNvGrpSpPr>
          <p:nvPr/>
        </p:nvGrpSpPr>
        <p:grpSpPr bwMode="gray">
          <a:xfrm>
            <a:off x="7031259" y="1055294"/>
            <a:ext cx="374400" cy="464640"/>
            <a:chOff x="5895975" y="3176587"/>
            <a:chExt cx="403097" cy="500253"/>
          </a:xfrm>
          <a:solidFill>
            <a:schemeClr val="accent1">
              <a:lumMod val="75000"/>
            </a:schemeClr>
          </a:solidFill>
        </p:grpSpPr>
        <p:sp>
          <p:nvSpPr>
            <p:cNvPr id="253" name="Grafik 23">
              <a:extLst>
                <a:ext uri="{FF2B5EF4-FFF2-40B4-BE49-F238E27FC236}">
                  <a16:creationId xmlns:a16="http://schemas.microsoft.com/office/drawing/2014/main" id="{E9A8E76C-5CB1-503B-BE07-BB487EE831D3}"/>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54" name="Grafik 23">
              <a:extLst>
                <a:ext uri="{FF2B5EF4-FFF2-40B4-BE49-F238E27FC236}">
                  <a16:creationId xmlns:a16="http://schemas.microsoft.com/office/drawing/2014/main" id="{01E6797A-564B-38D3-4DFF-73D2AF2758ED}"/>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55" name="Grafik 23">
              <a:extLst>
                <a:ext uri="{FF2B5EF4-FFF2-40B4-BE49-F238E27FC236}">
                  <a16:creationId xmlns:a16="http://schemas.microsoft.com/office/drawing/2014/main" id="{834A731F-FDE6-3E96-3E8D-FFF519BB39E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6" name="Grafik 23">
              <a:extLst>
                <a:ext uri="{FF2B5EF4-FFF2-40B4-BE49-F238E27FC236}">
                  <a16:creationId xmlns:a16="http://schemas.microsoft.com/office/drawing/2014/main" id="{E6653B37-84DC-A552-9475-FB7CB01903C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7" name="Grafik 23">
              <a:extLst>
                <a:ext uri="{FF2B5EF4-FFF2-40B4-BE49-F238E27FC236}">
                  <a16:creationId xmlns:a16="http://schemas.microsoft.com/office/drawing/2014/main" id="{323056C6-7189-A6CB-8332-6082BE9FDB81}"/>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58" name="Grafik 23">
              <a:extLst>
                <a:ext uri="{FF2B5EF4-FFF2-40B4-BE49-F238E27FC236}">
                  <a16:creationId xmlns:a16="http://schemas.microsoft.com/office/drawing/2014/main" id="{09B23E2B-4D0B-7DFC-B298-21B29EB35C8F}"/>
                </a:ext>
              </a:extLst>
            </p:cNvPr>
            <p:cNvGrpSpPr/>
            <p:nvPr/>
          </p:nvGrpSpPr>
          <p:grpSpPr bwMode="gray">
            <a:xfrm>
              <a:off x="5895975" y="3322414"/>
              <a:ext cx="403097" cy="208692"/>
              <a:chOff x="5895975" y="3322414"/>
              <a:chExt cx="403097" cy="208692"/>
            </a:xfrm>
            <a:grpFill/>
          </p:grpSpPr>
          <p:sp>
            <p:nvSpPr>
              <p:cNvPr id="259" name="Grafik 23">
                <a:extLst>
                  <a:ext uri="{FF2B5EF4-FFF2-40B4-BE49-F238E27FC236}">
                    <a16:creationId xmlns:a16="http://schemas.microsoft.com/office/drawing/2014/main" id="{BA2866B5-2284-D394-375E-B58101E0B1E2}"/>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60" name="Grafik 23">
                <a:extLst>
                  <a:ext uri="{FF2B5EF4-FFF2-40B4-BE49-F238E27FC236}">
                    <a16:creationId xmlns:a16="http://schemas.microsoft.com/office/drawing/2014/main" id="{C50316B1-5748-1C4E-B771-7B9B7EFE943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61" name="Grafik 23">
                <a:extLst>
                  <a:ext uri="{FF2B5EF4-FFF2-40B4-BE49-F238E27FC236}">
                    <a16:creationId xmlns:a16="http://schemas.microsoft.com/office/drawing/2014/main" id="{50014001-EAFB-83DF-4E3D-6C759F08C51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62" name="Grafik 23">
                <a:extLst>
                  <a:ext uri="{FF2B5EF4-FFF2-40B4-BE49-F238E27FC236}">
                    <a16:creationId xmlns:a16="http://schemas.microsoft.com/office/drawing/2014/main" id="{F55F3F72-A872-FF10-E605-B73F1EC5BF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263" name="TextBox 262">
            <a:extLst>
              <a:ext uri="{FF2B5EF4-FFF2-40B4-BE49-F238E27FC236}">
                <a16:creationId xmlns:a16="http://schemas.microsoft.com/office/drawing/2014/main" id="{2E917394-CE16-DDA3-7A11-062D54609941}"/>
              </a:ext>
            </a:extLst>
          </p:cNvPr>
          <p:cNvSpPr txBox="1"/>
          <p:nvPr/>
        </p:nvSpPr>
        <p:spPr>
          <a:xfrm>
            <a:off x="6296946" y="1314204"/>
            <a:ext cx="848309" cy="230832"/>
          </a:xfrm>
          <a:prstGeom prst="rect">
            <a:avLst/>
          </a:prstGeom>
          <a:noFill/>
        </p:spPr>
        <p:txBody>
          <a:bodyPr wrap="none" rtlCol="0">
            <a:spAutoFit/>
          </a:bodyPr>
          <a:lstStyle/>
          <a:p>
            <a:r>
              <a:rPr lang="en-US" sz="900" dirty="0">
                <a:solidFill>
                  <a:srgbClr val="FF0000"/>
                </a:solidFill>
              </a:rPr>
              <a:t>192.168.0.114</a:t>
            </a:r>
            <a:endParaRPr lang="en-DE" sz="900" dirty="0">
              <a:solidFill>
                <a:srgbClr val="FF0000"/>
              </a:solidFill>
            </a:endParaRPr>
          </a:p>
        </p:txBody>
      </p:sp>
      <p:sp>
        <p:nvSpPr>
          <p:cNvPr id="264" name="TextBox 263">
            <a:extLst>
              <a:ext uri="{FF2B5EF4-FFF2-40B4-BE49-F238E27FC236}">
                <a16:creationId xmlns:a16="http://schemas.microsoft.com/office/drawing/2014/main" id="{ADE497D2-0E80-9F53-6FAA-9542BD78E6E6}"/>
              </a:ext>
            </a:extLst>
          </p:cNvPr>
          <p:cNvSpPr txBox="1"/>
          <p:nvPr/>
        </p:nvSpPr>
        <p:spPr>
          <a:xfrm>
            <a:off x="6689287" y="780449"/>
            <a:ext cx="1160895" cy="261610"/>
          </a:xfrm>
          <a:prstGeom prst="rect">
            <a:avLst/>
          </a:prstGeom>
          <a:solidFill>
            <a:schemeClr val="bg2"/>
          </a:solidFill>
        </p:spPr>
        <p:txBody>
          <a:bodyPr wrap="none" rtlCol="0">
            <a:spAutoFit/>
          </a:bodyPr>
          <a:lstStyle/>
          <a:p>
            <a:r>
              <a:rPr lang="en-US" sz="1100" b="1" dirty="0"/>
              <a:t>ONOS Controller</a:t>
            </a:r>
            <a:endParaRPr lang="en-DE" sz="1100" b="1" dirty="0"/>
          </a:p>
        </p:txBody>
      </p:sp>
      <p:sp>
        <p:nvSpPr>
          <p:cNvPr id="265" name="TextBox 264">
            <a:extLst>
              <a:ext uri="{FF2B5EF4-FFF2-40B4-BE49-F238E27FC236}">
                <a16:creationId xmlns:a16="http://schemas.microsoft.com/office/drawing/2014/main" id="{8E527F25-F6A6-4804-5B00-AC63323FA955}"/>
              </a:ext>
            </a:extLst>
          </p:cNvPr>
          <p:cNvSpPr txBox="1"/>
          <p:nvPr/>
        </p:nvSpPr>
        <p:spPr>
          <a:xfrm>
            <a:off x="5252458" y="2578729"/>
            <a:ext cx="399468" cy="230832"/>
          </a:xfrm>
          <a:prstGeom prst="rect">
            <a:avLst/>
          </a:prstGeom>
          <a:noFill/>
        </p:spPr>
        <p:txBody>
          <a:bodyPr wrap="none" rtlCol="0">
            <a:spAutoFit/>
          </a:bodyPr>
          <a:lstStyle/>
          <a:p>
            <a:r>
              <a:rPr lang="en-US" sz="900" dirty="0"/>
              <a:t>eth0</a:t>
            </a:r>
            <a:endParaRPr lang="en-DE" sz="900" dirty="0"/>
          </a:p>
        </p:txBody>
      </p:sp>
      <p:sp>
        <p:nvSpPr>
          <p:cNvPr id="266" name="TextBox 265">
            <a:extLst>
              <a:ext uri="{FF2B5EF4-FFF2-40B4-BE49-F238E27FC236}">
                <a16:creationId xmlns:a16="http://schemas.microsoft.com/office/drawing/2014/main" id="{5A10653C-14A7-10A8-FEA6-3BE9942D1A04}"/>
              </a:ext>
            </a:extLst>
          </p:cNvPr>
          <p:cNvSpPr txBox="1"/>
          <p:nvPr/>
        </p:nvSpPr>
        <p:spPr>
          <a:xfrm>
            <a:off x="6376533" y="2578729"/>
            <a:ext cx="399468" cy="230832"/>
          </a:xfrm>
          <a:prstGeom prst="rect">
            <a:avLst/>
          </a:prstGeom>
          <a:noFill/>
        </p:spPr>
        <p:txBody>
          <a:bodyPr wrap="none" rtlCol="0">
            <a:spAutoFit/>
          </a:bodyPr>
          <a:lstStyle/>
          <a:p>
            <a:r>
              <a:rPr lang="en-US" sz="900" dirty="0"/>
              <a:t>eth0</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74281" y="3122033"/>
            <a:ext cx="399468" cy="230832"/>
          </a:xfrm>
          <a:prstGeom prst="rect">
            <a:avLst/>
          </a:prstGeom>
          <a:noFill/>
        </p:spPr>
        <p:txBody>
          <a:bodyPr wrap="square" rtlCol="0">
            <a:spAutoFit/>
          </a:bodyPr>
          <a:lstStyle/>
          <a:p>
            <a:r>
              <a:rPr lang="en-US" sz="900" dirty="0"/>
              <a:t>eth1</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69826" y="2893814"/>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86185" y="288548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76124" y="2901058"/>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069773" y="3122033"/>
            <a:ext cx="399468" cy="230832"/>
          </a:xfrm>
          <a:prstGeom prst="rect">
            <a:avLst/>
          </a:prstGeom>
          <a:noFill/>
        </p:spPr>
        <p:txBody>
          <a:bodyPr wrap="square" rtlCol="0">
            <a:spAutoFit/>
          </a:bodyPr>
          <a:lstStyle/>
          <a:p>
            <a:r>
              <a:rPr lang="en-US" sz="900" dirty="0"/>
              <a:t>eth2</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5506877" y="2885197"/>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703444" y="2884123"/>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728546" y="3122033"/>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87584" y="2897888"/>
            <a:ext cx="399468" cy="230832"/>
          </a:xfrm>
          <a:prstGeom prst="rect">
            <a:avLst/>
          </a:prstGeom>
          <a:noFill/>
        </p:spPr>
        <p:txBody>
          <a:bodyPr wrap="square" rtlCol="0">
            <a:spAutoFit/>
          </a:bodyPr>
          <a:lstStyle/>
          <a:p>
            <a:r>
              <a:rPr lang="en-US" sz="900" dirty="0"/>
              <a:t>eth3</a:t>
            </a:r>
            <a:endParaRPr lang="en-DE" sz="900" dirty="0"/>
          </a:p>
        </p:txBody>
      </p:sp>
      <p:sp>
        <p:nvSpPr>
          <p:cNvPr id="277" name="TextBox 276">
            <a:extLst>
              <a:ext uri="{FF2B5EF4-FFF2-40B4-BE49-F238E27FC236}">
                <a16:creationId xmlns:a16="http://schemas.microsoft.com/office/drawing/2014/main" id="{99DEE1D6-7526-2FE2-64C7-089EF3B9C17E}"/>
              </a:ext>
            </a:extLst>
          </p:cNvPr>
          <p:cNvSpPr txBox="1"/>
          <p:nvPr/>
        </p:nvSpPr>
        <p:spPr>
          <a:xfrm>
            <a:off x="3442956" y="3801644"/>
            <a:ext cx="399468" cy="230832"/>
          </a:xfrm>
          <a:prstGeom prst="rect">
            <a:avLst/>
          </a:prstGeom>
          <a:noFill/>
        </p:spPr>
        <p:txBody>
          <a:bodyPr wrap="square" rtlCol="0">
            <a:spAutoFit/>
          </a:bodyPr>
          <a:lstStyle/>
          <a:p>
            <a:r>
              <a:rPr lang="en-US" sz="900" dirty="0"/>
              <a:t>g0/0</a:t>
            </a:r>
            <a:endParaRPr lang="en-DE" sz="900" dirty="0"/>
          </a:p>
        </p:txBody>
      </p:sp>
      <p:sp>
        <p:nvSpPr>
          <p:cNvPr id="279" name="TextBox 278">
            <a:extLst>
              <a:ext uri="{FF2B5EF4-FFF2-40B4-BE49-F238E27FC236}">
                <a16:creationId xmlns:a16="http://schemas.microsoft.com/office/drawing/2014/main" id="{3486E0EF-348C-F622-EC04-C64B92883312}"/>
              </a:ext>
            </a:extLst>
          </p:cNvPr>
          <p:cNvSpPr txBox="1"/>
          <p:nvPr/>
        </p:nvSpPr>
        <p:spPr>
          <a:xfrm>
            <a:off x="4503406" y="3801644"/>
            <a:ext cx="399468" cy="230832"/>
          </a:xfrm>
          <a:prstGeom prst="rect">
            <a:avLst/>
          </a:prstGeom>
          <a:noFill/>
        </p:spPr>
        <p:txBody>
          <a:bodyPr wrap="square" rtlCol="0">
            <a:spAutoFit/>
          </a:bodyPr>
          <a:lstStyle/>
          <a:p>
            <a:r>
              <a:rPr lang="en-US" sz="900" dirty="0"/>
              <a:t>g0/0</a:t>
            </a:r>
            <a:endParaRPr lang="en-DE" sz="900" dirty="0"/>
          </a:p>
        </p:txBody>
      </p:sp>
      <p:sp>
        <p:nvSpPr>
          <p:cNvPr id="280" name="TextBox 279">
            <a:extLst>
              <a:ext uri="{FF2B5EF4-FFF2-40B4-BE49-F238E27FC236}">
                <a16:creationId xmlns:a16="http://schemas.microsoft.com/office/drawing/2014/main" id="{50A33404-6AE4-FE94-401B-9018CA8F2268}"/>
              </a:ext>
            </a:extLst>
          </p:cNvPr>
          <p:cNvSpPr txBox="1"/>
          <p:nvPr/>
        </p:nvSpPr>
        <p:spPr>
          <a:xfrm>
            <a:off x="7469034" y="3801644"/>
            <a:ext cx="399468" cy="230832"/>
          </a:xfrm>
          <a:prstGeom prst="rect">
            <a:avLst/>
          </a:prstGeom>
          <a:noFill/>
        </p:spPr>
        <p:txBody>
          <a:bodyPr wrap="square" rtlCol="0">
            <a:spAutoFit/>
          </a:bodyPr>
          <a:lstStyle/>
          <a:p>
            <a:r>
              <a:rPr lang="en-US" sz="900" dirty="0"/>
              <a:t>g0/0</a:t>
            </a:r>
            <a:endParaRPr lang="en-DE" sz="900" dirty="0"/>
          </a:p>
        </p:txBody>
      </p:sp>
      <p:sp>
        <p:nvSpPr>
          <p:cNvPr id="281" name="TextBox 280">
            <a:extLst>
              <a:ext uri="{FF2B5EF4-FFF2-40B4-BE49-F238E27FC236}">
                <a16:creationId xmlns:a16="http://schemas.microsoft.com/office/drawing/2014/main" id="{6EA5D466-DFC4-F042-B334-E9832F43054C}"/>
              </a:ext>
            </a:extLst>
          </p:cNvPr>
          <p:cNvSpPr txBox="1"/>
          <p:nvPr/>
        </p:nvSpPr>
        <p:spPr>
          <a:xfrm>
            <a:off x="3290254" y="4381731"/>
            <a:ext cx="333746" cy="261610"/>
          </a:xfrm>
          <a:prstGeom prst="rect">
            <a:avLst/>
          </a:prstGeom>
          <a:solidFill>
            <a:schemeClr val="bg2"/>
          </a:solidFill>
        </p:spPr>
        <p:txBody>
          <a:bodyPr wrap="none" rtlCol="0">
            <a:spAutoFit/>
          </a:bodyPr>
          <a:lstStyle/>
          <a:p>
            <a:r>
              <a:rPr lang="en-US" sz="1100" b="1" dirty="0"/>
              <a:t>R1</a:t>
            </a:r>
            <a:endParaRPr lang="en-DE" sz="1100" b="1" dirty="0"/>
          </a:p>
        </p:txBody>
      </p:sp>
      <p:sp>
        <p:nvSpPr>
          <p:cNvPr id="283" name="TextBox 282">
            <a:extLst>
              <a:ext uri="{FF2B5EF4-FFF2-40B4-BE49-F238E27FC236}">
                <a16:creationId xmlns:a16="http://schemas.microsoft.com/office/drawing/2014/main" id="{3AEC0670-EB0B-9825-A0FF-B92C712F7573}"/>
              </a:ext>
            </a:extLst>
          </p:cNvPr>
          <p:cNvSpPr txBox="1"/>
          <p:nvPr/>
        </p:nvSpPr>
        <p:spPr>
          <a:xfrm>
            <a:off x="4750172" y="4381731"/>
            <a:ext cx="333746" cy="261610"/>
          </a:xfrm>
          <a:prstGeom prst="rect">
            <a:avLst/>
          </a:prstGeom>
          <a:solidFill>
            <a:schemeClr val="bg2"/>
          </a:solidFill>
        </p:spPr>
        <p:txBody>
          <a:bodyPr wrap="none" rtlCol="0">
            <a:spAutoFit/>
          </a:bodyPr>
          <a:lstStyle/>
          <a:p>
            <a:r>
              <a:rPr lang="en-US" sz="1100" b="1" dirty="0"/>
              <a:t>R2</a:t>
            </a:r>
            <a:endParaRPr lang="en-DE" sz="1100" b="1" dirty="0"/>
          </a:p>
        </p:txBody>
      </p:sp>
      <p:sp>
        <p:nvSpPr>
          <p:cNvPr id="284" name="TextBox 283">
            <a:extLst>
              <a:ext uri="{FF2B5EF4-FFF2-40B4-BE49-F238E27FC236}">
                <a16:creationId xmlns:a16="http://schemas.microsoft.com/office/drawing/2014/main" id="{7F7D584D-085A-FDEC-95AF-1E748F96F63B}"/>
              </a:ext>
            </a:extLst>
          </p:cNvPr>
          <p:cNvSpPr txBox="1"/>
          <p:nvPr/>
        </p:nvSpPr>
        <p:spPr>
          <a:xfrm>
            <a:off x="7647831" y="4381731"/>
            <a:ext cx="333746" cy="261610"/>
          </a:xfrm>
          <a:prstGeom prst="rect">
            <a:avLst/>
          </a:prstGeom>
          <a:solidFill>
            <a:schemeClr val="bg2"/>
          </a:solidFill>
        </p:spPr>
        <p:txBody>
          <a:bodyPr wrap="none" rtlCol="0">
            <a:spAutoFit/>
          </a:bodyPr>
          <a:lstStyle/>
          <a:p>
            <a:r>
              <a:rPr lang="en-US" sz="1100" b="1" dirty="0"/>
              <a:t>R3</a:t>
            </a:r>
            <a:endParaRPr lang="en-DE" sz="1100" b="1" dirty="0"/>
          </a:p>
        </p:txBody>
      </p:sp>
      <p:sp>
        <p:nvSpPr>
          <p:cNvPr id="285" name="Cloud 284">
            <a:extLst>
              <a:ext uri="{FF2B5EF4-FFF2-40B4-BE49-F238E27FC236}">
                <a16:creationId xmlns:a16="http://schemas.microsoft.com/office/drawing/2014/main" id="{DAF2FD3F-3D10-7002-AA2F-164B5F464CD2}"/>
              </a:ext>
            </a:extLst>
          </p:cNvPr>
          <p:cNvSpPr/>
          <p:nvPr/>
        </p:nvSpPr>
        <p:spPr>
          <a:xfrm>
            <a:off x="5501310" y="1113929"/>
            <a:ext cx="742995" cy="42334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288" name="Straight Connector 287">
            <a:extLst>
              <a:ext uri="{FF2B5EF4-FFF2-40B4-BE49-F238E27FC236}">
                <a16:creationId xmlns:a16="http://schemas.microsoft.com/office/drawing/2014/main" id="{38A4361F-B055-18EC-358E-50465280BB60}"/>
              </a:ext>
            </a:extLst>
          </p:cNvPr>
          <p:cNvCxnSpPr>
            <a:cxnSpLocks/>
            <a:stCxn id="285" idx="0"/>
            <a:endCxn id="259" idx="1"/>
          </p:cNvCxnSpPr>
          <p:nvPr/>
        </p:nvCxnSpPr>
        <p:spPr>
          <a:xfrm>
            <a:off x="6243686" y="1325603"/>
            <a:ext cx="787573" cy="713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E6F7E0D2-91CD-A571-93A9-A5BC8EB16980}"/>
              </a:ext>
            </a:extLst>
          </p:cNvPr>
          <p:cNvSpPr txBox="1"/>
          <p:nvPr/>
        </p:nvSpPr>
        <p:spPr>
          <a:xfrm>
            <a:off x="5681176" y="1208851"/>
            <a:ext cx="399468" cy="230832"/>
          </a:xfrm>
          <a:prstGeom prst="rect">
            <a:avLst/>
          </a:prstGeom>
          <a:noFill/>
        </p:spPr>
        <p:txBody>
          <a:bodyPr wrap="square" rtlCol="0">
            <a:spAutoFit/>
          </a:bodyPr>
          <a:lstStyle/>
          <a:p>
            <a:r>
              <a:rPr lang="en-US" sz="900" dirty="0"/>
              <a:t>NAT</a:t>
            </a:r>
            <a:endParaRPr lang="en-DE" sz="900" dirty="0"/>
          </a:p>
        </p:txBody>
      </p:sp>
      <p:sp>
        <p:nvSpPr>
          <p:cNvPr id="293" name="TextBox 292">
            <a:extLst>
              <a:ext uri="{FF2B5EF4-FFF2-40B4-BE49-F238E27FC236}">
                <a16:creationId xmlns:a16="http://schemas.microsoft.com/office/drawing/2014/main" id="{48D628E6-B517-10F8-420F-23AB949F5E4C}"/>
              </a:ext>
            </a:extLst>
          </p:cNvPr>
          <p:cNvSpPr txBox="1"/>
          <p:nvPr/>
        </p:nvSpPr>
        <p:spPr>
          <a:xfrm>
            <a:off x="5148551" y="1753260"/>
            <a:ext cx="540533" cy="246221"/>
          </a:xfrm>
          <a:prstGeom prst="rect">
            <a:avLst/>
          </a:prstGeom>
          <a:solidFill>
            <a:schemeClr val="bg2"/>
          </a:solidFill>
        </p:spPr>
        <p:txBody>
          <a:bodyPr wrap="square" rtlCol="0">
            <a:spAutoFit/>
          </a:bodyPr>
          <a:lstStyle/>
          <a:p>
            <a:r>
              <a:rPr lang="en-US" sz="1000" b="1" dirty="0"/>
              <a:t>Switch</a:t>
            </a:r>
            <a:endParaRPr lang="en-DE" sz="1000" b="1" dirty="0"/>
          </a:p>
        </p:txBody>
      </p:sp>
    </p:spTree>
    <p:extLst>
      <p:ext uri="{BB962C8B-B14F-4D97-AF65-F5344CB8AC3E}">
        <p14:creationId xmlns:p14="http://schemas.microsoft.com/office/powerpoint/2010/main" val="1406044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7242123" y="1972482"/>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6600533" y="2427125"/>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7681916" y="2403431"/>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7467152" y="2597387"/>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7292521" y="2149686"/>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2668515" y="400480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532430" y="400237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396345" y="400237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042896" y="41859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901564" y="41847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532901" y="285359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2669457" y="285536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396345" y="286005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045471" y="309399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908915" y="309277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426521" y="405085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290436" y="404842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154351" y="404842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800902" y="423198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417402" y="335422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7659570" y="423077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290907" y="289964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427463" y="290141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154351" y="290609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803477" y="31400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7666921" y="31388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292259"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553958"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2609477"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6492318"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7379936" y="1364967"/>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748861" y="2366051"/>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3665792" y="331487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4540649"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802348"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5E2C725A-2CE6-F275-E205-74C6F64A076C}"/>
              </a:ext>
            </a:extLst>
          </p:cNvPr>
          <p:cNvSpPr>
            <a:spLocks noGrp="1"/>
          </p:cNvSpPr>
          <p:nvPr>
            <p:ph type="title"/>
          </p:nvPr>
        </p:nvSpPr>
        <p:spPr/>
        <p:txBody>
          <a:bodyPr>
            <a:normAutofit fontScale="90000"/>
          </a:bodyPr>
          <a:lstStyle/>
          <a:p>
            <a:r>
              <a:rPr lang="en-US" dirty="0"/>
              <a:t>Different SDN Architectures (3/3)</a:t>
            </a:r>
            <a:endParaRPr lang="en-DE" dirty="0"/>
          </a:p>
        </p:txBody>
      </p:sp>
      <p:pic>
        <p:nvPicPr>
          <p:cNvPr id="3" name="Picture 2">
            <a:extLst>
              <a:ext uri="{FF2B5EF4-FFF2-40B4-BE49-F238E27FC236}">
                <a16:creationId xmlns:a16="http://schemas.microsoft.com/office/drawing/2014/main" id="{9B49ACF3-3930-2235-D72E-C6C3435633CA}"/>
              </a:ext>
            </a:extLst>
          </p:cNvPr>
          <p:cNvPicPr>
            <a:picLocks noChangeAspect="1"/>
          </p:cNvPicPr>
          <p:nvPr/>
        </p:nvPicPr>
        <p:blipFill>
          <a:blip r:embed="rId5"/>
          <a:stretch>
            <a:fillRect/>
          </a:stretch>
        </p:blipFill>
        <p:spPr>
          <a:xfrm>
            <a:off x="1746541" y="1513318"/>
            <a:ext cx="9359960" cy="4345208"/>
          </a:xfrm>
          <a:prstGeom prst="rect">
            <a:avLst/>
          </a:prstGeom>
        </p:spPr>
      </p:pic>
    </p:spTree>
    <p:extLst>
      <p:ext uri="{BB962C8B-B14F-4D97-AF65-F5344CB8AC3E}">
        <p14:creationId xmlns:p14="http://schemas.microsoft.com/office/powerpoint/2010/main" val="22091860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513481" y="2289056"/>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720280" y="2289056"/>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306682" y="2289056"/>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099883" y="2289056"/>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468083" y="2652763"/>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415115" y="2652763"/>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888895"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430402" y="248066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625029" y="247610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836148" y="247042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408918" y="1943663"/>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08311" y="1944585"/>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646220" y="1944393"/>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999311" y="1944393"/>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240244" y="2497945"/>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612148" y="2284136"/>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717170" y="2321578"/>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986664" y="2297750"/>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193179" y="228509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389163" y="2281746"/>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418668" y="2549608"/>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935499" y="2549608"/>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147645" y="2549608"/>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344191" y="2549608"/>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397214" y="2307894"/>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508850" y="3515634"/>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715649" y="3515634"/>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2051" y="3515634"/>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426190" y="371869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620345" y="370957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831085" y="369699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719936" y="3904504"/>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659847" y="3904504"/>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19722" y="3904504"/>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904529" y="2652050"/>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851506" y="3414559"/>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327427" y="3414559"/>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806062" y="3667631"/>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633991"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831648"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670851"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877669"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263341"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9768" y="2163196"/>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09634" y="249608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5533" y="3870356"/>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081441" y="246915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085733" y="369005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677201" y="1435886"/>
            <a:ext cx="683303" cy="8531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8019409" y="2289055"/>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8022829" y="3667631"/>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101045" y="3871719"/>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310067" y="3860286"/>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481424" y="265852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672262" y="26438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162015" y="2652050"/>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629082" y="2549608"/>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805154" y="2290644"/>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355021" y="2652050"/>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822088" y="2549608"/>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826000" y="2652050"/>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852621" y="3306744"/>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379961" y="3667631"/>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160239" y="3414559"/>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369533" y="3306744"/>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156949" y="3667631"/>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651497" y="3414559"/>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596316" y="3667631"/>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914299" y="3414559"/>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179085" y="3306744"/>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947203" y="3667631"/>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946211" y="3306744"/>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402037" y="3667631"/>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419876" y="3414559"/>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227182" y="2439614"/>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232055" y="3485792"/>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36746" y="2002264"/>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940488" y="2283933"/>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48212" y="2163196"/>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50608" y="3407098"/>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8876113" y="2297750"/>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8872147" y="3536512"/>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490322" y="1062128"/>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250974" y="1067465"/>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878756" y="1430620"/>
            <a:ext cx="559097" cy="8600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33983" y="2479461"/>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9246797" y="245778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9241049" y="368859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62077" y="4568422"/>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a:off x="5682410" y="4839243"/>
            <a:ext cx="1579667" cy="661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770798" y="1385088"/>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33373" y="1395869"/>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1605426" y="4580489"/>
            <a:ext cx="239697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1851922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D4B33-4548-C6A7-8CBD-2EED1B1603A2}"/>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1)</a:t>
            </a:r>
          </a:p>
        </p:txBody>
      </p:sp>
      <p:sp>
        <p:nvSpPr>
          <p:cNvPr id="3" name="Rectangle 2">
            <a:extLst>
              <a:ext uri="{FF2B5EF4-FFF2-40B4-BE49-F238E27FC236}">
                <a16:creationId xmlns:a16="http://schemas.microsoft.com/office/drawing/2014/main" id="{93A8DC90-0D65-8070-61BB-8204C37F3568}"/>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Routers</a:t>
            </a:r>
            <a:endParaRPr lang="en-US" sz="1100" dirty="0">
              <a:solidFill>
                <a:schemeClr val="tx1"/>
              </a:solidFill>
            </a:endParaRPr>
          </a:p>
        </p:txBody>
      </p:sp>
      <p:sp>
        <p:nvSpPr>
          <p:cNvPr id="4" name="Text Box 55">
            <a:extLst>
              <a:ext uri="{FF2B5EF4-FFF2-40B4-BE49-F238E27FC236}">
                <a16:creationId xmlns:a16="http://schemas.microsoft.com/office/drawing/2014/main" id="{11DD301B-7F77-9D07-AC01-6A12C6C41A45}"/>
              </a:ext>
            </a:extLst>
          </p:cNvPr>
          <p:cNvSpPr txBox="1">
            <a:spLocks noChangeArrowheads="1"/>
          </p:cNvSpPr>
          <p:nvPr/>
        </p:nvSpPr>
        <p:spPr bwMode="auto">
          <a:xfrm>
            <a:off x="814530"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a:t>
            </a:r>
          </a:p>
        </p:txBody>
      </p:sp>
      <p:sp>
        <p:nvSpPr>
          <p:cNvPr id="5" name="Text Box 56">
            <a:extLst>
              <a:ext uri="{FF2B5EF4-FFF2-40B4-BE49-F238E27FC236}">
                <a16:creationId xmlns:a16="http://schemas.microsoft.com/office/drawing/2014/main" id="{3B34358D-5279-7A9A-1A1F-DC3C7EE700DA}"/>
              </a:ext>
            </a:extLst>
          </p:cNvPr>
          <p:cNvSpPr txBox="1">
            <a:spLocks noChangeArrowheads="1"/>
          </p:cNvSpPr>
          <p:nvPr/>
        </p:nvSpPr>
        <p:spPr bwMode="auto">
          <a:xfrm>
            <a:off x="814530" y="1912938"/>
            <a:ext cx="12519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Broadband Router</a:t>
            </a:r>
          </a:p>
        </p:txBody>
      </p:sp>
      <p:sp>
        <p:nvSpPr>
          <p:cNvPr id="6" name="Text Box 57">
            <a:extLst>
              <a:ext uri="{FF2B5EF4-FFF2-40B4-BE49-F238E27FC236}">
                <a16:creationId xmlns:a16="http://schemas.microsoft.com/office/drawing/2014/main" id="{2049AAC1-ACF7-D41A-79CA-E603D706C67E}"/>
              </a:ext>
            </a:extLst>
          </p:cNvPr>
          <p:cNvSpPr txBox="1">
            <a:spLocks noChangeArrowheads="1"/>
          </p:cNvSpPr>
          <p:nvPr/>
        </p:nvSpPr>
        <p:spPr bwMode="auto">
          <a:xfrm>
            <a:off x="814530" y="2459038"/>
            <a:ext cx="101470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ervice Router</a:t>
            </a:r>
          </a:p>
        </p:txBody>
      </p:sp>
      <p:sp>
        <p:nvSpPr>
          <p:cNvPr id="7" name="Text Box 58">
            <a:extLst>
              <a:ext uri="{FF2B5EF4-FFF2-40B4-BE49-F238E27FC236}">
                <a16:creationId xmlns:a16="http://schemas.microsoft.com/office/drawing/2014/main" id="{BF95A35F-A83C-3522-6630-1DF8361D6161}"/>
              </a:ext>
            </a:extLst>
          </p:cNvPr>
          <p:cNvSpPr txBox="1">
            <a:spLocks noChangeArrowheads="1"/>
          </p:cNvSpPr>
          <p:nvPr/>
        </p:nvSpPr>
        <p:spPr bwMode="auto">
          <a:xfrm>
            <a:off x="814530"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Router</a:t>
            </a:r>
          </a:p>
        </p:txBody>
      </p:sp>
      <p:sp>
        <p:nvSpPr>
          <p:cNvPr id="8" name="Text Box 59">
            <a:extLst>
              <a:ext uri="{FF2B5EF4-FFF2-40B4-BE49-F238E27FC236}">
                <a16:creationId xmlns:a16="http://schemas.microsoft.com/office/drawing/2014/main" id="{67CACE33-7C27-F5AF-713B-D9FCFE6378BC}"/>
              </a:ext>
            </a:extLst>
          </p:cNvPr>
          <p:cNvSpPr txBox="1">
            <a:spLocks noChangeArrowheads="1"/>
          </p:cNvSpPr>
          <p:nvPr/>
        </p:nvSpPr>
        <p:spPr bwMode="auto">
          <a:xfrm>
            <a:off x="814530" y="3551238"/>
            <a:ext cx="114980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Router with TDM</a:t>
            </a:r>
          </a:p>
        </p:txBody>
      </p:sp>
      <p:sp>
        <p:nvSpPr>
          <p:cNvPr id="9" name="Text Box 60">
            <a:extLst>
              <a:ext uri="{FF2B5EF4-FFF2-40B4-BE49-F238E27FC236}">
                <a16:creationId xmlns:a16="http://schemas.microsoft.com/office/drawing/2014/main" id="{BC79021A-515A-15C5-9CFC-2F144C18A5A1}"/>
              </a:ext>
            </a:extLst>
          </p:cNvPr>
          <p:cNvSpPr txBox="1">
            <a:spLocks noChangeArrowheads="1"/>
          </p:cNvSpPr>
          <p:nvPr/>
        </p:nvSpPr>
        <p:spPr bwMode="auto">
          <a:xfrm>
            <a:off x="814530" y="40973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Router</a:t>
            </a:r>
          </a:p>
        </p:txBody>
      </p:sp>
      <p:sp>
        <p:nvSpPr>
          <p:cNvPr id="10" name="Text Box 61">
            <a:extLst>
              <a:ext uri="{FF2B5EF4-FFF2-40B4-BE49-F238E27FC236}">
                <a16:creationId xmlns:a16="http://schemas.microsoft.com/office/drawing/2014/main" id="{427C3838-3702-152C-3410-BAE99CF02E13}"/>
              </a:ext>
            </a:extLst>
          </p:cNvPr>
          <p:cNvSpPr txBox="1">
            <a:spLocks noChangeArrowheads="1"/>
          </p:cNvSpPr>
          <p:nvPr/>
        </p:nvSpPr>
        <p:spPr bwMode="auto">
          <a:xfrm>
            <a:off x="814530" y="4643438"/>
            <a:ext cx="122950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IPoDWDM Router</a:t>
            </a:r>
          </a:p>
        </p:txBody>
      </p:sp>
      <p:sp>
        <p:nvSpPr>
          <p:cNvPr id="11" name="Text Box 62">
            <a:extLst>
              <a:ext uri="{FF2B5EF4-FFF2-40B4-BE49-F238E27FC236}">
                <a16:creationId xmlns:a16="http://schemas.microsoft.com/office/drawing/2014/main" id="{84F13FF4-06C0-88D9-4A8D-597A7A4551FB}"/>
              </a:ext>
            </a:extLst>
          </p:cNvPr>
          <p:cNvSpPr txBox="1">
            <a:spLocks noChangeArrowheads="1"/>
          </p:cNvSpPr>
          <p:nvPr/>
        </p:nvSpPr>
        <p:spPr bwMode="auto">
          <a:xfrm>
            <a:off x="814530" y="51895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torage Router</a:t>
            </a:r>
          </a:p>
        </p:txBody>
      </p:sp>
      <p:sp>
        <p:nvSpPr>
          <p:cNvPr id="12" name="Text Box 63">
            <a:extLst>
              <a:ext uri="{FF2B5EF4-FFF2-40B4-BE49-F238E27FC236}">
                <a16:creationId xmlns:a16="http://schemas.microsoft.com/office/drawing/2014/main" id="{96E4461F-CC18-1F25-1B46-760B8A841843}"/>
              </a:ext>
            </a:extLst>
          </p:cNvPr>
          <p:cNvSpPr txBox="1">
            <a:spLocks noChangeArrowheads="1"/>
          </p:cNvSpPr>
          <p:nvPr/>
        </p:nvSpPr>
        <p:spPr bwMode="auto">
          <a:xfrm>
            <a:off x="814530" y="5735638"/>
            <a:ext cx="13071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Wavelength Router</a:t>
            </a:r>
          </a:p>
        </p:txBody>
      </p:sp>
      <p:grpSp>
        <p:nvGrpSpPr>
          <p:cNvPr id="13" name="Grafik 3753">
            <a:extLst>
              <a:ext uri="{FF2B5EF4-FFF2-40B4-BE49-F238E27FC236}">
                <a16:creationId xmlns:a16="http://schemas.microsoft.com/office/drawing/2014/main" id="{45F7397D-81F9-5A44-7F2C-B201C058C516}"/>
              </a:ext>
            </a:extLst>
          </p:cNvPr>
          <p:cNvGrpSpPr/>
          <p:nvPr/>
        </p:nvGrpSpPr>
        <p:grpSpPr bwMode="gray">
          <a:xfrm>
            <a:off x="318344" y="1327754"/>
            <a:ext cx="373758" cy="373758"/>
            <a:chOff x="5843587" y="3176587"/>
            <a:chExt cx="500253" cy="500253"/>
          </a:xfrm>
          <a:solidFill>
            <a:schemeClr val="tx1"/>
          </a:solidFill>
        </p:grpSpPr>
        <p:grpSp>
          <p:nvGrpSpPr>
            <p:cNvPr id="14" name="Grafik 3753">
              <a:extLst>
                <a:ext uri="{FF2B5EF4-FFF2-40B4-BE49-F238E27FC236}">
                  <a16:creationId xmlns:a16="http://schemas.microsoft.com/office/drawing/2014/main" id="{4D3EE275-CB50-2D67-3F3A-269BF98899F0}"/>
                </a:ext>
              </a:extLst>
            </p:cNvPr>
            <p:cNvGrpSpPr/>
            <p:nvPr/>
          </p:nvGrpSpPr>
          <p:grpSpPr bwMode="gray">
            <a:xfrm>
              <a:off x="5951066" y="3230233"/>
              <a:ext cx="285352" cy="149902"/>
              <a:chOff x="5951066" y="3230233"/>
              <a:chExt cx="285352" cy="149902"/>
            </a:xfrm>
            <a:grpFill/>
          </p:grpSpPr>
          <p:grpSp>
            <p:nvGrpSpPr>
              <p:cNvPr id="17" name="Grafik 3753">
                <a:extLst>
                  <a:ext uri="{FF2B5EF4-FFF2-40B4-BE49-F238E27FC236}">
                    <a16:creationId xmlns:a16="http://schemas.microsoft.com/office/drawing/2014/main" id="{4B6C2633-7E12-94D1-53AE-4F31389C4BB0}"/>
                  </a:ext>
                </a:extLst>
              </p:cNvPr>
              <p:cNvGrpSpPr/>
              <p:nvPr/>
            </p:nvGrpSpPr>
            <p:grpSpPr bwMode="gray">
              <a:xfrm>
                <a:off x="6118933" y="3230233"/>
                <a:ext cx="117485" cy="65892"/>
                <a:chOff x="6118933" y="3230233"/>
                <a:chExt cx="117485" cy="65892"/>
              </a:xfrm>
              <a:grpFill/>
            </p:grpSpPr>
            <p:sp>
              <p:nvSpPr>
                <p:cNvPr id="30" name="Grafik 3753">
                  <a:extLst>
                    <a:ext uri="{FF2B5EF4-FFF2-40B4-BE49-F238E27FC236}">
                      <a16:creationId xmlns:a16="http://schemas.microsoft.com/office/drawing/2014/main" id="{ADA13756-D5E4-83C8-480C-EBC4ACB751B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31" name="Grafik 3753">
                  <a:extLst>
                    <a:ext uri="{FF2B5EF4-FFF2-40B4-BE49-F238E27FC236}">
                      <a16:creationId xmlns:a16="http://schemas.microsoft.com/office/drawing/2014/main" id="{EDA692B6-3A66-3C25-DBE9-167D976B2DE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32" name="Grafik 3753">
                  <a:extLst>
                    <a:ext uri="{FF2B5EF4-FFF2-40B4-BE49-F238E27FC236}">
                      <a16:creationId xmlns:a16="http://schemas.microsoft.com/office/drawing/2014/main" id="{F75C3A24-DD3F-17F6-37FB-64C9C17506EA}"/>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8" name="Grafik 3753">
                <a:extLst>
                  <a:ext uri="{FF2B5EF4-FFF2-40B4-BE49-F238E27FC236}">
                    <a16:creationId xmlns:a16="http://schemas.microsoft.com/office/drawing/2014/main" id="{98F17D3C-D918-F327-7420-AD3F0ED94650}"/>
                  </a:ext>
                </a:extLst>
              </p:cNvPr>
              <p:cNvGrpSpPr/>
              <p:nvPr/>
            </p:nvGrpSpPr>
            <p:grpSpPr bwMode="gray">
              <a:xfrm>
                <a:off x="5951103" y="3314244"/>
                <a:ext cx="117485" cy="65892"/>
                <a:chOff x="5951103" y="3314244"/>
                <a:chExt cx="117485" cy="65892"/>
              </a:xfrm>
              <a:grpFill/>
            </p:grpSpPr>
            <p:sp>
              <p:nvSpPr>
                <p:cNvPr id="27" name="Grafik 3753">
                  <a:extLst>
                    <a:ext uri="{FF2B5EF4-FFF2-40B4-BE49-F238E27FC236}">
                      <a16:creationId xmlns:a16="http://schemas.microsoft.com/office/drawing/2014/main" id="{F129909B-B220-C120-9A30-A481CF867A62}"/>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8" name="Grafik 3753">
                  <a:extLst>
                    <a:ext uri="{FF2B5EF4-FFF2-40B4-BE49-F238E27FC236}">
                      <a16:creationId xmlns:a16="http://schemas.microsoft.com/office/drawing/2014/main" id="{77571A50-D227-7310-4A0A-30BFC2E892A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9" name="Grafik 3753">
                  <a:extLst>
                    <a:ext uri="{FF2B5EF4-FFF2-40B4-BE49-F238E27FC236}">
                      <a16:creationId xmlns:a16="http://schemas.microsoft.com/office/drawing/2014/main" id="{BE95B77A-D029-851E-25AE-29C8EBF3531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9" name="Grafik 3753">
                <a:extLst>
                  <a:ext uri="{FF2B5EF4-FFF2-40B4-BE49-F238E27FC236}">
                    <a16:creationId xmlns:a16="http://schemas.microsoft.com/office/drawing/2014/main" id="{15C75CC8-9BE8-8B40-D201-93194F163B2C}"/>
                  </a:ext>
                </a:extLst>
              </p:cNvPr>
              <p:cNvGrpSpPr/>
              <p:nvPr/>
            </p:nvGrpSpPr>
            <p:grpSpPr bwMode="gray">
              <a:xfrm>
                <a:off x="6118954" y="3314261"/>
                <a:ext cx="117405" cy="65875"/>
                <a:chOff x="6118954" y="3314261"/>
                <a:chExt cx="117405" cy="65875"/>
              </a:xfrm>
              <a:grpFill/>
            </p:grpSpPr>
            <p:sp>
              <p:nvSpPr>
                <p:cNvPr id="24" name="Grafik 3753">
                  <a:extLst>
                    <a:ext uri="{FF2B5EF4-FFF2-40B4-BE49-F238E27FC236}">
                      <a16:creationId xmlns:a16="http://schemas.microsoft.com/office/drawing/2014/main" id="{340F5F7A-6237-C486-0829-A3270924AF9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 name="Grafik 3753">
                  <a:extLst>
                    <a:ext uri="{FF2B5EF4-FFF2-40B4-BE49-F238E27FC236}">
                      <a16:creationId xmlns:a16="http://schemas.microsoft.com/office/drawing/2014/main" id="{65C1B415-7D85-0FD1-89E6-0860D66999A0}"/>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 name="Grafik 3753">
                  <a:extLst>
                    <a:ext uri="{FF2B5EF4-FFF2-40B4-BE49-F238E27FC236}">
                      <a16:creationId xmlns:a16="http://schemas.microsoft.com/office/drawing/2014/main" id="{182001E0-32FA-8877-3CC9-2156BF5523D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 name="Grafik 3753">
                <a:extLst>
                  <a:ext uri="{FF2B5EF4-FFF2-40B4-BE49-F238E27FC236}">
                    <a16:creationId xmlns:a16="http://schemas.microsoft.com/office/drawing/2014/main" id="{2BAE3454-A9FA-69AA-FDA5-E8F604B7C29E}"/>
                  </a:ext>
                </a:extLst>
              </p:cNvPr>
              <p:cNvGrpSpPr/>
              <p:nvPr/>
            </p:nvGrpSpPr>
            <p:grpSpPr bwMode="gray">
              <a:xfrm>
                <a:off x="5951066" y="3230345"/>
                <a:ext cx="117405" cy="65779"/>
                <a:chOff x="5951066" y="3230345"/>
                <a:chExt cx="117405" cy="65779"/>
              </a:xfrm>
              <a:grpFill/>
            </p:grpSpPr>
            <p:sp>
              <p:nvSpPr>
                <p:cNvPr id="21" name="Grafik 3753">
                  <a:extLst>
                    <a:ext uri="{FF2B5EF4-FFF2-40B4-BE49-F238E27FC236}">
                      <a16:creationId xmlns:a16="http://schemas.microsoft.com/office/drawing/2014/main" id="{D73B79F2-A5CB-C6A4-6E5D-DDEA8158C68E}"/>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2" name="Grafik 3753">
                  <a:extLst>
                    <a:ext uri="{FF2B5EF4-FFF2-40B4-BE49-F238E27FC236}">
                      <a16:creationId xmlns:a16="http://schemas.microsoft.com/office/drawing/2014/main" id="{4F517699-4284-BF63-F2CD-1FFD53A7F15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 name="Grafik 3753">
                  <a:extLst>
                    <a:ext uri="{FF2B5EF4-FFF2-40B4-BE49-F238E27FC236}">
                      <a16:creationId xmlns:a16="http://schemas.microsoft.com/office/drawing/2014/main" id="{93AC7C29-9F2B-A593-BEB4-62C82DDD26E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 name="Grafik 3753">
              <a:extLst>
                <a:ext uri="{FF2B5EF4-FFF2-40B4-BE49-F238E27FC236}">
                  <a16:creationId xmlns:a16="http://schemas.microsoft.com/office/drawing/2014/main" id="{1785B3D2-99DB-AF74-15A4-64F610C55CC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6" name="Grafik 3753">
              <a:extLst>
                <a:ext uri="{FF2B5EF4-FFF2-40B4-BE49-F238E27FC236}">
                  <a16:creationId xmlns:a16="http://schemas.microsoft.com/office/drawing/2014/main" id="{F1BFE34F-9669-ED57-ECC6-849370B9B6A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33" name="Grafik 3755">
            <a:extLst>
              <a:ext uri="{FF2B5EF4-FFF2-40B4-BE49-F238E27FC236}">
                <a16:creationId xmlns:a16="http://schemas.microsoft.com/office/drawing/2014/main" id="{F0F054DE-1D22-B8F0-E3AD-B3C9C7AC4DEB}"/>
              </a:ext>
            </a:extLst>
          </p:cNvPr>
          <p:cNvGrpSpPr/>
          <p:nvPr/>
        </p:nvGrpSpPr>
        <p:grpSpPr bwMode="gray">
          <a:xfrm>
            <a:off x="318344" y="2939915"/>
            <a:ext cx="373758" cy="373758"/>
            <a:chOff x="5843587" y="3176587"/>
            <a:chExt cx="500253" cy="500253"/>
          </a:xfrm>
          <a:solidFill>
            <a:schemeClr val="tx1"/>
          </a:solidFill>
        </p:grpSpPr>
        <p:grpSp>
          <p:nvGrpSpPr>
            <p:cNvPr id="34" name="Grafik 3755">
              <a:extLst>
                <a:ext uri="{FF2B5EF4-FFF2-40B4-BE49-F238E27FC236}">
                  <a16:creationId xmlns:a16="http://schemas.microsoft.com/office/drawing/2014/main" id="{DF091132-5FE2-470C-F627-52D38A30BA3D}"/>
                </a:ext>
              </a:extLst>
            </p:cNvPr>
            <p:cNvGrpSpPr/>
            <p:nvPr/>
          </p:nvGrpSpPr>
          <p:grpSpPr bwMode="gray">
            <a:xfrm>
              <a:off x="5951066" y="3230233"/>
              <a:ext cx="285352" cy="149902"/>
              <a:chOff x="5951066" y="3230233"/>
              <a:chExt cx="285352" cy="149902"/>
            </a:xfrm>
            <a:grpFill/>
          </p:grpSpPr>
          <p:grpSp>
            <p:nvGrpSpPr>
              <p:cNvPr id="44" name="Grafik 3755">
                <a:extLst>
                  <a:ext uri="{FF2B5EF4-FFF2-40B4-BE49-F238E27FC236}">
                    <a16:creationId xmlns:a16="http://schemas.microsoft.com/office/drawing/2014/main" id="{89259234-DD8F-DA00-A13C-7221B85B6EF2}"/>
                  </a:ext>
                </a:extLst>
              </p:cNvPr>
              <p:cNvGrpSpPr/>
              <p:nvPr/>
            </p:nvGrpSpPr>
            <p:grpSpPr bwMode="gray">
              <a:xfrm>
                <a:off x="6118933" y="3230233"/>
                <a:ext cx="117485" cy="65892"/>
                <a:chOff x="6118933" y="3230233"/>
                <a:chExt cx="117485" cy="65892"/>
              </a:xfrm>
              <a:grpFill/>
            </p:grpSpPr>
            <p:sp>
              <p:nvSpPr>
                <p:cNvPr id="57" name="Grafik 3755">
                  <a:extLst>
                    <a:ext uri="{FF2B5EF4-FFF2-40B4-BE49-F238E27FC236}">
                      <a16:creationId xmlns:a16="http://schemas.microsoft.com/office/drawing/2014/main" id="{CD699034-CDEC-BADD-F1FB-A4780EC359F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8" name="Grafik 3755">
                  <a:extLst>
                    <a:ext uri="{FF2B5EF4-FFF2-40B4-BE49-F238E27FC236}">
                      <a16:creationId xmlns:a16="http://schemas.microsoft.com/office/drawing/2014/main" id="{2FEDE0A7-250C-0566-BEA4-492DCC835B9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9" name="Grafik 3755">
                  <a:extLst>
                    <a:ext uri="{FF2B5EF4-FFF2-40B4-BE49-F238E27FC236}">
                      <a16:creationId xmlns:a16="http://schemas.microsoft.com/office/drawing/2014/main" id="{D0774A41-2665-8000-62E1-785482254C7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5" name="Grafik 3755">
                <a:extLst>
                  <a:ext uri="{FF2B5EF4-FFF2-40B4-BE49-F238E27FC236}">
                    <a16:creationId xmlns:a16="http://schemas.microsoft.com/office/drawing/2014/main" id="{03B5CBF6-829A-86CA-9E5B-63380EEBF822}"/>
                  </a:ext>
                </a:extLst>
              </p:cNvPr>
              <p:cNvGrpSpPr/>
              <p:nvPr/>
            </p:nvGrpSpPr>
            <p:grpSpPr bwMode="gray">
              <a:xfrm>
                <a:off x="5951103" y="3314244"/>
                <a:ext cx="117485" cy="65892"/>
                <a:chOff x="5951103" y="3314244"/>
                <a:chExt cx="117485" cy="65892"/>
              </a:xfrm>
              <a:grpFill/>
            </p:grpSpPr>
            <p:sp>
              <p:nvSpPr>
                <p:cNvPr id="54" name="Grafik 3755">
                  <a:extLst>
                    <a:ext uri="{FF2B5EF4-FFF2-40B4-BE49-F238E27FC236}">
                      <a16:creationId xmlns:a16="http://schemas.microsoft.com/office/drawing/2014/main" id="{32F7FE65-4F91-3C19-E970-E92F3880F9F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5" name="Grafik 3755">
                  <a:extLst>
                    <a:ext uri="{FF2B5EF4-FFF2-40B4-BE49-F238E27FC236}">
                      <a16:creationId xmlns:a16="http://schemas.microsoft.com/office/drawing/2014/main" id="{A1061791-D669-D7C3-E26A-0BDEE06668C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6" name="Grafik 3755">
                  <a:extLst>
                    <a:ext uri="{FF2B5EF4-FFF2-40B4-BE49-F238E27FC236}">
                      <a16:creationId xmlns:a16="http://schemas.microsoft.com/office/drawing/2014/main" id="{7C0C7BD8-1D2E-4DF6-8FBC-693E39FA039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6" name="Grafik 3755">
                <a:extLst>
                  <a:ext uri="{FF2B5EF4-FFF2-40B4-BE49-F238E27FC236}">
                    <a16:creationId xmlns:a16="http://schemas.microsoft.com/office/drawing/2014/main" id="{53C0EA0B-1B3B-6C6F-FC1E-BA9CE7DFF56E}"/>
                  </a:ext>
                </a:extLst>
              </p:cNvPr>
              <p:cNvGrpSpPr/>
              <p:nvPr/>
            </p:nvGrpSpPr>
            <p:grpSpPr bwMode="gray">
              <a:xfrm>
                <a:off x="6118954" y="3314261"/>
                <a:ext cx="117405" cy="65875"/>
                <a:chOff x="6118954" y="3314261"/>
                <a:chExt cx="117405" cy="65875"/>
              </a:xfrm>
              <a:grpFill/>
            </p:grpSpPr>
            <p:sp>
              <p:nvSpPr>
                <p:cNvPr id="51" name="Grafik 3755">
                  <a:extLst>
                    <a:ext uri="{FF2B5EF4-FFF2-40B4-BE49-F238E27FC236}">
                      <a16:creationId xmlns:a16="http://schemas.microsoft.com/office/drawing/2014/main" id="{C7FF0DAF-B383-8E93-519A-94CF892D185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2" name="Grafik 3755">
                  <a:extLst>
                    <a:ext uri="{FF2B5EF4-FFF2-40B4-BE49-F238E27FC236}">
                      <a16:creationId xmlns:a16="http://schemas.microsoft.com/office/drawing/2014/main" id="{67229440-7890-32E3-E3B9-8CE536AE6CF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3" name="Grafik 3755">
                  <a:extLst>
                    <a:ext uri="{FF2B5EF4-FFF2-40B4-BE49-F238E27FC236}">
                      <a16:creationId xmlns:a16="http://schemas.microsoft.com/office/drawing/2014/main" id="{B61FC570-661B-0B49-C894-9E9A9D814FB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47" name="Grafik 3755">
                <a:extLst>
                  <a:ext uri="{FF2B5EF4-FFF2-40B4-BE49-F238E27FC236}">
                    <a16:creationId xmlns:a16="http://schemas.microsoft.com/office/drawing/2014/main" id="{A1743DCD-3C63-794F-3C75-80E124B979CC}"/>
                  </a:ext>
                </a:extLst>
              </p:cNvPr>
              <p:cNvGrpSpPr/>
              <p:nvPr/>
            </p:nvGrpSpPr>
            <p:grpSpPr bwMode="gray">
              <a:xfrm>
                <a:off x="5951066" y="3230345"/>
                <a:ext cx="117405" cy="65779"/>
                <a:chOff x="5951066" y="3230345"/>
                <a:chExt cx="117405" cy="65779"/>
              </a:xfrm>
              <a:grpFill/>
            </p:grpSpPr>
            <p:sp>
              <p:nvSpPr>
                <p:cNvPr id="48" name="Grafik 3755">
                  <a:extLst>
                    <a:ext uri="{FF2B5EF4-FFF2-40B4-BE49-F238E27FC236}">
                      <a16:creationId xmlns:a16="http://schemas.microsoft.com/office/drawing/2014/main" id="{D8029456-ACDE-E896-EFA5-5EE244A3C54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49" name="Grafik 3755">
                  <a:extLst>
                    <a:ext uri="{FF2B5EF4-FFF2-40B4-BE49-F238E27FC236}">
                      <a16:creationId xmlns:a16="http://schemas.microsoft.com/office/drawing/2014/main" id="{10F83212-8FEC-57BC-A40B-7335AED046D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50" name="Grafik 3755">
                  <a:extLst>
                    <a:ext uri="{FF2B5EF4-FFF2-40B4-BE49-F238E27FC236}">
                      <a16:creationId xmlns:a16="http://schemas.microsoft.com/office/drawing/2014/main" id="{223E4B50-6045-281F-4986-91DD4101AB1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35" name="Grafik 3755">
              <a:extLst>
                <a:ext uri="{FF2B5EF4-FFF2-40B4-BE49-F238E27FC236}">
                  <a16:creationId xmlns:a16="http://schemas.microsoft.com/office/drawing/2014/main" id="{144082B5-3F59-6C9C-3EDF-E385F9495A9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36" name="Grafik 3755">
              <a:extLst>
                <a:ext uri="{FF2B5EF4-FFF2-40B4-BE49-F238E27FC236}">
                  <a16:creationId xmlns:a16="http://schemas.microsoft.com/office/drawing/2014/main" id="{946CA9E8-51CE-D8A9-2211-9D9C366254FF}"/>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nvGrpSpPr>
            <p:cNvPr id="37" name="Grafik 3755">
              <a:extLst>
                <a:ext uri="{FF2B5EF4-FFF2-40B4-BE49-F238E27FC236}">
                  <a16:creationId xmlns:a16="http://schemas.microsoft.com/office/drawing/2014/main" id="{40462FD8-26F4-7641-9FB4-FEB3A1439369}"/>
                </a:ext>
              </a:extLst>
            </p:cNvPr>
            <p:cNvGrpSpPr/>
            <p:nvPr/>
          </p:nvGrpSpPr>
          <p:grpSpPr bwMode="gray">
            <a:xfrm>
              <a:off x="6037992" y="3468242"/>
              <a:ext cx="111537" cy="160019"/>
              <a:chOff x="6037992" y="3468242"/>
              <a:chExt cx="111537" cy="160019"/>
            </a:xfrm>
            <a:grpFill/>
          </p:grpSpPr>
          <p:sp>
            <p:nvSpPr>
              <p:cNvPr id="38" name="Grafik 3755">
                <a:extLst>
                  <a:ext uri="{FF2B5EF4-FFF2-40B4-BE49-F238E27FC236}">
                    <a16:creationId xmlns:a16="http://schemas.microsoft.com/office/drawing/2014/main" id="{E070CD64-7207-F8F0-BB0F-10A6E27883C5}"/>
                  </a:ext>
                </a:extLst>
              </p:cNvPr>
              <p:cNvSpPr/>
              <p:nvPr/>
            </p:nvSpPr>
            <p:spPr bwMode="gray">
              <a:xfrm>
                <a:off x="6037992" y="3516724"/>
                <a:ext cx="111537" cy="111537"/>
              </a:xfrm>
              <a:custGeom>
                <a:avLst/>
                <a:gdLst>
                  <a:gd name="connsiteX0" fmla="*/ 90869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9 w 111537"/>
                  <a:gd name="connsiteY5" fmla="*/ 0 h 111537"/>
                  <a:gd name="connsiteX6" fmla="*/ 111538 w 111537"/>
                  <a:gd name="connsiteY6" fmla="*/ 20669 h 111537"/>
                  <a:gd name="connsiteX7" fmla="*/ 111538 w 111537"/>
                  <a:gd name="connsiteY7" fmla="*/ 90869 h 111537"/>
                  <a:gd name="connsiteX8" fmla="*/ 90869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9 w 111537"/>
                  <a:gd name="connsiteY13" fmla="*/ 97346 h 111537"/>
                  <a:gd name="connsiteX14" fmla="*/ 97250 w 111537"/>
                  <a:gd name="connsiteY14" fmla="*/ 90964 h 111537"/>
                  <a:gd name="connsiteX15" fmla="*/ 97250 w 111537"/>
                  <a:gd name="connsiteY15" fmla="*/ 20765 h 111537"/>
                  <a:gd name="connsiteX16" fmla="*/ 90869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9" y="111538"/>
                    </a:moveTo>
                    <a:lnTo>
                      <a:pt x="20669" y="111538"/>
                    </a:lnTo>
                    <a:cubicBezTo>
                      <a:pt x="9239" y="111538"/>
                      <a:pt x="0" y="102299"/>
                      <a:pt x="0" y="90869"/>
                    </a:cubicBezTo>
                    <a:lnTo>
                      <a:pt x="0" y="20669"/>
                    </a:lnTo>
                    <a:cubicBezTo>
                      <a:pt x="0" y="9239"/>
                      <a:pt x="9239" y="0"/>
                      <a:pt x="20669" y="0"/>
                    </a:cubicBezTo>
                    <a:lnTo>
                      <a:pt x="90869" y="0"/>
                    </a:lnTo>
                    <a:cubicBezTo>
                      <a:pt x="102299" y="0"/>
                      <a:pt x="111538" y="9239"/>
                      <a:pt x="111538" y="20669"/>
                    </a:cubicBezTo>
                    <a:lnTo>
                      <a:pt x="111538" y="90869"/>
                    </a:lnTo>
                    <a:cubicBezTo>
                      <a:pt x="111443" y="102299"/>
                      <a:pt x="102203" y="111538"/>
                      <a:pt x="90869" y="111538"/>
                    </a:cubicBezTo>
                    <a:close/>
                    <a:moveTo>
                      <a:pt x="20669" y="14383"/>
                    </a:moveTo>
                    <a:cubicBezTo>
                      <a:pt x="17145" y="14383"/>
                      <a:pt x="14288" y="17240"/>
                      <a:pt x="14288" y="20765"/>
                    </a:cubicBezTo>
                    <a:lnTo>
                      <a:pt x="14288" y="90964"/>
                    </a:lnTo>
                    <a:cubicBezTo>
                      <a:pt x="14288" y="94488"/>
                      <a:pt x="17145" y="97346"/>
                      <a:pt x="20669" y="97346"/>
                    </a:cubicBezTo>
                    <a:lnTo>
                      <a:pt x="90869" y="97346"/>
                    </a:lnTo>
                    <a:cubicBezTo>
                      <a:pt x="94393" y="97346"/>
                      <a:pt x="97250" y="94488"/>
                      <a:pt x="97250" y="90964"/>
                    </a:cubicBezTo>
                    <a:lnTo>
                      <a:pt x="97250" y="20765"/>
                    </a:lnTo>
                    <a:cubicBezTo>
                      <a:pt x="97250" y="17240"/>
                      <a:pt x="94393" y="14383"/>
                      <a:pt x="90869" y="14383"/>
                    </a:cubicBezTo>
                    <a:lnTo>
                      <a:pt x="20669" y="14383"/>
                    </a:lnTo>
                    <a:close/>
                  </a:path>
                </a:pathLst>
              </a:custGeom>
              <a:grpFill/>
              <a:ln w="9525" cap="flat">
                <a:noFill/>
                <a:prstDash val="solid"/>
                <a:miter/>
              </a:ln>
            </p:spPr>
            <p:txBody>
              <a:bodyPr rtlCol="0" anchor="ctr"/>
              <a:lstStyle/>
              <a:p>
                <a:endParaRPr lang="de-DE"/>
              </a:p>
            </p:txBody>
          </p:sp>
          <p:grpSp>
            <p:nvGrpSpPr>
              <p:cNvPr id="39" name="Grafik 3755">
                <a:extLst>
                  <a:ext uri="{FF2B5EF4-FFF2-40B4-BE49-F238E27FC236}">
                    <a16:creationId xmlns:a16="http://schemas.microsoft.com/office/drawing/2014/main" id="{26835338-0CDA-502F-8B26-24E16276548B}"/>
                  </a:ext>
                </a:extLst>
              </p:cNvPr>
              <p:cNvGrpSpPr/>
              <p:nvPr/>
            </p:nvGrpSpPr>
            <p:grpSpPr bwMode="gray">
              <a:xfrm>
                <a:off x="6054184" y="3468242"/>
                <a:ext cx="79057" cy="62865"/>
                <a:chOff x="6054184" y="3468242"/>
                <a:chExt cx="79057" cy="62865"/>
              </a:xfrm>
              <a:grpFill/>
            </p:grpSpPr>
            <p:sp>
              <p:nvSpPr>
                <p:cNvPr id="41" name="Grafik 3755">
                  <a:extLst>
                    <a:ext uri="{FF2B5EF4-FFF2-40B4-BE49-F238E27FC236}">
                      <a16:creationId xmlns:a16="http://schemas.microsoft.com/office/drawing/2014/main" id="{39C0A6C7-0FA8-40BE-A65A-85C496DB9E0C}"/>
                    </a:ext>
                  </a:extLst>
                </p:cNvPr>
                <p:cNvSpPr/>
                <p:nvPr/>
              </p:nvSpPr>
              <p:spPr bwMode="gray">
                <a:xfrm>
                  <a:off x="6054184"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7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8"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6" y="0"/>
                        <a:pt x="39529" y="0"/>
                      </a:cubicBezTo>
                      <a:cubicBezTo>
                        <a:pt x="61341" y="0"/>
                        <a:pt x="79057" y="17716"/>
                        <a:pt x="79057" y="39529"/>
                      </a:cubicBezTo>
                      <a:cubicBezTo>
                        <a:pt x="79057" y="43434"/>
                        <a:pt x="75914" y="46672"/>
                        <a:pt x="71914" y="46672"/>
                      </a:cubicBezTo>
                      <a:close/>
                    </a:path>
                  </a:pathLst>
                </a:custGeom>
                <a:grpFill/>
                <a:ln w="9525" cap="flat">
                  <a:noFill/>
                  <a:prstDash val="solid"/>
                  <a:miter/>
                </a:ln>
              </p:spPr>
              <p:txBody>
                <a:bodyPr rtlCol="0" anchor="ctr"/>
                <a:lstStyle/>
                <a:p>
                  <a:endParaRPr lang="de-DE"/>
                </a:p>
              </p:txBody>
            </p:sp>
            <p:sp>
              <p:nvSpPr>
                <p:cNvPr id="42" name="Grafik 3755">
                  <a:extLst>
                    <a:ext uri="{FF2B5EF4-FFF2-40B4-BE49-F238E27FC236}">
                      <a16:creationId xmlns:a16="http://schemas.microsoft.com/office/drawing/2014/main" id="{E1134D09-7E0B-1E4F-862D-41A0ACF4EFC3}"/>
                    </a:ext>
                  </a:extLst>
                </p:cNvPr>
                <p:cNvSpPr/>
                <p:nvPr/>
              </p:nvSpPr>
              <p:spPr bwMode="gray">
                <a:xfrm>
                  <a:off x="605418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43" name="Grafik 3755">
                  <a:extLst>
                    <a:ext uri="{FF2B5EF4-FFF2-40B4-BE49-F238E27FC236}">
                      <a16:creationId xmlns:a16="http://schemas.microsoft.com/office/drawing/2014/main" id="{9509F626-6783-3B01-6A05-77FBF789AF5B}"/>
                    </a:ext>
                  </a:extLst>
                </p:cNvPr>
                <p:cNvSpPr/>
                <p:nvPr/>
              </p:nvSpPr>
              <p:spPr bwMode="gray">
                <a:xfrm>
                  <a:off x="611895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40" name="Grafik 3755">
                <a:extLst>
                  <a:ext uri="{FF2B5EF4-FFF2-40B4-BE49-F238E27FC236}">
                    <a16:creationId xmlns:a16="http://schemas.microsoft.com/office/drawing/2014/main" id="{2EAF1C36-D121-8D0F-A7C3-3E859C806539}"/>
                  </a:ext>
                </a:extLst>
              </p:cNvPr>
              <p:cNvSpPr/>
              <p:nvPr/>
            </p:nvSpPr>
            <p:spPr bwMode="gray">
              <a:xfrm>
                <a:off x="6071996"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4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70 w 43479"/>
                  <a:gd name="connsiteY14" fmla="*/ 35624 h 67722"/>
                  <a:gd name="connsiteX15" fmla="*/ 25718 w 43479"/>
                  <a:gd name="connsiteY15" fmla="*/ 27908 h 67722"/>
                  <a:gd name="connsiteX16" fmla="*/ 29147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8" y="66675"/>
                      <a:pt x="1524" y="64961"/>
                    </a:cubicBezTo>
                    <a:cubicBezTo>
                      <a:pt x="191" y="63246"/>
                      <a:pt x="-286" y="61055"/>
                      <a:pt x="191" y="58865"/>
                    </a:cubicBezTo>
                    <a:lnTo>
                      <a:pt x="5810" y="36481"/>
                    </a:lnTo>
                    <a:cubicBezTo>
                      <a:pt x="2096" y="32480"/>
                      <a:pt x="0" y="27242"/>
                      <a:pt x="0" y="21717"/>
                    </a:cubicBezTo>
                    <a:cubicBezTo>
                      <a:pt x="0" y="9716"/>
                      <a:pt x="9716" y="0"/>
                      <a:pt x="21717" y="0"/>
                    </a:cubicBezTo>
                    <a:cubicBezTo>
                      <a:pt x="33719" y="0"/>
                      <a:pt x="43434" y="9716"/>
                      <a:pt x="43434" y="21717"/>
                    </a:cubicBezTo>
                    <a:cubicBezTo>
                      <a:pt x="43434" y="27242"/>
                      <a:pt x="41339" y="32480"/>
                      <a:pt x="37624" y="36481"/>
                    </a:cubicBezTo>
                    <a:lnTo>
                      <a:pt x="43244" y="58865"/>
                    </a:lnTo>
                    <a:cubicBezTo>
                      <a:pt x="43815" y="60960"/>
                      <a:pt x="43339" y="63246"/>
                      <a:pt x="41910" y="64961"/>
                    </a:cubicBezTo>
                    <a:cubicBezTo>
                      <a:pt x="40577" y="66770"/>
                      <a:pt x="38481" y="67723"/>
                      <a:pt x="36290" y="67723"/>
                    </a:cubicBezTo>
                    <a:close/>
                    <a:moveTo>
                      <a:pt x="16288" y="53435"/>
                    </a:moveTo>
                    <a:lnTo>
                      <a:pt x="27146" y="53435"/>
                    </a:lnTo>
                    <a:lnTo>
                      <a:pt x="22670" y="35624"/>
                    </a:lnTo>
                    <a:cubicBezTo>
                      <a:pt x="21908" y="32671"/>
                      <a:pt x="23146" y="29528"/>
                      <a:pt x="25718" y="27908"/>
                    </a:cubicBezTo>
                    <a:cubicBezTo>
                      <a:pt x="27813" y="26575"/>
                      <a:pt x="29147" y="24194"/>
                      <a:pt x="29147" y="21717"/>
                    </a:cubicBezTo>
                    <a:cubicBezTo>
                      <a:pt x="29147"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60" name="Grafik 2">
            <a:extLst>
              <a:ext uri="{FF2B5EF4-FFF2-40B4-BE49-F238E27FC236}">
                <a16:creationId xmlns:a16="http://schemas.microsoft.com/office/drawing/2014/main" id="{8415EC0C-6E9D-D3FF-CD1C-D3F7DDBE83F5}"/>
              </a:ext>
            </a:extLst>
          </p:cNvPr>
          <p:cNvGrpSpPr/>
          <p:nvPr/>
        </p:nvGrpSpPr>
        <p:grpSpPr bwMode="gray">
          <a:xfrm>
            <a:off x="318344" y="1865141"/>
            <a:ext cx="373758" cy="373758"/>
            <a:chOff x="5843587" y="3176587"/>
            <a:chExt cx="500253" cy="500253"/>
          </a:xfrm>
          <a:solidFill>
            <a:schemeClr val="tx1"/>
          </a:solidFill>
        </p:grpSpPr>
        <p:grpSp>
          <p:nvGrpSpPr>
            <p:cNvPr id="61" name="Grafik 2">
              <a:extLst>
                <a:ext uri="{FF2B5EF4-FFF2-40B4-BE49-F238E27FC236}">
                  <a16:creationId xmlns:a16="http://schemas.microsoft.com/office/drawing/2014/main" id="{DA099E64-3228-7EDD-FB85-FC0E80E466B6}"/>
                </a:ext>
              </a:extLst>
            </p:cNvPr>
            <p:cNvGrpSpPr/>
            <p:nvPr/>
          </p:nvGrpSpPr>
          <p:grpSpPr bwMode="gray">
            <a:xfrm>
              <a:off x="5843587" y="3176587"/>
              <a:ext cx="500253" cy="500253"/>
              <a:chOff x="5843587" y="3176587"/>
              <a:chExt cx="500253" cy="500253"/>
            </a:xfrm>
            <a:grpFill/>
          </p:grpSpPr>
          <p:grpSp>
            <p:nvGrpSpPr>
              <p:cNvPr id="68" name="Grafik 2">
                <a:extLst>
                  <a:ext uri="{FF2B5EF4-FFF2-40B4-BE49-F238E27FC236}">
                    <a16:creationId xmlns:a16="http://schemas.microsoft.com/office/drawing/2014/main" id="{74530C3F-6D1C-0952-4B3A-938B9357257B}"/>
                  </a:ext>
                </a:extLst>
              </p:cNvPr>
              <p:cNvGrpSpPr/>
              <p:nvPr/>
            </p:nvGrpSpPr>
            <p:grpSpPr bwMode="gray">
              <a:xfrm>
                <a:off x="5951066" y="3230233"/>
                <a:ext cx="285352" cy="149902"/>
                <a:chOff x="5951066" y="3230233"/>
                <a:chExt cx="285352" cy="149902"/>
              </a:xfrm>
              <a:grpFill/>
            </p:grpSpPr>
            <p:grpSp>
              <p:nvGrpSpPr>
                <p:cNvPr id="71" name="Grafik 2">
                  <a:extLst>
                    <a:ext uri="{FF2B5EF4-FFF2-40B4-BE49-F238E27FC236}">
                      <a16:creationId xmlns:a16="http://schemas.microsoft.com/office/drawing/2014/main" id="{96C74397-6AD7-67CA-AFB6-A8BDBCFCDACA}"/>
                    </a:ext>
                  </a:extLst>
                </p:cNvPr>
                <p:cNvGrpSpPr/>
                <p:nvPr/>
              </p:nvGrpSpPr>
              <p:grpSpPr bwMode="gray">
                <a:xfrm>
                  <a:off x="6118933" y="3230233"/>
                  <a:ext cx="117485" cy="65892"/>
                  <a:chOff x="6118933" y="3230233"/>
                  <a:chExt cx="117485" cy="65892"/>
                </a:xfrm>
                <a:grpFill/>
              </p:grpSpPr>
              <p:sp>
                <p:nvSpPr>
                  <p:cNvPr id="84" name="Grafik 2">
                    <a:extLst>
                      <a:ext uri="{FF2B5EF4-FFF2-40B4-BE49-F238E27FC236}">
                        <a16:creationId xmlns:a16="http://schemas.microsoft.com/office/drawing/2014/main" id="{DC445212-FC07-554F-6D98-5C2C678A0C32}"/>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85" name="Grafik 2">
                    <a:extLst>
                      <a:ext uri="{FF2B5EF4-FFF2-40B4-BE49-F238E27FC236}">
                        <a16:creationId xmlns:a16="http://schemas.microsoft.com/office/drawing/2014/main" id="{8DE243A8-59E9-E972-3B29-89DF3B3E6D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86" name="Grafik 2">
                    <a:extLst>
                      <a:ext uri="{FF2B5EF4-FFF2-40B4-BE49-F238E27FC236}">
                        <a16:creationId xmlns:a16="http://schemas.microsoft.com/office/drawing/2014/main" id="{2A221169-C0EF-D8AB-0CD6-495C8F9DCBD9}"/>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2" name="Grafik 2">
                  <a:extLst>
                    <a:ext uri="{FF2B5EF4-FFF2-40B4-BE49-F238E27FC236}">
                      <a16:creationId xmlns:a16="http://schemas.microsoft.com/office/drawing/2014/main" id="{1DBA7A90-F9AA-0E53-41D3-A235A742C8D5}"/>
                    </a:ext>
                  </a:extLst>
                </p:cNvPr>
                <p:cNvGrpSpPr/>
                <p:nvPr/>
              </p:nvGrpSpPr>
              <p:grpSpPr bwMode="gray">
                <a:xfrm>
                  <a:off x="5951103" y="3314244"/>
                  <a:ext cx="117485" cy="65892"/>
                  <a:chOff x="5951103" y="3314244"/>
                  <a:chExt cx="117485" cy="65892"/>
                </a:xfrm>
                <a:grpFill/>
              </p:grpSpPr>
              <p:sp>
                <p:nvSpPr>
                  <p:cNvPr id="81" name="Grafik 2">
                    <a:extLst>
                      <a:ext uri="{FF2B5EF4-FFF2-40B4-BE49-F238E27FC236}">
                        <a16:creationId xmlns:a16="http://schemas.microsoft.com/office/drawing/2014/main" id="{65C3921A-FD26-E7AA-2A4C-060DB164A65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82" name="Grafik 2">
                    <a:extLst>
                      <a:ext uri="{FF2B5EF4-FFF2-40B4-BE49-F238E27FC236}">
                        <a16:creationId xmlns:a16="http://schemas.microsoft.com/office/drawing/2014/main" id="{07EC591F-830F-F2D7-EAF1-F4A062ED207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83" name="Grafik 2">
                    <a:extLst>
                      <a:ext uri="{FF2B5EF4-FFF2-40B4-BE49-F238E27FC236}">
                        <a16:creationId xmlns:a16="http://schemas.microsoft.com/office/drawing/2014/main" id="{7BF60E6C-B0B7-5EBA-F1B6-C3E11C86552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3" name="Grafik 2">
                  <a:extLst>
                    <a:ext uri="{FF2B5EF4-FFF2-40B4-BE49-F238E27FC236}">
                      <a16:creationId xmlns:a16="http://schemas.microsoft.com/office/drawing/2014/main" id="{DBD735CB-5484-0970-94FD-B312734CEE42}"/>
                    </a:ext>
                  </a:extLst>
                </p:cNvPr>
                <p:cNvGrpSpPr/>
                <p:nvPr/>
              </p:nvGrpSpPr>
              <p:grpSpPr bwMode="gray">
                <a:xfrm>
                  <a:off x="6118954" y="3314261"/>
                  <a:ext cx="117405" cy="65875"/>
                  <a:chOff x="6118954" y="3314261"/>
                  <a:chExt cx="117405" cy="65875"/>
                </a:xfrm>
                <a:grpFill/>
              </p:grpSpPr>
              <p:sp>
                <p:nvSpPr>
                  <p:cNvPr id="78" name="Grafik 2">
                    <a:extLst>
                      <a:ext uri="{FF2B5EF4-FFF2-40B4-BE49-F238E27FC236}">
                        <a16:creationId xmlns:a16="http://schemas.microsoft.com/office/drawing/2014/main" id="{BC58F299-ECDF-7A51-29E3-62A6C2451C51}"/>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D0728919-E354-E3D7-B342-D1B9CF841039}"/>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9EDFC0ED-8106-DB25-DD31-27C75636B34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 name="Grafik 2">
                  <a:extLst>
                    <a:ext uri="{FF2B5EF4-FFF2-40B4-BE49-F238E27FC236}">
                      <a16:creationId xmlns:a16="http://schemas.microsoft.com/office/drawing/2014/main" id="{A1BC9520-7357-131D-AF00-F612247A8E55}"/>
                    </a:ext>
                  </a:extLst>
                </p:cNvPr>
                <p:cNvGrpSpPr/>
                <p:nvPr/>
              </p:nvGrpSpPr>
              <p:grpSpPr bwMode="gray">
                <a:xfrm>
                  <a:off x="5951066" y="3230345"/>
                  <a:ext cx="117405" cy="65779"/>
                  <a:chOff x="5951066" y="3230345"/>
                  <a:chExt cx="117405" cy="65779"/>
                </a:xfrm>
                <a:grpFill/>
              </p:grpSpPr>
              <p:sp>
                <p:nvSpPr>
                  <p:cNvPr id="75" name="Grafik 2">
                    <a:extLst>
                      <a:ext uri="{FF2B5EF4-FFF2-40B4-BE49-F238E27FC236}">
                        <a16:creationId xmlns:a16="http://schemas.microsoft.com/office/drawing/2014/main" id="{430C0D6B-0072-82E8-AD13-42EF9F0C954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E8E1757E-DA06-2296-888D-A3178BBF5413}"/>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B311FB16-843E-BEA4-9909-EA4F3BBC6AD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9" name="Grafik 2">
                <a:extLst>
                  <a:ext uri="{FF2B5EF4-FFF2-40B4-BE49-F238E27FC236}">
                    <a16:creationId xmlns:a16="http://schemas.microsoft.com/office/drawing/2014/main" id="{C17D78A2-65CB-E0B2-812F-F430607946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267DBE15-1B5D-0D44-C653-F0EFF7FE5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2" name="Grafik 2">
              <a:extLst>
                <a:ext uri="{FF2B5EF4-FFF2-40B4-BE49-F238E27FC236}">
                  <a16:creationId xmlns:a16="http://schemas.microsoft.com/office/drawing/2014/main" id="{9FC267DC-46A7-869A-9292-7D35CD4CCE50}"/>
                </a:ext>
              </a:extLst>
            </p:cNvPr>
            <p:cNvGrpSpPr/>
            <p:nvPr/>
          </p:nvGrpSpPr>
          <p:grpSpPr bwMode="gray">
            <a:xfrm>
              <a:off x="5973222" y="3483696"/>
              <a:ext cx="243268" cy="129039"/>
              <a:chOff x="5973222" y="3483696"/>
              <a:chExt cx="243268" cy="129039"/>
            </a:xfrm>
            <a:grpFill/>
          </p:grpSpPr>
          <p:sp>
            <p:nvSpPr>
              <p:cNvPr id="63" name="Grafik 2">
                <a:extLst>
                  <a:ext uri="{FF2B5EF4-FFF2-40B4-BE49-F238E27FC236}">
                    <a16:creationId xmlns:a16="http://schemas.microsoft.com/office/drawing/2014/main" id="{A8E18713-90B2-900B-DF2D-351880BBDDD2}"/>
                  </a:ext>
                </a:extLst>
              </p:cNvPr>
              <p:cNvSpPr/>
              <p:nvPr/>
            </p:nvSpPr>
            <p:spPr bwMode="gray">
              <a:xfrm>
                <a:off x="6102667" y="3483696"/>
                <a:ext cx="113823" cy="129039"/>
              </a:xfrm>
              <a:custGeom>
                <a:avLst/>
                <a:gdLst>
                  <a:gd name="connsiteX0" fmla="*/ 7239 w 113823"/>
                  <a:gd name="connsiteY0" fmla="*/ 129040 h 129039"/>
                  <a:gd name="connsiteX1" fmla="*/ 3619 w 113823"/>
                  <a:gd name="connsiteY1" fmla="*/ 128087 h 129039"/>
                  <a:gd name="connsiteX2" fmla="*/ 0 w 113823"/>
                  <a:gd name="connsiteY2" fmla="*/ 121896 h 129039"/>
                  <a:gd name="connsiteX3" fmla="*/ 0 w 113823"/>
                  <a:gd name="connsiteY3" fmla="*/ 7120 h 129039"/>
                  <a:gd name="connsiteX4" fmla="*/ 3619 w 113823"/>
                  <a:gd name="connsiteY4" fmla="*/ 929 h 129039"/>
                  <a:gd name="connsiteX5" fmla="*/ 10763 w 113823"/>
                  <a:gd name="connsiteY5" fmla="*/ 929 h 129039"/>
                  <a:gd name="connsiteX6" fmla="*/ 110204 w 113823"/>
                  <a:gd name="connsiteY6" fmla="*/ 58364 h 129039"/>
                  <a:gd name="connsiteX7" fmla="*/ 113824 w 113823"/>
                  <a:gd name="connsiteY7" fmla="*/ 64556 h 129039"/>
                  <a:gd name="connsiteX8" fmla="*/ 110204 w 113823"/>
                  <a:gd name="connsiteY8" fmla="*/ 70747 h 129039"/>
                  <a:gd name="connsiteX9" fmla="*/ 10763 w 113823"/>
                  <a:gd name="connsiteY9" fmla="*/ 128183 h 129039"/>
                  <a:gd name="connsiteX10" fmla="*/ 7239 w 113823"/>
                  <a:gd name="connsiteY10" fmla="*/ 129040 h 129039"/>
                  <a:gd name="connsiteX11" fmla="*/ 14383 w 113823"/>
                  <a:gd name="connsiteY11" fmla="*/ 19502 h 129039"/>
                  <a:gd name="connsiteX12" fmla="*/ 14383 w 113823"/>
                  <a:gd name="connsiteY12" fmla="*/ 109514 h 129039"/>
                  <a:gd name="connsiteX13" fmla="*/ 92393 w 113823"/>
                  <a:gd name="connsiteY13" fmla="*/ 64460 h 129039"/>
                  <a:gd name="connsiteX14" fmla="*/ 14383 w 113823"/>
                  <a:gd name="connsiteY14" fmla="*/ 19502 h 12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23" h="129039">
                    <a:moveTo>
                      <a:pt x="7239" y="129040"/>
                    </a:moveTo>
                    <a:cubicBezTo>
                      <a:pt x="6001" y="129040"/>
                      <a:pt x="4763" y="128754"/>
                      <a:pt x="3619" y="128087"/>
                    </a:cubicBezTo>
                    <a:cubicBezTo>
                      <a:pt x="1429" y="126849"/>
                      <a:pt x="0" y="124468"/>
                      <a:pt x="0" y="121896"/>
                    </a:cubicBezTo>
                    <a:lnTo>
                      <a:pt x="0" y="7120"/>
                    </a:lnTo>
                    <a:cubicBezTo>
                      <a:pt x="0" y="4548"/>
                      <a:pt x="1333" y="2167"/>
                      <a:pt x="3619" y="929"/>
                    </a:cubicBezTo>
                    <a:cubicBezTo>
                      <a:pt x="5810" y="-310"/>
                      <a:pt x="8572" y="-310"/>
                      <a:pt x="10763" y="929"/>
                    </a:cubicBezTo>
                    <a:lnTo>
                      <a:pt x="110204" y="58364"/>
                    </a:lnTo>
                    <a:cubicBezTo>
                      <a:pt x="112395" y="59603"/>
                      <a:pt x="113824" y="61984"/>
                      <a:pt x="113824" y="64556"/>
                    </a:cubicBezTo>
                    <a:cubicBezTo>
                      <a:pt x="113824" y="67127"/>
                      <a:pt x="112490" y="69509"/>
                      <a:pt x="110204" y="70747"/>
                    </a:cubicBezTo>
                    <a:lnTo>
                      <a:pt x="10763" y="128183"/>
                    </a:lnTo>
                    <a:cubicBezTo>
                      <a:pt x="9715" y="128754"/>
                      <a:pt x="8477" y="129040"/>
                      <a:pt x="7239" y="129040"/>
                    </a:cubicBezTo>
                    <a:close/>
                    <a:moveTo>
                      <a:pt x="14383" y="19502"/>
                    </a:moveTo>
                    <a:lnTo>
                      <a:pt x="14383" y="109514"/>
                    </a:lnTo>
                    <a:lnTo>
                      <a:pt x="92393" y="64460"/>
                    </a:lnTo>
                    <a:lnTo>
                      <a:pt x="14383" y="19502"/>
                    </a:lnTo>
                    <a:close/>
                  </a:path>
                </a:pathLst>
              </a:custGeom>
              <a:grpFill/>
              <a:ln w="9525" cap="flat">
                <a:noFill/>
                <a:prstDash val="solid"/>
                <a:miter/>
              </a:ln>
            </p:spPr>
            <p:txBody>
              <a:bodyPr rtlCol="0" anchor="ctr"/>
              <a:lstStyle/>
              <a:p>
                <a:endParaRPr lang="de-DE"/>
              </a:p>
            </p:txBody>
          </p:sp>
          <p:grpSp>
            <p:nvGrpSpPr>
              <p:cNvPr id="64" name="Grafik 2">
                <a:extLst>
                  <a:ext uri="{FF2B5EF4-FFF2-40B4-BE49-F238E27FC236}">
                    <a16:creationId xmlns:a16="http://schemas.microsoft.com/office/drawing/2014/main" id="{97CF7EC8-C4B9-7655-DA3D-E196365340E1}"/>
                  </a:ext>
                </a:extLst>
              </p:cNvPr>
              <p:cNvGrpSpPr/>
              <p:nvPr/>
            </p:nvGrpSpPr>
            <p:grpSpPr bwMode="gray">
              <a:xfrm>
                <a:off x="5973222" y="3508723"/>
                <a:ext cx="111442" cy="79057"/>
                <a:chOff x="5973222" y="3508723"/>
                <a:chExt cx="111442" cy="79057"/>
              </a:xfrm>
              <a:grpFill/>
            </p:grpSpPr>
            <p:sp>
              <p:nvSpPr>
                <p:cNvPr id="65" name="Grafik 2">
                  <a:extLst>
                    <a:ext uri="{FF2B5EF4-FFF2-40B4-BE49-F238E27FC236}">
                      <a16:creationId xmlns:a16="http://schemas.microsoft.com/office/drawing/2014/main" id="{61BC472F-D55A-F8E2-C1D9-D4C8A99C0554}"/>
                    </a:ext>
                  </a:extLst>
                </p:cNvPr>
                <p:cNvSpPr/>
                <p:nvPr/>
              </p:nvSpPr>
              <p:spPr bwMode="gray">
                <a:xfrm>
                  <a:off x="5973222" y="350872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2E75F273-399C-55FB-D7DB-F54A2941C245}"/>
                    </a:ext>
                  </a:extLst>
                </p:cNvPr>
                <p:cNvSpPr/>
                <p:nvPr/>
              </p:nvSpPr>
              <p:spPr bwMode="gray">
                <a:xfrm>
                  <a:off x="5973222" y="3541108"/>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A7AFF3B9-0C03-7E97-42A9-6764F20F508F}"/>
                    </a:ext>
                  </a:extLst>
                </p:cNvPr>
                <p:cNvSpPr/>
                <p:nvPr/>
              </p:nvSpPr>
              <p:spPr bwMode="gray">
                <a:xfrm>
                  <a:off x="5973222" y="357349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grpSp>
        </p:grpSp>
      </p:grpSp>
      <p:grpSp>
        <p:nvGrpSpPr>
          <p:cNvPr id="87" name="Grafik 5">
            <a:extLst>
              <a:ext uri="{FF2B5EF4-FFF2-40B4-BE49-F238E27FC236}">
                <a16:creationId xmlns:a16="http://schemas.microsoft.com/office/drawing/2014/main" id="{E288D326-32E7-BAA1-2AA2-5C4204BD4441}"/>
              </a:ext>
            </a:extLst>
          </p:cNvPr>
          <p:cNvGrpSpPr/>
          <p:nvPr/>
        </p:nvGrpSpPr>
        <p:grpSpPr bwMode="gray">
          <a:xfrm>
            <a:off x="318344" y="2402528"/>
            <a:ext cx="373758" cy="373758"/>
            <a:chOff x="5843587" y="3176587"/>
            <a:chExt cx="500253" cy="500253"/>
          </a:xfrm>
          <a:solidFill>
            <a:schemeClr val="tx1"/>
          </a:solidFill>
        </p:grpSpPr>
        <p:grpSp>
          <p:nvGrpSpPr>
            <p:cNvPr id="88" name="Grafik 5">
              <a:extLst>
                <a:ext uri="{FF2B5EF4-FFF2-40B4-BE49-F238E27FC236}">
                  <a16:creationId xmlns:a16="http://schemas.microsoft.com/office/drawing/2014/main" id="{B04031BA-8DA6-96D2-7463-F71371B48171}"/>
                </a:ext>
              </a:extLst>
            </p:cNvPr>
            <p:cNvGrpSpPr/>
            <p:nvPr/>
          </p:nvGrpSpPr>
          <p:grpSpPr bwMode="gray">
            <a:xfrm>
              <a:off x="5843587" y="3176587"/>
              <a:ext cx="500253" cy="500253"/>
              <a:chOff x="5843587" y="3176587"/>
              <a:chExt cx="500253" cy="500253"/>
            </a:xfrm>
            <a:grpFill/>
          </p:grpSpPr>
          <p:grpSp>
            <p:nvGrpSpPr>
              <p:cNvPr id="97" name="Grafik 5">
                <a:extLst>
                  <a:ext uri="{FF2B5EF4-FFF2-40B4-BE49-F238E27FC236}">
                    <a16:creationId xmlns:a16="http://schemas.microsoft.com/office/drawing/2014/main" id="{43ADF3C4-C065-95EF-EDF2-560EA7BFC997}"/>
                  </a:ext>
                </a:extLst>
              </p:cNvPr>
              <p:cNvGrpSpPr/>
              <p:nvPr/>
            </p:nvGrpSpPr>
            <p:grpSpPr bwMode="gray">
              <a:xfrm>
                <a:off x="5951066" y="3230233"/>
                <a:ext cx="285352" cy="149902"/>
                <a:chOff x="5951066" y="3230233"/>
                <a:chExt cx="285352" cy="149902"/>
              </a:xfrm>
              <a:grpFill/>
            </p:grpSpPr>
            <p:grpSp>
              <p:nvGrpSpPr>
                <p:cNvPr id="100" name="Grafik 5">
                  <a:extLst>
                    <a:ext uri="{FF2B5EF4-FFF2-40B4-BE49-F238E27FC236}">
                      <a16:creationId xmlns:a16="http://schemas.microsoft.com/office/drawing/2014/main" id="{377E0961-24DA-2951-74C2-17F0C404EE3B}"/>
                    </a:ext>
                  </a:extLst>
                </p:cNvPr>
                <p:cNvGrpSpPr/>
                <p:nvPr/>
              </p:nvGrpSpPr>
              <p:grpSpPr bwMode="gray">
                <a:xfrm>
                  <a:off x="6118933" y="3230233"/>
                  <a:ext cx="117485" cy="65892"/>
                  <a:chOff x="6118933" y="3230233"/>
                  <a:chExt cx="117485" cy="65892"/>
                </a:xfrm>
                <a:grpFill/>
              </p:grpSpPr>
              <p:sp>
                <p:nvSpPr>
                  <p:cNvPr id="113" name="Grafik 5">
                    <a:extLst>
                      <a:ext uri="{FF2B5EF4-FFF2-40B4-BE49-F238E27FC236}">
                        <a16:creationId xmlns:a16="http://schemas.microsoft.com/office/drawing/2014/main" id="{0C386654-8C68-B56C-FDA1-D56014D037E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14" name="Grafik 5">
                    <a:extLst>
                      <a:ext uri="{FF2B5EF4-FFF2-40B4-BE49-F238E27FC236}">
                        <a16:creationId xmlns:a16="http://schemas.microsoft.com/office/drawing/2014/main" id="{4D859ED5-04AB-544D-4D2D-0C45D76817B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15" name="Grafik 5">
                    <a:extLst>
                      <a:ext uri="{FF2B5EF4-FFF2-40B4-BE49-F238E27FC236}">
                        <a16:creationId xmlns:a16="http://schemas.microsoft.com/office/drawing/2014/main" id="{421588DC-BAD7-5B7E-A51D-F09A5C21223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01" name="Grafik 5">
                  <a:extLst>
                    <a:ext uri="{FF2B5EF4-FFF2-40B4-BE49-F238E27FC236}">
                      <a16:creationId xmlns:a16="http://schemas.microsoft.com/office/drawing/2014/main" id="{928A6DA1-B60D-14FE-8840-97B881710A3D}"/>
                    </a:ext>
                  </a:extLst>
                </p:cNvPr>
                <p:cNvGrpSpPr/>
                <p:nvPr/>
              </p:nvGrpSpPr>
              <p:grpSpPr bwMode="gray">
                <a:xfrm>
                  <a:off x="5951103" y="3314244"/>
                  <a:ext cx="117485" cy="65892"/>
                  <a:chOff x="5951103" y="3314244"/>
                  <a:chExt cx="117485" cy="65892"/>
                </a:xfrm>
                <a:grpFill/>
              </p:grpSpPr>
              <p:sp>
                <p:nvSpPr>
                  <p:cNvPr id="110" name="Grafik 5">
                    <a:extLst>
                      <a:ext uri="{FF2B5EF4-FFF2-40B4-BE49-F238E27FC236}">
                        <a16:creationId xmlns:a16="http://schemas.microsoft.com/office/drawing/2014/main" id="{E017FF06-6386-6ED1-F92C-BB3AEE57F4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11" name="Grafik 5">
                    <a:extLst>
                      <a:ext uri="{FF2B5EF4-FFF2-40B4-BE49-F238E27FC236}">
                        <a16:creationId xmlns:a16="http://schemas.microsoft.com/office/drawing/2014/main" id="{6FDB637F-3CDB-4841-D1FB-C8FAB802D7C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12" name="Grafik 5">
                    <a:extLst>
                      <a:ext uri="{FF2B5EF4-FFF2-40B4-BE49-F238E27FC236}">
                        <a16:creationId xmlns:a16="http://schemas.microsoft.com/office/drawing/2014/main" id="{5FF9F768-A127-A54A-D8CF-4623FD3AA41D}"/>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02" name="Grafik 5">
                  <a:extLst>
                    <a:ext uri="{FF2B5EF4-FFF2-40B4-BE49-F238E27FC236}">
                      <a16:creationId xmlns:a16="http://schemas.microsoft.com/office/drawing/2014/main" id="{9977BCD0-826B-590A-B074-80992F9F668D}"/>
                    </a:ext>
                  </a:extLst>
                </p:cNvPr>
                <p:cNvGrpSpPr/>
                <p:nvPr/>
              </p:nvGrpSpPr>
              <p:grpSpPr bwMode="gray">
                <a:xfrm>
                  <a:off x="6118954" y="3314261"/>
                  <a:ext cx="117405" cy="65875"/>
                  <a:chOff x="6118954" y="3314261"/>
                  <a:chExt cx="117405" cy="65875"/>
                </a:xfrm>
                <a:grpFill/>
              </p:grpSpPr>
              <p:sp>
                <p:nvSpPr>
                  <p:cNvPr id="107" name="Grafik 5">
                    <a:extLst>
                      <a:ext uri="{FF2B5EF4-FFF2-40B4-BE49-F238E27FC236}">
                        <a16:creationId xmlns:a16="http://schemas.microsoft.com/office/drawing/2014/main" id="{305EF007-4FE6-EA8E-7787-C9FF5318147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08" name="Grafik 5">
                    <a:extLst>
                      <a:ext uri="{FF2B5EF4-FFF2-40B4-BE49-F238E27FC236}">
                        <a16:creationId xmlns:a16="http://schemas.microsoft.com/office/drawing/2014/main" id="{99172CC1-B107-3A78-DAFA-E23770804A1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09" name="Grafik 5">
                    <a:extLst>
                      <a:ext uri="{FF2B5EF4-FFF2-40B4-BE49-F238E27FC236}">
                        <a16:creationId xmlns:a16="http://schemas.microsoft.com/office/drawing/2014/main" id="{EC78EE04-378C-1D86-E4F3-6443C429DEA0}"/>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03" name="Grafik 5">
                  <a:extLst>
                    <a:ext uri="{FF2B5EF4-FFF2-40B4-BE49-F238E27FC236}">
                      <a16:creationId xmlns:a16="http://schemas.microsoft.com/office/drawing/2014/main" id="{5AF0A2BA-459E-FF62-5FCE-4C31F948A34D}"/>
                    </a:ext>
                  </a:extLst>
                </p:cNvPr>
                <p:cNvGrpSpPr/>
                <p:nvPr/>
              </p:nvGrpSpPr>
              <p:grpSpPr bwMode="gray">
                <a:xfrm>
                  <a:off x="5951066" y="3230345"/>
                  <a:ext cx="117405" cy="65779"/>
                  <a:chOff x="5951066" y="3230345"/>
                  <a:chExt cx="117405" cy="65779"/>
                </a:xfrm>
                <a:grpFill/>
              </p:grpSpPr>
              <p:sp>
                <p:nvSpPr>
                  <p:cNvPr id="104" name="Grafik 5">
                    <a:extLst>
                      <a:ext uri="{FF2B5EF4-FFF2-40B4-BE49-F238E27FC236}">
                        <a16:creationId xmlns:a16="http://schemas.microsoft.com/office/drawing/2014/main" id="{322BD09E-2567-926D-86C0-92DDFA9ED4E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05" name="Grafik 5">
                    <a:extLst>
                      <a:ext uri="{FF2B5EF4-FFF2-40B4-BE49-F238E27FC236}">
                        <a16:creationId xmlns:a16="http://schemas.microsoft.com/office/drawing/2014/main" id="{29F93257-0E16-B684-F7C0-232A47BD4D4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06" name="Grafik 5">
                    <a:extLst>
                      <a:ext uri="{FF2B5EF4-FFF2-40B4-BE49-F238E27FC236}">
                        <a16:creationId xmlns:a16="http://schemas.microsoft.com/office/drawing/2014/main" id="{D14EA2CC-7FFF-70DA-599F-DF44D7C5837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98" name="Grafik 5">
                <a:extLst>
                  <a:ext uri="{FF2B5EF4-FFF2-40B4-BE49-F238E27FC236}">
                    <a16:creationId xmlns:a16="http://schemas.microsoft.com/office/drawing/2014/main" id="{D6C0670B-B242-0F5D-E116-1B1775B2BE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99" name="Grafik 5">
                <a:extLst>
                  <a:ext uri="{FF2B5EF4-FFF2-40B4-BE49-F238E27FC236}">
                    <a16:creationId xmlns:a16="http://schemas.microsoft.com/office/drawing/2014/main" id="{F08BB7E6-92B5-1FB2-0E77-14371BE694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89" name="Grafik 5">
              <a:extLst>
                <a:ext uri="{FF2B5EF4-FFF2-40B4-BE49-F238E27FC236}">
                  <a16:creationId xmlns:a16="http://schemas.microsoft.com/office/drawing/2014/main" id="{4A3D7FA4-D108-5559-F82E-7521C962FA21}"/>
                </a:ext>
              </a:extLst>
            </p:cNvPr>
            <p:cNvGrpSpPr/>
            <p:nvPr/>
          </p:nvGrpSpPr>
          <p:grpSpPr bwMode="gray">
            <a:xfrm>
              <a:off x="5965126" y="3492531"/>
              <a:ext cx="257270" cy="111442"/>
              <a:chOff x="5965126" y="3492531"/>
              <a:chExt cx="257270" cy="111442"/>
            </a:xfrm>
            <a:grpFill/>
          </p:grpSpPr>
          <p:sp>
            <p:nvSpPr>
              <p:cNvPr id="90" name="Grafik 5">
                <a:extLst>
                  <a:ext uri="{FF2B5EF4-FFF2-40B4-BE49-F238E27FC236}">
                    <a16:creationId xmlns:a16="http://schemas.microsoft.com/office/drawing/2014/main" id="{13A03B72-155E-BBF1-9775-8A2DE5C62640}"/>
                  </a:ext>
                </a:extLst>
              </p:cNvPr>
              <p:cNvSpPr/>
              <p:nvPr/>
            </p:nvSpPr>
            <p:spPr bwMode="gray">
              <a:xfrm>
                <a:off x="6159531"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1" name="Grafik 5">
                <a:extLst>
                  <a:ext uri="{FF2B5EF4-FFF2-40B4-BE49-F238E27FC236}">
                    <a16:creationId xmlns:a16="http://schemas.microsoft.com/office/drawing/2014/main" id="{530AA3EB-B2C7-7E4E-58F2-E93E0C6E1359}"/>
                  </a:ext>
                </a:extLst>
              </p:cNvPr>
              <p:cNvSpPr/>
              <p:nvPr/>
            </p:nvSpPr>
            <p:spPr bwMode="gray">
              <a:xfrm>
                <a:off x="611095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192 w 62864"/>
                  <a:gd name="connsiteY9" fmla="*/ 48578 h 62865"/>
                  <a:gd name="connsiteX10" fmla="*/ 48482 w 62864"/>
                  <a:gd name="connsiteY10" fmla="*/ 48578 h 62865"/>
                  <a:gd name="connsiteX11" fmla="*/ 48482 w 62864"/>
                  <a:gd name="connsiteY11" fmla="*/ 14288 h 62865"/>
                  <a:gd name="connsiteX12" fmla="*/ 14192 w 62864"/>
                  <a:gd name="connsiteY12" fmla="*/ 14288 h 62865"/>
                  <a:gd name="connsiteX13" fmla="*/ 14192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192" y="48578"/>
                    </a:moveTo>
                    <a:lnTo>
                      <a:pt x="48482" y="48578"/>
                    </a:lnTo>
                    <a:lnTo>
                      <a:pt x="48482" y="14288"/>
                    </a:lnTo>
                    <a:lnTo>
                      <a:pt x="14192" y="14288"/>
                    </a:lnTo>
                    <a:lnTo>
                      <a:pt x="14192" y="48578"/>
                    </a:lnTo>
                    <a:close/>
                  </a:path>
                </a:pathLst>
              </a:custGeom>
              <a:grpFill/>
              <a:ln w="9525" cap="flat">
                <a:noFill/>
                <a:prstDash val="solid"/>
                <a:miter/>
              </a:ln>
            </p:spPr>
            <p:txBody>
              <a:bodyPr rtlCol="0" anchor="ctr"/>
              <a:lstStyle/>
              <a:p>
                <a:endParaRPr lang="de-DE"/>
              </a:p>
            </p:txBody>
          </p:sp>
          <p:sp>
            <p:nvSpPr>
              <p:cNvPr id="92" name="Grafik 5">
                <a:extLst>
                  <a:ext uri="{FF2B5EF4-FFF2-40B4-BE49-F238E27FC236}">
                    <a16:creationId xmlns:a16="http://schemas.microsoft.com/office/drawing/2014/main" id="{06B6C692-1F6E-0837-24E1-4EE6810A93AF}"/>
                  </a:ext>
                </a:extLst>
              </p:cNvPr>
              <p:cNvSpPr/>
              <p:nvPr/>
            </p:nvSpPr>
            <p:spPr bwMode="gray">
              <a:xfrm>
                <a:off x="6062280"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722"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3" name="Grafik 5">
                <a:extLst>
                  <a:ext uri="{FF2B5EF4-FFF2-40B4-BE49-F238E27FC236}">
                    <a16:creationId xmlns:a16="http://schemas.microsoft.com/office/drawing/2014/main" id="{2E441AC7-F87D-C1EF-E192-B4B08BE7FD89}"/>
                  </a:ext>
                </a:extLst>
              </p:cNvPr>
              <p:cNvSpPr/>
              <p:nvPr/>
            </p:nvSpPr>
            <p:spPr bwMode="gray">
              <a:xfrm>
                <a:off x="601370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288 w 62864"/>
                  <a:gd name="connsiteY9" fmla="*/ 48578 h 62865"/>
                  <a:gd name="connsiteX10" fmla="*/ 48577 w 62864"/>
                  <a:gd name="connsiteY10" fmla="*/ 48578 h 62865"/>
                  <a:gd name="connsiteX11" fmla="*/ 48577 w 62864"/>
                  <a:gd name="connsiteY11" fmla="*/ 14288 h 62865"/>
                  <a:gd name="connsiteX12" fmla="*/ 14288 w 62864"/>
                  <a:gd name="connsiteY12" fmla="*/ 14288 h 62865"/>
                  <a:gd name="connsiteX13" fmla="*/ 14288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288" y="48578"/>
                    </a:moveTo>
                    <a:lnTo>
                      <a:pt x="48577" y="48578"/>
                    </a:lnTo>
                    <a:lnTo>
                      <a:pt x="48577" y="14288"/>
                    </a:lnTo>
                    <a:lnTo>
                      <a:pt x="14288" y="14288"/>
                    </a:lnTo>
                    <a:lnTo>
                      <a:pt x="14288" y="48578"/>
                    </a:lnTo>
                    <a:close/>
                  </a:path>
                </a:pathLst>
              </a:custGeom>
              <a:grpFill/>
              <a:ln w="9525" cap="flat">
                <a:noFill/>
                <a:prstDash val="solid"/>
                <a:miter/>
              </a:ln>
            </p:spPr>
            <p:txBody>
              <a:bodyPr rtlCol="0" anchor="ctr"/>
              <a:lstStyle/>
              <a:p>
                <a:endParaRPr lang="de-DE"/>
              </a:p>
            </p:txBody>
          </p:sp>
          <p:sp>
            <p:nvSpPr>
              <p:cNvPr id="94" name="Grafik 5">
                <a:extLst>
                  <a:ext uri="{FF2B5EF4-FFF2-40B4-BE49-F238E27FC236}">
                    <a16:creationId xmlns:a16="http://schemas.microsoft.com/office/drawing/2014/main" id="{2C39B06C-D6E1-B568-6658-D17F67C6F9BA}"/>
                  </a:ext>
                </a:extLst>
              </p:cNvPr>
              <p:cNvSpPr/>
              <p:nvPr/>
            </p:nvSpPr>
            <p:spPr bwMode="gray">
              <a:xfrm>
                <a:off x="611095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192 w 62864"/>
                  <a:gd name="connsiteY9" fmla="*/ 48577 h 62864"/>
                  <a:gd name="connsiteX10" fmla="*/ 48482 w 62864"/>
                  <a:gd name="connsiteY10" fmla="*/ 48577 h 62864"/>
                  <a:gd name="connsiteX11" fmla="*/ 48482 w 62864"/>
                  <a:gd name="connsiteY11" fmla="*/ 14288 h 62864"/>
                  <a:gd name="connsiteX12" fmla="*/ 14192 w 62864"/>
                  <a:gd name="connsiteY12" fmla="*/ 14288 h 62864"/>
                  <a:gd name="connsiteX13" fmla="*/ 14192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192" y="48577"/>
                    </a:moveTo>
                    <a:lnTo>
                      <a:pt x="48482" y="48577"/>
                    </a:lnTo>
                    <a:lnTo>
                      <a:pt x="48482" y="14288"/>
                    </a:lnTo>
                    <a:lnTo>
                      <a:pt x="14192" y="14288"/>
                    </a:lnTo>
                    <a:lnTo>
                      <a:pt x="14192" y="48577"/>
                    </a:lnTo>
                    <a:close/>
                  </a:path>
                </a:pathLst>
              </a:custGeom>
              <a:grpFill/>
              <a:ln w="9525" cap="flat">
                <a:noFill/>
                <a:prstDash val="solid"/>
                <a:miter/>
              </a:ln>
            </p:spPr>
            <p:txBody>
              <a:bodyPr rtlCol="0" anchor="ctr"/>
              <a:lstStyle/>
              <a:p>
                <a:endParaRPr lang="de-DE"/>
              </a:p>
            </p:txBody>
          </p:sp>
          <p:sp>
            <p:nvSpPr>
              <p:cNvPr id="95" name="Grafik 5">
                <a:extLst>
                  <a:ext uri="{FF2B5EF4-FFF2-40B4-BE49-F238E27FC236}">
                    <a16:creationId xmlns:a16="http://schemas.microsoft.com/office/drawing/2014/main" id="{15F7FF39-E148-0428-9F65-AC9DECA1A12B}"/>
                  </a:ext>
                </a:extLst>
              </p:cNvPr>
              <p:cNvSpPr/>
              <p:nvPr/>
            </p:nvSpPr>
            <p:spPr bwMode="gray">
              <a:xfrm>
                <a:off x="601370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288 w 62864"/>
                  <a:gd name="connsiteY9" fmla="*/ 48577 h 62864"/>
                  <a:gd name="connsiteX10" fmla="*/ 48577 w 62864"/>
                  <a:gd name="connsiteY10" fmla="*/ 48577 h 62864"/>
                  <a:gd name="connsiteX11" fmla="*/ 48577 w 62864"/>
                  <a:gd name="connsiteY11" fmla="*/ 14288 h 62864"/>
                  <a:gd name="connsiteX12" fmla="*/ 14288 w 62864"/>
                  <a:gd name="connsiteY12" fmla="*/ 14288 h 62864"/>
                  <a:gd name="connsiteX13" fmla="*/ 14288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288" y="48577"/>
                    </a:moveTo>
                    <a:lnTo>
                      <a:pt x="48577" y="48577"/>
                    </a:lnTo>
                    <a:lnTo>
                      <a:pt x="48577" y="14288"/>
                    </a:lnTo>
                    <a:lnTo>
                      <a:pt x="14288" y="14288"/>
                    </a:lnTo>
                    <a:lnTo>
                      <a:pt x="14288" y="48577"/>
                    </a:lnTo>
                    <a:close/>
                  </a:path>
                </a:pathLst>
              </a:custGeom>
              <a:grpFill/>
              <a:ln w="9525" cap="flat">
                <a:noFill/>
                <a:prstDash val="solid"/>
                <a:miter/>
              </a:ln>
            </p:spPr>
            <p:txBody>
              <a:bodyPr rtlCol="0" anchor="ctr"/>
              <a:lstStyle/>
              <a:p>
                <a:endParaRPr lang="de-DE"/>
              </a:p>
            </p:txBody>
          </p:sp>
          <p:sp>
            <p:nvSpPr>
              <p:cNvPr id="96" name="Grafik 5">
                <a:extLst>
                  <a:ext uri="{FF2B5EF4-FFF2-40B4-BE49-F238E27FC236}">
                    <a16:creationId xmlns:a16="http://schemas.microsoft.com/office/drawing/2014/main" id="{03CA9512-63F6-F411-0CB1-3FF736C70B4A}"/>
                  </a:ext>
                </a:extLst>
              </p:cNvPr>
              <p:cNvSpPr/>
              <p:nvPr/>
            </p:nvSpPr>
            <p:spPr bwMode="gray">
              <a:xfrm>
                <a:off x="5965126"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grpSp>
      </p:grpSp>
      <p:grpSp>
        <p:nvGrpSpPr>
          <p:cNvPr id="116" name="Grafik 7">
            <a:extLst>
              <a:ext uri="{FF2B5EF4-FFF2-40B4-BE49-F238E27FC236}">
                <a16:creationId xmlns:a16="http://schemas.microsoft.com/office/drawing/2014/main" id="{C88B2D79-4259-1B15-A20F-061B09510842}"/>
              </a:ext>
            </a:extLst>
          </p:cNvPr>
          <p:cNvGrpSpPr/>
          <p:nvPr/>
        </p:nvGrpSpPr>
        <p:grpSpPr bwMode="gray">
          <a:xfrm>
            <a:off x="318344" y="3477302"/>
            <a:ext cx="373758" cy="373758"/>
            <a:chOff x="5843587" y="3176587"/>
            <a:chExt cx="500253" cy="500253"/>
          </a:xfrm>
          <a:solidFill>
            <a:schemeClr val="tx1"/>
          </a:solidFill>
        </p:grpSpPr>
        <p:grpSp>
          <p:nvGrpSpPr>
            <p:cNvPr id="117" name="Grafik 7">
              <a:extLst>
                <a:ext uri="{FF2B5EF4-FFF2-40B4-BE49-F238E27FC236}">
                  <a16:creationId xmlns:a16="http://schemas.microsoft.com/office/drawing/2014/main" id="{C6B53817-65C1-A4A8-7B45-7B878DFFF422}"/>
                </a:ext>
              </a:extLst>
            </p:cNvPr>
            <p:cNvGrpSpPr/>
            <p:nvPr/>
          </p:nvGrpSpPr>
          <p:grpSpPr bwMode="gray">
            <a:xfrm>
              <a:off x="5843587" y="3176587"/>
              <a:ext cx="500253" cy="500253"/>
              <a:chOff x="5843587" y="3176587"/>
              <a:chExt cx="500253" cy="500253"/>
            </a:xfrm>
            <a:grpFill/>
          </p:grpSpPr>
          <p:grpSp>
            <p:nvGrpSpPr>
              <p:cNvPr id="136" name="Grafik 7">
                <a:extLst>
                  <a:ext uri="{FF2B5EF4-FFF2-40B4-BE49-F238E27FC236}">
                    <a16:creationId xmlns:a16="http://schemas.microsoft.com/office/drawing/2014/main" id="{B29204C7-3C7B-1742-2761-082614679C05}"/>
                  </a:ext>
                </a:extLst>
              </p:cNvPr>
              <p:cNvGrpSpPr/>
              <p:nvPr/>
            </p:nvGrpSpPr>
            <p:grpSpPr bwMode="gray">
              <a:xfrm>
                <a:off x="5951066" y="3230233"/>
                <a:ext cx="285352" cy="149902"/>
                <a:chOff x="5951066" y="3230233"/>
                <a:chExt cx="285352" cy="149902"/>
              </a:xfrm>
              <a:grpFill/>
            </p:grpSpPr>
            <p:grpSp>
              <p:nvGrpSpPr>
                <p:cNvPr id="139" name="Grafik 7">
                  <a:extLst>
                    <a:ext uri="{FF2B5EF4-FFF2-40B4-BE49-F238E27FC236}">
                      <a16:creationId xmlns:a16="http://schemas.microsoft.com/office/drawing/2014/main" id="{292DA715-5CF0-F424-FFCE-FC6896F10880}"/>
                    </a:ext>
                  </a:extLst>
                </p:cNvPr>
                <p:cNvGrpSpPr/>
                <p:nvPr/>
              </p:nvGrpSpPr>
              <p:grpSpPr bwMode="gray">
                <a:xfrm>
                  <a:off x="6118933" y="3230233"/>
                  <a:ext cx="117485" cy="65892"/>
                  <a:chOff x="6118933" y="3230233"/>
                  <a:chExt cx="117485" cy="65892"/>
                </a:xfrm>
                <a:grpFill/>
              </p:grpSpPr>
              <p:sp>
                <p:nvSpPr>
                  <p:cNvPr id="152" name="Grafik 7">
                    <a:extLst>
                      <a:ext uri="{FF2B5EF4-FFF2-40B4-BE49-F238E27FC236}">
                        <a16:creationId xmlns:a16="http://schemas.microsoft.com/office/drawing/2014/main" id="{026C83C9-B603-E6A6-7DED-3AF47657C2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3" name="Grafik 7">
                    <a:extLst>
                      <a:ext uri="{FF2B5EF4-FFF2-40B4-BE49-F238E27FC236}">
                        <a16:creationId xmlns:a16="http://schemas.microsoft.com/office/drawing/2014/main" id="{5F4B767C-901F-4497-0F60-3DEC63C8B8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4" name="Grafik 7">
                    <a:extLst>
                      <a:ext uri="{FF2B5EF4-FFF2-40B4-BE49-F238E27FC236}">
                        <a16:creationId xmlns:a16="http://schemas.microsoft.com/office/drawing/2014/main" id="{63E35356-92AD-8BB9-783C-C1C6B5808E8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0" name="Grafik 7">
                  <a:extLst>
                    <a:ext uri="{FF2B5EF4-FFF2-40B4-BE49-F238E27FC236}">
                      <a16:creationId xmlns:a16="http://schemas.microsoft.com/office/drawing/2014/main" id="{8A232615-0AA5-D339-7AC9-A5CD88343103}"/>
                    </a:ext>
                  </a:extLst>
                </p:cNvPr>
                <p:cNvGrpSpPr/>
                <p:nvPr/>
              </p:nvGrpSpPr>
              <p:grpSpPr bwMode="gray">
                <a:xfrm>
                  <a:off x="5951103" y="3314244"/>
                  <a:ext cx="117485" cy="65892"/>
                  <a:chOff x="5951103" y="3314244"/>
                  <a:chExt cx="117485" cy="65892"/>
                </a:xfrm>
                <a:grpFill/>
              </p:grpSpPr>
              <p:sp>
                <p:nvSpPr>
                  <p:cNvPr id="149" name="Grafik 7">
                    <a:extLst>
                      <a:ext uri="{FF2B5EF4-FFF2-40B4-BE49-F238E27FC236}">
                        <a16:creationId xmlns:a16="http://schemas.microsoft.com/office/drawing/2014/main" id="{B98DA88D-4895-1540-2860-6544C37EC14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0" name="Grafik 7">
                    <a:extLst>
                      <a:ext uri="{FF2B5EF4-FFF2-40B4-BE49-F238E27FC236}">
                        <a16:creationId xmlns:a16="http://schemas.microsoft.com/office/drawing/2014/main" id="{CFBBF87B-EFDE-8314-2CB4-26A7A9D67D0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1" name="Grafik 7">
                    <a:extLst>
                      <a:ext uri="{FF2B5EF4-FFF2-40B4-BE49-F238E27FC236}">
                        <a16:creationId xmlns:a16="http://schemas.microsoft.com/office/drawing/2014/main" id="{61579216-8527-2AC8-5FA5-F763CAF3A8E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1" name="Grafik 7">
                  <a:extLst>
                    <a:ext uri="{FF2B5EF4-FFF2-40B4-BE49-F238E27FC236}">
                      <a16:creationId xmlns:a16="http://schemas.microsoft.com/office/drawing/2014/main" id="{A4ED85C2-1DD7-5B6F-8FAD-0F933B76DDD1}"/>
                    </a:ext>
                  </a:extLst>
                </p:cNvPr>
                <p:cNvGrpSpPr/>
                <p:nvPr/>
              </p:nvGrpSpPr>
              <p:grpSpPr bwMode="gray">
                <a:xfrm>
                  <a:off x="6118954" y="3314261"/>
                  <a:ext cx="117405" cy="65875"/>
                  <a:chOff x="6118954" y="3314261"/>
                  <a:chExt cx="117405" cy="65875"/>
                </a:xfrm>
                <a:grpFill/>
              </p:grpSpPr>
              <p:sp>
                <p:nvSpPr>
                  <p:cNvPr id="146" name="Grafik 7">
                    <a:extLst>
                      <a:ext uri="{FF2B5EF4-FFF2-40B4-BE49-F238E27FC236}">
                        <a16:creationId xmlns:a16="http://schemas.microsoft.com/office/drawing/2014/main" id="{70D13061-AC1E-8927-8428-B0F785CF886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7" name="Grafik 7">
                    <a:extLst>
                      <a:ext uri="{FF2B5EF4-FFF2-40B4-BE49-F238E27FC236}">
                        <a16:creationId xmlns:a16="http://schemas.microsoft.com/office/drawing/2014/main" id="{AC0E0C29-0958-64EF-3380-C9FCA7062C41}"/>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8" name="Grafik 7">
                    <a:extLst>
                      <a:ext uri="{FF2B5EF4-FFF2-40B4-BE49-F238E27FC236}">
                        <a16:creationId xmlns:a16="http://schemas.microsoft.com/office/drawing/2014/main" id="{C0B9EDC2-20CD-81CE-A5C3-FC12F6DF2EC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2" name="Grafik 7">
                  <a:extLst>
                    <a:ext uri="{FF2B5EF4-FFF2-40B4-BE49-F238E27FC236}">
                      <a16:creationId xmlns:a16="http://schemas.microsoft.com/office/drawing/2014/main" id="{DBF49DE0-D9AA-D895-00D7-18564F16CBA0}"/>
                    </a:ext>
                  </a:extLst>
                </p:cNvPr>
                <p:cNvGrpSpPr/>
                <p:nvPr/>
              </p:nvGrpSpPr>
              <p:grpSpPr bwMode="gray">
                <a:xfrm>
                  <a:off x="5951066" y="3230345"/>
                  <a:ext cx="117405" cy="65779"/>
                  <a:chOff x="5951066" y="3230345"/>
                  <a:chExt cx="117405" cy="65779"/>
                </a:xfrm>
                <a:grpFill/>
              </p:grpSpPr>
              <p:sp>
                <p:nvSpPr>
                  <p:cNvPr id="143" name="Grafik 7">
                    <a:extLst>
                      <a:ext uri="{FF2B5EF4-FFF2-40B4-BE49-F238E27FC236}">
                        <a16:creationId xmlns:a16="http://schemas.microsoft.com/office/drawing/2014/main" id="{0A3B9343-C48D-12F1-DAA9-22785A5BCCDD}"/>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4" name="Grafik 7">
                    <a:extLst>
                      <a:ext uri="{FF2B5EF4-FFF2-40B4-BE49-F238E27FC236}">
                        <a16:creationId xmlns:a16="http://schemas.microsoft.com/office/drawing/2014/main" id="{16AABE6B-26FE-0874-38D8-3BC3BABE4A2A}"/>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5" name="Grafik 7">
                    <a:extLst>
                      <a:ext uri="{FF2B5EF4-FFF2-40B4-BE49-F238E27FC236}">
                        <a16:creationId xmlns:a16="http://schemas.microsoft.com/office/drawing/2014/main" id="{08A2F3F1-2200-148F-3C1B-6444241B399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7" name="Grafik 7">
                <a:extLst>
                  <a:ext uri="{FF2B5EF4-FFF2-40B4-BE49-F238E27FC236}">
                    <a16:creationId xmlns:a16="http://schemas.microsoft.com/office/drawing/2014/main" id="{6D715C7A-1B6A-6E99-5AFA-B21720C4002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8" name="Grafik 7">
                <a:extLst>
                  <a:ext uri="{FF2B5EF4-FFF2-40B4-BE49-F238E27FC236}">
                    <a16:creationId xmlns:a16="http://schemas.microsoft.com/office/drawing/2014/main" id="{3A81F545-E294-76C9-F7E1-ABD06544290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18" name="Grafik 7">
              <a:extLst>
                <a:ext uri="{FF2B5EF4-FFF2-40B4-BE49-F238E27FC236}">
                  <a16:creationId xmlns:a16="http://schemas.microsoft.com/office/drawing/2014/main" id="{41765F04-A23B-26F8-8D95-B00E0AB8DB91}"/>
                </a:ext>
              </a:extLst>
            </p:cNvPr>
            <p:cNvGrpSpPr/>
            <p:nvPr/>
          </p:nvGrpSpPr>
          <p:grpSpPr bwMode="gray">
            <a:xfrm>
              <a:off x="5980770" y="3457479"/>
              <a:ext cx="224742" cy="172593"/>
              <a:chOff x="5980770" y="3457479"/>
              <a:chExt cx="224742" cy="172593"/>
            </a:xfrm>
            <a:grpFill/>
          </p:grpSpPr>
          <p:grpSp>
            <p:nvGrpSpPr>
              <p:cNvPr id="119" name="Grafik 7">
                <a:extLst>
                  <a:ext uri="{FF2B5EF4-FFF2-40B4-BE49-F238E27FC236}">
                    <a16:creationId xmlns:a16="http://schemas.microsoft.com/office/drawing/2014/main" id="{6AB42770-5289-5114-688E-D2342DFA8720}"/>
                  </a:ext>
                </a:extLst>
              </p:cNvPr>
              <p:cNvGrpSpPr/>
              <p:nvPr/>
            </p:nvGrpSpPr>
            <p:grpSpPr bwMode="gray">
              <a:xfrm>
                <a:off x="5986271" y="3457479"/>
                <a:ext cx="201548" cy="85915"/>
                <a:chOff x="5986271" y="3457479"/>
                <a:chExt cx="201548" cy="85915"/>
              </a:xfrm>
              <a:grpFill/>
            </p:grpSpPr>
            <p:sp>
              <p:nvSpPr>
                <p:cNvPr id="128" name="Grafik 7">
                  <a:extLst>
                    <a:ext uri="{FF2B5EF4-FFF2-40B4-BE49-F238E27FC236}">
                      <a16:creationId xmlns:a16="http://schemas.microsoft.com/office/drawing/2014/main" id="{0B4604CC-2A12-17DC-247A-43E63911B259}"/>
                    </a:ext>
                  </a:extLst>
                </p:cNvPr>
                <p:cNvSpPr/>
                <p:nvPr/>
              </p:nvSpPr>
              <p:spPr bwMode="gray">
                <a:xfrm>
                  <a:off x="6015608" y="3462718"/>
                  <a:ext cx="14287" cy="80676"/>
                </a:xfrm>
                <a:custGeom>
                  <a:avLst/>
                  <a:gdLst>
                    <a:gd name="connsiteX0" fmla="*/ 7144 w 14287"/>
                    <a:gd name="connsiteY0" fmla="*/ 80677 h 80676"/>
                    <a:gd name="connsiteX1" fmla="*/ 0 w 14287"/>
                    <a:gd name="connsiteY1" fmla="*/ 73533 h 80676"/>
                    <a:gd name="connsiteX2" fmla="*/ 0 w 14287"/>
                    <a:gd name="connsiteY2" fmla="*/ 7144 h 80676"/>
                    <a:gd name="connsiteX3" fmla="*/ 7144 w 14287"/>
                    <a:gd name="connsiteY3" fmla="*/ 0 h 80676"/>
                    <a:gd name="connsiteX4" fmla="*/ 14288 w 14287"/>
                    <a:gd name="connsiteY4" fmla="*/ 7144 h 80676"/>
                    <a:gd name="connsiteX5" fmla="*/ 14288 w 14287"/>
                    <a:gd name="connsiteY5" fmla="*/ 73533 h 80676"/>
                    <a:gd name="connsiteX6" fmla="*/ 7144 w 14287"/>
                    <a:gd name="connsiteY6" fmla="*/ 80677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0676">
                      <a:moveTo>
                        <a:pt x="7144" y="80677"/>
                      </a:moveTo>
                      <a:cubicBezTo>
                        <a:pt x="3239" y="80677"/>
                        <a:pt x="0" y="77438"/>
                        <a:pt x="0" y="73533"/>
                      </a:cubicBezTo>
                      <a:lnTo>
                        <a:pt x="0" y="7144"/>
                      </a:lnTo>
                      <a:cubicBezTo>
                        <a:pt x="0" y="3238"/>
                        <a:pt x="3239" y="0"/>
                        <a:pt x="7144" y="0"/>
                      </a:cubicBezTo>
                      <a:cubicBezTo>
                        <a:pt x="11049" y="0"/>
                        <a:pt x="14288" y="3238"/>
                        <a:pt x="14288" y="7144"/>
                      </a:cubicBezTo>
                      <a:lnTo>
                        <a:pt x="14288" y="73533"/>
                      </a:lnTo>
                      <a:cubicBezTo>
                        <a:pt x="14288" y="77438"/>
                        <a:pt x="11049" y="80677"/>
                        <a:pt x="7144" y="80677"/>
                      </a:cubicBezTo>
                      <a:close/>
                    </a:path>
                  </a:pathLst>
                </a:custGeom>
                <a:grpFill/>
                <a:ln w="9525" cap="flat">
                  <a:noFill/>
                  <a:prstDash val="solid"/>
                  <a:miter/>
                </a:ln>
              </p:spPr>
              <p:txBody>
                <a:bodyPr rtlCol="0" anchor="ctr"/>
                <a:lstStyle/>
                <a:p>
                  <a:endParaRPr lang="de-DE"/>
                </a:p>
              </p:txBody>
            </p:sp>
            <p:grpSp>
              <p:nvGrpSpPr>
                <p:cNvPr id="129" name="Grafik 7">
                  <a:extLst>
                    <a:ext uri="{FF2B5EF4-FFF2-40B4-BE49-F238E27FC236}">
                      <a16:creationId xmlns:a16="http://schemas.microsoft.com/office/drawing/2014/main" id="{7BBA2CB1-3954-CEB0-D41F-92E3FB64CA59}"/>
                    </a:ext>
                  </a:extLst>
                </p:cNvPr>
                <p:cNvGrpSpPr/>
                <p:nvPr/>
              </p:nvGrpSpPr>
              <p:grpSpPr bwMode="gray">
                <a:xfrm>
                  <a:off x="6118764" y="3457479"/>
                  <a:ext cx="69056" cy="85915"/>
                  <a:chOff x="6118764" y="3457479"/>
                  <a:chExt cx="69056" cy="85915"/>
                </a:xfrm>
                <a:grpFill/>
              </p:grpSpPr>
              <p:sp>
                <p:nvSpPr>
                  <p:cNvPr id="132" name="Grafik 7">
                    <a:extLst>
                      <a:ext uri="{FF2B5EF4-FFF2-40B4-BE49-F238E27FC236}">
                        <a16:creationId xmlns:a16="http://schemas.microsoft.com/office/drawing/2014/main" id="{9720C2BC-070B-60A1-61EB-39D56F6388EC}"/>
                      </a:ext>
                    </a:extLst>
                  </p:cNvPr>
                  <p:cNvSpPr/>
                  <p:nvPr/>
                </p:nvSpPr>
                <p:spPr bwMode="gray">
                  <a:xfrm>
                    <a:off x="6118764"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3" name="Grafik 7">
                    <a:extLst>
                      <a:ext uri="{FF2B5EF4-FFF2-40B4-BE49-F238E27FC236}">
                        <a16:creationId xmlns:a16="http://schemas.microsoft.com/office/drawing/2014/main" id="{958CB3B2-6558-3034-4B35-9B978A3EE002}"/>
                      </a:ext>
                    </a:extLst>
                  </p:cNvPr>
                  <p:cNvSpPr/>
                  <p:nvPr/>
                </p:nvSpPr>
                <p:spPr bwMode="gray">
                  <a:xfrm>
                    <a:off x="6173532"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4" name="Grafik 7">
                    <a:extLst>
                      <a:ext uri="{FF2B5EF4-FFF2-40B4-BE49-F238E27FC236}">
                        <a16:creationId xmlns:a16="http://schemas.microsoft.com/office/drawing/2014/main" id="{309F7A08-6CFD-1A90-FF54-3E60734E72CF}"/>
                      </a:ext>
                    </a:extLst>
                  </p:cNvPr>
                  <p:cNvSpPr/>
                  <p:nvPr/>
                </p:nvSpPr>
                <p:spPr bwMode="gray">
                  <a:xfrm>
                    <a:off x="6120606" y="3457511"/>
                    <a:ext cx="39654" cy="45306"/>
                  </a:xfrm>
                  <a:custGeom>
                    <a:avLst/>
                    <a:gdLst>
                      <a:gd name="connsiteX0" fmla="*/ 32448 w 39654"/>
                      <a:gd name="connsiteY0" fmla="*/ 45307 h 45306"/>
                      <a:gd name="connsiteX1" fmla="*/ 26924 w 39654"/>
                      <a:gd name="connsiteY1" fmla="*/ 42640 h 45306"/>
                      <a:gd name="connsiteX2" fmla="*/ 1587 w 39654"/>
                      <a:gd name="connsiteY2" fmla="*/ 11588 h 45306"/>
                      <a:gd name="connsiteX3" fmla="*/ 2635 w 39654"/>
                      <a:gd name="connsiteY3" fmla="*/ 1587 h 45306"/>
                      <a:gd name="connsiteX4" fmla="*/ 12731 w 39654"/>
                      <a:gd name="connsiteY4" fmla="*/ 2635 h 45306"/>
                      <a:gd name="connsiteX5" fmla="*/ 38068 w 39654"/>
                      <a:gd name="connsiteY5" fmla="*/ 33686 h 45306"/>
                      <a:gd name="connsiteX6" fmla="*/ 37020 w 39654"/>
                      <a:gd name="connsiteY6" fmla="*/ 43688 h 45306"/>
                      <a:gd name="connsiteX7" fmla="*/ 32448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32448" y="45307"/>
                        </a:moveTo>
                        <a:cubicBezTo>
                          <a:pt x="30353" y="45307"/>
                          <a:pt x="28352" y="44450"/>
                          <a:pt x="26924" y="42640"/>
                        </a:cubicBezTo>
                        <a:lnTo>
                          <a:pt x="1587" y="11588"/>
                        </a:lnTo>
                        <a:cubicBezTo>
                          <a:pt x="-889" y="8540"/>
                          <a:pt x="-413" y="4064"/>
                          <a:pt x="2635" y="1587"/>
                        </a:cubicBezTo>
                        <a:cubicBezTo>
                          <a:pt x="5683" y="-889"/>
                          <a:pt x="10160" y="-413"/>
                          <a:pt x="12731" y="2635"/>
                        </a:cubicBezTo>
                        <a:lnTo>
                          <a:pt x="38068" y="33686"/>
                        </a:lnTo>
                        <a:cubicBezTo>
                          <a:pt x="40544" y="36734"/>
                          <a:pt x="40068" y="41211"/>
                          <a:pt x="37020" y="43688"/>
                        </a:cubicBezTo>
                        <a:cubicBezTo>
                          <a:pt x="35591" y="44831"/>
                          <a:pt x="33972" y="45307"/>
                          <a:pt x="32448" y="45307"/>
                        </a:cubicBezTo>
                        <a:close/>
                      </a:path>
                    </a:pathLst>
                  </a:custGeom>
                  <a:grpFill/>
                  <a:ln w="9525" cap="flat">
                    <a:noFill/>
                    <a:prstDash val="solid"/>
                    <a:miter/>
                  </a:ln>
                </p:spPr>
                <p:txBody>
                  <a:bodyPr rtlCol="0" anchor="ctr"/>
                  <a:lstStyle/>
                  <a:p>
                    <a:endParaRPr lang="de-DE"/>
                  </a:p>
                </p:txBody>
              </p:sp>
              <p:sp>
                <p:nvSpPr>
                  <p:cNvPr id="135" name="Grafik 7">
                    <a:extLst>
                      <a:ext uri="{FF2B5EF4-FFF2-40B4-BE49-F238E27FC236}">
                        <a16:creationId xmlns:a16="http://schemas.microsoft.com/office/drawing/2014/main" id="{FF214EF9-A6F2-FC72-EAAC-CAFB4FF85E7C}"/>
                      </a:ext>
                    </a:extLst>
                  </p:cNvPr>
                  <p:cNvSpPr/>
                  <p:nvPr/>
                </p:nvSpPr>
                <p:spPr bwMode="gray">
                  <a:xfrm>
                    <a:off x="6147180" y="3457511"/>
                    <a:ext cx="39654" cy="45306"/>
                  </a:xfrm>
                  <a:custGeom>
                    <a:avLst/>
                    <a:gdLst>
                      <a:gd name="connsiteX0" fmla="*/ 7112 w 39654"/>
                      <a:gd name="connsiteY0" fmla="*/ 45307 h 45306"/>
                      <a:gd name="connsiteX1" fmla="*/ 2635 w 39654"/>
                      <a:gd name="connsiteY1" fmla="*/ 43688 h 45306"/>
                      <a:gd name="connsiteX2" fmla="*/ 1587 w 39654"/>
                      <a:gd name="connsiteY2" fmla="*/ 33686 h 45306"/>
                      <a:gd name="connsiteX3" fmla="*/ 26924 w 39654"/>
                      <a:gd name="connsiteY3" fmla="*/ 2635 h 45306"/>
                      <a:gd name="connsiteX4" fmla="*/ 37020 w 39654"/>
                      <a:gd name="connsiteY4" fmla="*/ 1587 h 45306"/>
                      <a:gd name="connsiteX5" fmla="*/ 38068 w 39654"/>
                      <a:gd name="connsiteY5" fmla="*/ 11588 h 45306"/>
                      <a:gd name="connsiteX6" fmla="*/ 12731 w 39654"/>
                      <a:gd name="connsiteY6" fmla="*/ 42640 h 45306"/>
                      <a:gd name="connsiteX7" fmla="*/ 7112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7112" y="45307"/>
                        </a:moveTo>
                        <a:cubicBezTo>
                          <a:pt x="5492" y="45307"/>
                          <a:pt x="3968" y="44831"/>
                          <a:pt x="2635" y="43688"/>
                        </a:cubicBezTo>
                        <a:cubicBezTo>
                          <a:pt x="-413" y="41211"/>
                          <a:pt x="-889" y="36734"/>
                          <a:pt x="1587" y="33686"/>
                        </a:cubicBezTo>
                        <a:lnTo>
                          <a:pt x="26924" y="2635"/>
                        </a:lnTo>
                        <a:cubicBezTo>
                          <a:pt x="29400" y="-413"/>
                          <a:pt x="33877" y="-889"/>
                          <a:pt x="37020" y="1587"/>
                        </a:cubicBezTo>
                        <a:cubicBezTo>
                          <a:pt x="40068" y="4064"/>
                          <a:pt x="40544" y="8540"/>
                          <a:pt x="38068" y="11588"/>
                        </a:cubicBezTo>
                        <a:lnTo>
                          <a:pt x="12731" y="42640"/>
                        </a:lnTo>
                        <a:cubicBezTo>
                          <a:pt x="11303" y="44450"/>
                          <a:pt x="9207" y="45307"/>
                          <a:pt x="7112" y="45307"/>
                        </a:cubicBezTo>
                        <a:close/>
                      </a:path>
                    </a:pathLst>
                  </a:custGeom>
                  <a:grpFill/>
                  <a:ln w="9525" cap="flat">
                    <a:noFill/>
                    <a:prstDash val="solid"/>
                    <a:miter/>
                  </a:ln>
                </p:spPr>
                <p:txBody>
                  <a:bodyPr rtlCol="0" anchor="ctr"/>
                  <a:lstStyle/>
                  <a:p>
                    <a:endParaRPr lang="de-DE"/>
                  </a:p>
                </p:txBody>
              </p:sp>
            </p:grpSp>
            <p:sp>
              <p:nvSpPr>
                <p:cNvPr id="130" name="Grafik 7">
                  <a:extLst>
                    <a:ext uri="{FF2B5EF4-FFF2-40B4-BE49-F238E27FC236}">
                      <a16:creationId xmlns:a16="http://schemas.microsoft.com/office/drawing/2014/main" id="{1F6F7345-0022-0105-DB87-635D5CF5578E}"/>
                    </a:ext>
                  </a:extLst>
                </p:cNvPr>
                <p:cNvSpPr/>
                <p:nvPr/>
              </p:nvSpPr>
              <p:spPr bwMode="gray">
                <a:xfrm>
                  <a:off x="5986271" y="3457479"/>
                  <a:ext cx="71246" cy="14287"/>
                </a:xfrm>
                <a:custGeom>
                  <a:avLst/>
                  <a:gdLst>
                    <a:gd name="connsiteX0" fmla="*/ 64103 w 71246"/>
                    <a:gd name="connsiteY0" fmla="*/ 14288 h 14287"/>
                    <a:gd name="connsiteX1" fmla="*/ 7144 w 71246"/>
                    <a:gd name="connsiteY1" fmla="*/ 14288 h 14287"/>
                    <a:gd name="connsiteX2" fmla="*/ 0 w 71246"/>
                    <a:gd name="connsiteY2" fmla="*/ 7144 h 14287"/>
                    <a:gd name="connsiteX3" fmla="*/ 7144 w 71246"/>
                    <a:gd name="connsiteY3" fmla="*/ 0 h 14287"/>
                    <a:gd name="connsiteX4" fmla="*/ 64103 w 71246"/>
                    <a:gd name="connsiteY4" fmla="*/ 0 h 14287"/>
                    <a:gd name="connsiteX5" fmla="*/ 71247 w 71246"/>
                    <a:gd name="connsiteY5" fmla="*/ 7144 h 14287"/>
                    <a:gd name="connsiteX6" fmla="*/ 64103 w 712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46" h="14287">
                      <a:moveTo>
                        <a:pt x="64103" y="14288"/>
                      </a:moveTo>
                      <a:lnTo>
                        <a:pt x="7144" y="14288"/>
                      </a:lnTo>
                      <a:cubicBezTo>
                        <a:pt x="3239" y="14288"/>
                        <a:pt x="0" y="11049"/>
                        <a:pt x="0" y="7144"/>
                      </a:cubicBezTo>
                      <a:cubicBezTo>
                        <a:pt x="0" y="3239"/>
                        <a:pt x="3239" y="0"/>
                        <a:pt x="7144" y="0"/>
                      </a:cubicBezTo>
                      <a:lnTo>
                        <a:pt x="64103" y="0"/>
                      </a:lnTo>
                      <a:cubicBezTo>
                        <a:pt x="68009" y="0"/>
                        <a:pt x="71247" y="3239"/>
                        <a:pt x="71247" y="7144"/>
                      </a:cubicBezTo>
                      <a:cubicBezTo>
                        <a:pt x="71247" y="11049"/>
                        <a:pt x="68009" y="14288"/>
                        <a:pt x="64103" y="14288"/>
                      </a:cubicBezTo>
                      <a:close/>
                    </a:path>
                  </a:pathLst>
                </a:custGeom>
                <a:grpFill/>
                <a:ln w="9525" cap="flat">
                  <a:noFill/>
                  <a:prstDash val="solid"/>
                  <a:miter/>
                </a:ln>
              </p:spPr>
              <p:txBody>
                <a:bodyPr rtlCol="0" anchor="ctr"/>
                <a:lstStyle/>
                <a:p>
                  <a:endParaRPr lang="de-DE"/>
                </a:p>
              </p:txBody>
            </p:sp>
            <p:sp>
              <p:nvSpPr>
                <p:cNvPr id="131" name="Grafik 7">
                  <a:extLst>
                    <a:ext uri="{FF2B5EF4-FFF2-40B4-BE49-F238E27FC236}">
                      <a16:creationId xmlns:a16="http://schemas.microsoft.com/office/drawing/2014/main" id="{D5EA6243-9F06-F8CE-B29F-A8512B09EAE0}"/>
                    </a:ext>
                  </a:extLst>
                </p:cNvPr>
                <p:cNvSpPr/>
                <p:nvPr/>
              </p:nvSpPr>
              <p:spPr bwMode="gray">
                <a:xfrm>
                  <a:off x="6059899" y="3457479"/>
                  <a:ext cx="54006" cy="85915"/>
                </a:xfrm>
                <a:custGeom>
                  <a:avLst/>
                  <a:gdLst>
                    <a:gd name="connsiteX0" fmla="*/ 7144 w 54006"/>
                    <a:gd name="connsiteY0" fmla="*/ 85915 h 85915"/>
                    <a:gd name="connsiteX1" fmla="*/ 0 w 54006"/>
                    <a:gd name="connsiteY1" fmla="*/ 78772 h 85915"/>
                    <a:gd name="connsiteX2" fmla="*/ 0 w 54006"/>
                    <a:gd name="connsiteY2" fmla="*/ 7144 h 85915"/>
                    <a:gd name="connsiteX3" fmla="*/ 7144 w 54006"/>
                    <a:gd name="connsiteY3" fmla="*/ 0 h 85915"/>
                    <a:gd name="connsiteX4" fmla="*/ 54007 w 54006"/>
                    <a:gd name="connsiteY4" fmla="*/ 42958 h 85915"/>
                    <a:gd name="connsiteX5" fmla="*/ 7144 w 54006"/>
                    <a:gd name="connsiteY5" fmla="*/ 85915 h 85915"/>
                    <a:gd name="connsiteX6" fmla="*/ 14288 w 54006"/>
                    <a:gd name="connsiteY6" fmla="*/ 14573 h 85915"/>
                    <a:gd name="connsiteX7" fmla="*/ 14288 w 54006"/>
                    <a:gd name="connsiteY7" fmla="*/ 71247 h 85915"/>
                    <a:gd name="connsiteX8" fmla="*/ 39719 w 54006"/>
                    <a:gd name="connsiteY8" fmla="*/ 42958 h 85915"/>
                    <a:gd name="connsiteX9" fmla="*/ 14288 w 54006"/>
                    <a:gd name="connsiteY9" fmla="*/ 14573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 h="85915">
                      <a:moveTo>
                        <a:pt x="7144" y="85915"/>
                      </a:moveTo>
                      <a:cubicBezTo>
                        <a:pt x="3239" y="85915"/>
                        <a:pt x="0" y="82677"/>
                        <a:pt x="0" y="78772"/>
                      </a:cubicBezTo>
                      <a:lnTo>
                        <a:pt x="0" y="7144"/>
                      </a:lnTo>
                      <a:cubicBezTo>
                        <a:pt x="0" y="3239"/>
                        <a:pt x="3239" y="0"/>
                        <a:pt x="7144" y="0"/>
                      </a:cubicBezTo>
                      <a:cubicBezTo>
                        <a:pt x="45815" y="0"/>
                        <a:pt x="54007" y="23336"/>
                        <a:pt x="54007" y="42958"/>
                      </a:cubicBezTo>
                      <a:cubicBezTo>
                        <a:pt x="54007" y="70199"/>
                        <a:pt x="36957" y="85915"/>
                        <a:pt x="7144" y="85915"/>
                      </a:cubicBezTo>
                      <a:close/>
                      <a:moveTo>
                        <a:pt x="14288" y="14573"/>
                      </a:moveTo>
                      <a:lnTo>
                        <a:pt x="14288" y="71247"/>
                      </a:lnTo>
                      <a:cubicBezTo>
                        <a:pt x="36862" y="68770"/>
                        <a:pt x="39719" y="54197"/>
                        <a:pt x="39719" y="42958"/>
                      </a:cubicBezTo>
                      <a:cubicBezTo>
                        <a:pt x="39719" y="24860"/>
                        <a:pt x="32195" y="16288"/>
                        <a:pt x="14288" y="14573"/>
                      </a:cubicBezTo>
                      <a:close/>
                    </a:path>
                  </a:pathLst>
                </a:custGeom>
                <a:grpFill/>
                <a:ln w="9525" cap="flat">
                  <a:noFill/>
                  <a:prstDash val="solid"/>
                  <a:miter/>
                </a:ln>
              </p:spPr>
              <p:txBody>
                <a:bodyPr rtlCol="0" anchor="ctr"/>
                <a:lstStyle/>
                <a:p>
                  <a:endParaRPr lang="de-DE"/>
                </a:p>
              </p:txBody>
            </p:sp>
          </p:grpSp>
          <p:sp>
            <p:nvSpPr>
              <p:cNvPr id="120" name="Grafik 7">
                <a:extLst>
                  <a:ext uri="{FF2B5EF4-FFF2-40B4-BE49-F238E27FC236}">
                    <a16:creationId xmlns:a16="http://schemas.microsoft.com/office/drawing/2014/main" id="{882B6E14-E988-6EAF-70B0-A5A8DF986C03}"/>
                  </a:ext>
                </a:extLst>
              </p:cNvPr>
              <p:cNvSpPr/>
              <p:nvPr/>
            </p:nvSpPr>
            <p:spPr bwMode="gray">
              <a:xfrm>
                <a:off x="5984557" y="3571493"/>
                <a:ext cx="220503" cy="14287"/>
              </a:xfrm>
              <a:custGeom>
                <a:avLst/>
                <a:gdLst>
                  <a:gd name="connsiteX0" fmla="*/ 213360 w 220503"/>
                  <a:gd name="connsiteY0" fmla="*/ 14288 h 14287"/>
                  <a:gd name="connsiteX1" fmla="*/ 7144 w 220503"/>
                  <a:gd name="connsiteY1" fmla="*/ 14288 h 14287"/>
                  <a:gd name="connsiteX2" fmla="*/ 0 w 220503"/>
                  <a:gd name="connsiteY2" fmla="*/ 7144 h 14287"/>
                  <a:gd name="connsiteX3" fmla="*/ 7144 w 220503"/>
                  <a:gd name="connsiteY3" fmla="*/ 0 h 14287"/>
                  <a:gd name="connsiteX4" fmla="*/ 213360 w 220503"/>
                  <a:gd name="connsiteY4" fmla="*/ 0 h 14287"/>
                  <a:gd name="connsiteX5" fmla="*/ 220504 w 220503"/>
                  <a:gd name="connsiteY5" fmla="*/ 7144 h 14287"/>
                  <a:gd name="connsiteX6" fmla="*/ 213360 w 22050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503" h="14287">
                    <a:moveTo>
                      <a:pt x="213360" y="14288"/>
                    </a:moveTo>
                    <a:lnTo>
                      <a:pt x="7144" y="14288"/>
                    </a:lnTo>
                    <a:cubicBezTo>
                      <a:pt x="3239" y="14288"/>
                      <a:pt x="0" y="11049"/>
                      <a:pt x="0" y="7144"/>
                    </a:cubicBezTo>
                    <a:cubicBezTo>
                      <a:pt x="0" y="3239"/>
                      <a:pt x="3239" y="0"/>
                      <a:pt x="7144" y="0"/>
                    </a:cubicBezTo>
                    <a:lnTo>
                      <a:pt x="213360" y="0"/>
                    </a:lnTo>
                    <a:cubicBezTo>
                      <a:pt x="217265" y="0"/>
                      <a:pt x="220504" y="3239"/>
                      <a:pt x="220504" y="7144"/>
                    </a:cubicBezTo>
                    <a:cubicBezTo>
                      <a:pt x="220504" y="11049"/>
                      <a:pt x="217265" y="14288"/>
                      <a:pt x="213360" y="14288"/>
                    </a:cubicBezTo>
                    <a:close/>
                  </a:path>
                </a:pathLst>
              </a:custGeom>
              <a:grpFill/>
              <a:ln w="9525" cap="flat">
                <a:noFill/>
                <a:prstDash val="solid"/>
                <a:miter/>
              </a:ln>
            </p:spPr>
            <p:txBody>
              <a:bodyPr rtlCol="0" anchor="ctr"/>
              <a:lstStyle/>
              <a:p>
                <a:endParaRPr lang="de-DE"/>
              </a:p>
            </p:txBody>
          </p:sp>
          <p:sp>
            <p:nvSpPr>
              <p:cNvPr id="121" name="Grafik 7">
                <a:extLst>
                  <a:ext uri="{FF2B5EF4-FFF2-40B4-BE49-F238E27FC236}">
                    <a16:creationId xmlns:a16="http://schemas.microsoft.com/office/drawing/2014/main" id="{17ADE5D4-703D-49F7-E34E-4B8AB2CCFB4F}"/>
                  </a:ext>
                </a:extLst>
              </p:cNvPr>
              <p:cNvSpPr/>
              <p:nvPr/>
            </p:nvSpPr>
            <p:spPr bwMode="gray">
              <a:xfrm>
                <a:off x="6174318" y="3554562"/>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2" name="Grafik 7">
                <a:extLst>
                  <a:ext uri="{FF2B5EF4-FFF2-40B4-BE49-F238E27FC236}">
                    <a16:creationId xmlns:a16="http://schemas.microsoft.com/office/drawing/2014/main" id="{73FBED08-AD0E-7382-857F-9A0062C995FF}"/>
                  </a:ext>
                </a:extLst>
              </p:cNvPr>
              <p:cNvSpPr/>
              <p:nvPr/>
            </p:nvSpPr>
            <p:spPr bwMode="gray">
              <a:xfrm>
                <a:off x="6174318" y="3573136"/>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3" name="Grafik 7">
                <a:extLst>
                  <a:ext uri="{FF2B5EF4-FFF2-40B4-BE49-F238E27FC236}">
                    <a16:creationId xmlns:a16="http://schemas.microsoft.com/office/drawing/2014/main" id="{514DADA0-0AC0-DCE7-4714-9568064B524F}"/>
                  </a:ext>
                </a:extLst>
              </p:cNvPr>
              <p:cNvSpPr/>
              <p:nvPr/>
            </p:nvSpPr>
            <p:spPr bwMode="gray">
              <a:xfrm>
                <a:off x="6087736" y="3598854"/>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456"/>
                      <a:pt x="8930" y="31218"/>
                      <a:pt x="7120" y="31218"/>
                    </a:cubicBezTo>
                    <a:close/>
                  </a:path>
                </a:pathLst>
              </a:custGeom>
              <a:grpFill/>
              <a:ln w="9525" cap="flat">
                <a:noFill/>
                <a:prstDash val="solid"/>
                <a:miter/>
              </a:ln>
            </p:spPr>
            <p:txBody>
              <a:bodyPr rtlCol="0" anchor="ctr"/>
              <a:lstStyle/>
              <a:p>
                <a:endParaRPr lang="de-DE"/>
              </a:p>
            </p:txBody>
          </p:sp>
          <p:sp>
            <p:nvSpPr>
              <p:cNvPr id="124" name="Grafik 7">
                <a:extLst>
                  <a:ext uri="{FF2B5EF4-FFF2-40B4-BE49-F238E27FC236}">
                    <a16:creationId xmlns:a16="http://schemas.microsoft.com/office/drawing/2014/main" id="{2E347B33-1BD4-F2E6-084D-B7B581746A49}"/>
                  </a:ext>
                </a:extLst>
              </p:cNvPr>
              <p:cNvSpPr/>
              <p:nvPr/>
            </p:nvSpPr>
            <p:spPr bwMode="gray">
              <a:xfrm>
                <a:off x="5980770" y="3554562"/>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5" name="Grafik 7">
                <a:extLst>
                  <a:ext uri="{FF2B5EF4-FFF2-40B4-BE49-F238E27FC236}">
                    <a16:creationId xmlns:a16="http://schemas.microsoft.com/office/drawing/2014/main" id="{D1C8BBAB-F209-2D89-6C01-72A65FA25607}"/>
                  </a:ext>
                </a:extLst>
              </p:cNvPr>
              <p:cNvSpPr/>
              <p:nvPr/>
            </p:nvSpPr>
            <p:spPr bwMode="gray">
              <a:xfrm>
                <a:off x="5980770" y="3573136"/>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6" name="Grafik 7">
                <a:extLst>
                  <a:ext uri="{FF2B5EF4-FFF2-40B4-BE49-F238E27FC236}">
                    <a16:creationId xmlns:a16="http://schemas.microsoft.com/office/drawing/2014/main" id="{E3C0128C-68E2-9350-E088-053202C948A3}"/>
                  </a:ext>
                </a:extLst>
              </p:cNvPr>
              <p:cNvSpPr/>
              <p:nvPr/>
            </p:nvSpPr>
            <p:spPr bwMode="gray">
              <a:xfrm>
                <a:off x="6069639" y="3598854"/>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789" y="30456"/>
                      <a:pt x="25884" y="31218"/>
                      <a:pt x="24074" y="31218"/>
                    </a:cubicBezTo>
                    <a:close/>
                  </a:path>
                </a:pathLst>
              </a:custGeom>
              <a:grpFill/>
              <a:ln w="9525" cap="flat">
                <a:noFill/>
                <a:prstDash val="solid"/>
                <a:miter/>
              </a:ln>
            </p:spPr>
            <p:txBody>
              <a:bodyPr rtlCol="0" anchor="ctr"/>
              <a:lstStyle/>
              <a:p>
                <a:endParaRPr lang="de-DE"/>
              </a:p>
            </p:txBody>
          </p:sp>
          <p:sp>
            <p:nvSpPr>
              <p:cNvPr id="127" name="Grafik 7">
                <a:extLst>
                  <a:ext uri="{FF2B5EF4-FFF2-40B4-BE49-F238E27FC236}">
                    <a16:creationId xmlns:a16="http://schemas.microsoft.com/office/drawing/2014/main" id="{E03E9749-A30D-F5AB-90CE-7643038EC349}"/>
                  </a:ext>
                </a:extLst>
              </p:cNvPr>
              <p:cNvSpPr/>
              <p:nvPr/>
            </p:nvSpPr>
            <p:spPr bwMode="gray">
              <a:xfrm>
                <a:off x="6087712" y="3571493"/>
                <a:ext cx="14287" cy="58578"/>
              </a:xfrm>
              <a:custGeom>
                <a:avLst/>
                <a:gdLst>
                  <a:gd name="connsiteX0" fmla="*/ 7144 w 14287"/>
                  <a:gd name="connsiteY0" fmla="*/ 58579 h 58578"/>
                  <a:gd name="connsiteX1" fmla="*/ 0 w 14287"/>
                  <a:gd name="connsiteY1" fmla="*/ 51435 h 58578"/>
                  <a:gd name="connsiteX2" fmla="*/ 0 w 14287"/>
                  <a:gd name="connsiteY2" fmla="*/ 7144 h 58578"/>
                  <a:gd name="connsiteX3" fmla="*/ 7144 w 14287"/>
                  <a:gd name="connsiteY3" fmla="*/ 0 h 58578"/>
                  <a:gd name="connsiteX4" fmla="*/ 14288 w 14287"/>
                  <a:gd name="connsiteY4" fmla="*/ 7144 h 58578"/>
                  <a:gd name="connsiteX5" fmla="*/ 14288 w 14287"/>
                  <a:gd name="connsiteY5" fmla="*/ 51435 h 58578"/>
                  <a:gd name="connsiteX6" fmla="*/ 7144 w 14287"/>
                  <a:gd name="connsiteY6" fmla="*/ 58579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8578">
                    <a:moveTo>
                      <a:pt x="7144" y="58579"/>
                    </a:moveTo>
                    <a:cubicBezTo>
                      <a:pt x="3239" y="58579"/>
                      <a:pt x="0" y="55340"/>
                      <a:pt x="0" y="51435"/>
                    </a:cubicBezTo>
                    <a:lnTo>
                      <a:pt x="0" y="7144"/>
                    </a:lnTo>
                    <a:cubicBezTo>
                      <a:pt x="0" y="3239"/>
                      <a:pt x="3239" y="0"/>
                      <a:pt x="7144" y="0"/>
                    </a:cubicBezTo>
                    <a:cubicBezTo>
                      <a:pt x="11049" y="0"/>
                      <a:pt x="14288" y="3239"/>
                      <a:pt x="14288" y="7144"/>
                    </a:cubicBezTo>
                    <a:lnTo>
                      <a:pt x="14288" y="51435"/>
                    </a:lnTo>
                    <a:cubicBezTo>
                      <a:pt x="14192" y="55340"/>
                      <a:pt x="11049" y="58579"/>
                      <a:pt x="7144" y="58579"/>
                    </a:cubicBezTo>
                    <a:close/>
                  </a:path>
                </a:pathLst>
              </a:custGeom>
              <a:grpFill/>
              <a:ln w="9525" cap="flat">
                <a:noFill/>
                <a:prstDash val="solid"/>
                <a:miter/>
              </a:ln>
            </p:spPr>
            <p:txBody>
              <a:bodyPr rtlCol="0" anchor="ctr"/>
              <a:lstStyle/>
              <a:p>
                <a:endParaRPr lang="de-DE"/>
              </a:p>
            </p:txBody>
          </p:sp>
        </p:grpSp>
      </p:grpSp>
      <p:grpSp>
        <p:nvGrpSpPr>
          <p:cNvPr id="155" name="Grafik 9">
            <a:extLst>
              <a:ext uri="{FF2B5EF4-FFF2-40B4-BE49-F238E27FC236}">
                <a16:creationId xmlns:a16="http://schemas.microsoft.com/office/drawing/2014/main" id="{CAEF8EA4-2E5A-F1D2-B1EF-E1F24EC15891}"/>
              </a:ext>
            </a:extLst>
          </p:cNvPr>
          <p:cNvGrpSpPr/>
          <p:nvPr/>
        </p:nvGrpSpPr>
        <p:grpSpPr bwMode="gray">
          <a:xfrm>
            <a:off x="318344" y="4014689"/>
            <a:ext cx="373758" cy="373758"/>
            <a:chOff x="5843587" y="3176587"/>
            <a:chExt cx="500253" cy="500253"/>
          </a:xfrm>
          <a:solidFill>
            <a:schemeClr val="tx1"/>
          </a:solidFill>
        </p:grpSpPr>
        <p:grpSp>
          <p:nvGrpSpPr>
            <p:cNvPr id="156" name="Grafik 9">
              <a:extLst>
                <a:ext uri="{FF2B5EF4-FFF2-40B4-BE49-F238E27FC236}">
                  <a16:creationId xmlns:a16="http://schemas.microsoft.com/office/drawing/2014/main" id="{674FD3A8-EFAA-D20E-F5C7-D3A24C9D7348}"/>
                </a:ext>
              </a:extLst>
            </p:cNvPr>
            <p:cNvGrpSpPr/>
            <p:nvPr/>
          </p:nvGrpSpPr>
          <p:grpSpPr bwMode="gray">
            <a:xfrm>
              <a:off x="5843587" y="3176587"/>
              <a:ext cx="500253" cy="500253"/>
              <a:chOff x="5843587" y="3176587"/>
              <a:chExt cx="500253" cy="500253"/>
            </a:xfrm>
            <a:grpFill/>
          </p:grpSpPr>
          <p:grpSp>
            <p:nvGrpSpPr>
              <p:cNvPr id="174" name="Grafik 9">
                <a:extLst>
                  <a:ext uri="{FF2B5EF4-FFF2-40B4-BE49-F238E27FC236}">
                    <a16:creationId xmlns:a16="http://schemas.microsoft.com/office/drawing/2014/main" id="{56085429-6E4F-96ED-4190-246230AA5BE9}"/>
                  </a:ext>
                </a:extLst>
              </p:cNvPr>
              <p:cNvGrpSpPr/>
              <p:nvPr/>
            </p:nvGrpSpPr>
            <p:grpSpPr bwMode="gray">
              <a:xfrm>
                <a:off x="5951066" y="3230233"/>
                <a:ext cx="285352" cy="149902"/>
                <a:chOff x="5951066" y="3230233"/>
                <a:chExt cx="285352" cy="149902"/>
              </a:xfrm>
              <a:grpFill/>
            </p:grpSpPr>
            <p:grpSp>
              <p:nvGrpSpPr>
                <p:cNvPr id="177" name="Grafik 9">
                  <a:extLst>
                    <a:ext uri="{FF2B5EF4-FFF2-40B4-BE49-F238E27FC236}">
                      <a16:creationId xmlns:a16="http://schemas.microsoft.com/office/drawing/2014/main" id="{3E688045-E73F-E7C5-510A-8FAA53771242}"/>
                    </a:ext>
                  </a:extLst>
                </p:cNvPr>
                <p:cNvGrpSpPr/>
                <p:nvPr/>
              </p:nvGrpSpPr>
              <p:grpSpPr bwMode="gray">
                <a:xfrm>
                  <a:off x="6118933" y="3230233"/>
                  <a:ext cx="117485" cy="65892"/>
                  <a:chOff x="6118933" y="3230233"/>
                  <a:chExt cx="117485" cy="65892"/>
                </a:xfrm>
                <a:grpFill/>
              </p:grpSpPr>
              <p:sp>
                <p:nvSpPr>
                  <p:cNvPr id="190" name="Grafik 9">
                    <a:extLst>
                      <a:ext uri="{FF2B5EF4-FFF2-40B4-BE49-F238E27FC236}">
                        <a16:creationId xmlns:a16="http://schemas.microsoft.com/office/drawing/2014/main" id="{F89A3E5A-1C39-A6C8-45A3-B073B236935A}"/>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91" name="Grafik 9">
                    <a:extLst>
                      <a:ext uri="{FF2B5EF4-FFF2-40B4-BE49-F238E27FC236}">
                        <a16:creationId xmlns:a16="http://schemas.microsoft.com/office/drawing/2014/main" id="{A2AFB7E9-D8BB-8D98-D789-20FCF719985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92" name="Grafik 9">
                    <a:extLst>
                      <a:ext uri="{FF2B5EF4-FFF2-40B4-BE49-F238E27FC236}">
                        <a16:creationId xmlns:a16="http://schemas.microsoft.com/office/drawing/2014/main" id="{B36A327E-7BF0-1B32-EEFF-7CC0D53B59C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78" name="Grafik 9">
                  <a:extLst>
                    <a:ext uri="{FF2B5EF4-FFF2-40B4-BE49-F238E27FC236}">
                      <a16:creationId xmlns:a16="http://schemas.microsoft.com/office/drawing/2014/main" id="{52C01A0E-EFED-AF8F-ED48-C481E15D0DE1}"/>
                    </a:ext>
                  </a:extLst>
                </p:cNvPr>
                <p:cNvGrpSpPr/>
                <p:nvPr/>
              </p:nvGrpSpPr>
              <p:grpSpPr bwMode="gray">
                <a:xfrm>
                  <a:off x="5951103" y="3314244"/>
                  <a:ext cx="117485" cy="65892"/>
                  <a:chOff x="5951103" y="3314244"/>
                  <a:chExt cx="117485" cy="65892"/>
                </a:xfrm>
                <a:grpFill/>
              </p:grpSpPr>
              <p:sp>
                <p:nvSpPr>
                  <p:cNvPr id="187" name="Grafik 9">
                    <a:extLst>
                      <a:ext uri="{FF2B5EF4-FFF2-40B4-BE49-F238E27FC236}">
                        <a16:creationId xmlns:a16="http://schemas.microsoft.com/office/drawing/2014/main" id="{EB2E75C5-EB43-E882-4D70-C028BA90A7CC}"/>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88" name="Grafik 9">
                    <a:extLst>
                      <a:ext uri="{FF2B5EF4-FFF2-40B4-BE49-F238E27FC236}">
                        <a16:creationId xmlns:a16="http://schemas.microsoft.com/office/drawing/2014/main" id="{09F9C168-D10D-17DA-2608-7F213D165F8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89" name="Grafik 9">
                    <a:extLst>
                      <a:ext uri="{FF2B5EF4-FFF2-40B4-BE49-F238E27FC236}">
                        <a16:creationId xmlns:a16="http://schemas.microsoft.com/office/drawing/2014/main" id="{92C62B37-407F-CB3B-F0A0-1ABCA588D6E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79" name="Grafik 9">
                  <a:extLst>
                    <a:ext uri="{FF2B5EF4-FFF2-40B4-BE49-F238E27FC236}">
                      <a16:creationId xmlns:a16="http://schemas.microsoft.com/office/drawing/2014/main" id="{8A788F42-B1A6-383A-1D64-E2C1075964F6}"/>
                    </a:ext>
                  </a:extLst>
                </p:cNvPr>
                <p:cNvGrpSpPr/>
                <p:nvPr/>
              </p:nvGrpSpPr>
              <p:grpSpPr bwMode="gray">
                <a:xfrm>
                  <a:off x="6118954" y="3314261"/>
                  <a:ext cx="117405" cy="65875"/>
                  <a:chOff x="6118954" y="3314261"/>
                  <a:chExt cx="117405" cy="65875"/>
                </a:xfrm>
                <a:grpFill/>
              </p:grpSpPr>
              <p:sp>
                <p:nvSpPr>
                  <p:cNvPr id="184" name="Grafik 9">
                    <a:extLst>
                      <a:ext uri="{FF2B5EF4-FFF2-40B4-BE49-F238E27FC236}">
                        <a16:creationId xmlns:a16="http://schemas.microsoft.com/office/drawing/2014/main" id="{1B56FE2D-232D-B704-2BC0-82EECB288E7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85" name="Grafik 9">
                    <a:extLst>
                      <a:ext uri="{FF2B5EF4-FFF2-40B4-BE49-F238E27FC236}">
                        <a16:creationId xmlns:a16="http://schemas.microsoft.com/office/drawing/2014/main" id="{2658A197-68E7-06E5-1068-A57154690AE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86" name="Grafik 9">
                    <a:extLst>
                      <a:ext uri="{FF2B5EF4-FFF2-40B4-BE49-F238E27FC236}">
                        <a16:creationId xmlns:a16="http://schemas.microsoft.com/office/drawing/2014/main" id="{E2DAE7A0-DEE7-AB02-19C8-1AC4B62213C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80" name="Grafik 9">
                  <a:extLst>
                    <a:ext uri="{FF2B5EF4-FFF2-40B4-BE49-F238E27FC236}">
                      <a16:creationId xmlns:a16="http://schemas.microsoft.com/office/drawing/2014/main" id="{429F12A4-D910-0A06-BF28-69723C13B848}"/>
                    </a:ext>
                  </a:extLst>
                </p:cNvPr>
                <p:cNvGrpSpPr/>
                <p:nvPr/>
              </p:nvGrpSpPr>
              <p:grpSpPr bwMode="gray">
                <a:xfrm>
                  <a:off x="5951066" y="3230345"/>
                  <a:ext cx="117405" cy="65779"/>
                  <a:chOff x="5951066" y="3230345"/>
                  <a:chExt cx="117405" cy="65779"/>
                </a:xfrm>
                <a:grpFill/>
              </p:grpSpPr>
              <p:sp>
                <p:nvSpPr>
                  <p:cNvPr id="181" name="Grafik 9">
                    <a:extLst>
                      <a:ext uri="{FF2B5EF4-FFF2-40B4-BE49-F238E27FC236}">
                        <a16:creationId xmlns:a16="http://schemas.microsoft.com/office/drawing/2014/main" id="{53FB5F70-00CF-1B0B-C516-F475EFD0E5C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82" name="Grafik 9">
                    <a:extLst>
                      <a:ext uri="{FF2B5EF4-FFF2-40B4-BE49-F238E27FC236}">
                        <a16:creationId xmlns:a16="http://schemas.microsoft.com/office/drawing/2014/main" id="{FB437AC7-396D-55BB-EB32-5B076BDD5A24}"/>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83" name="Grafik 9">
                    <a:extLst>
                      <a:ext uri="{FF2B5EF4-FFF2-40B4-BE49-F238E27FC236}">
                        <a16:creationId xmlns:a16="http://schemas.microsoft.com/office/drawing/2014/main" id="{E5C82C6F-13F6-A959-0B18-27333502514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75" name="Grafik 9">
                <a:extLst>
                  <a:ext uri="{FF2B5EF4-FFF2-40B4-BE49-F238E27FC236}">
                    <a16:creationId xmlns:a16="http://schemas.microsoft.com/office/drawing/2014/main" id="{DE41E569-9F1D-4F3D-4CBE-35078BF44FBE}"/>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76" name="Grafik 9">
                <a:extLst>
                  <a:ext uri="{FF2B5EF4-FFF2-40B4-BE49-F238E27FC236}">
                    <a16:creationId xmlns:a16="http://schemas.microsoft.com/office/drawing/2014/main" id="{6292A4E2-7CD6-DE8E-0443-E2B3548A10A0}"/>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7" name="Grafik 9">
              <a:extLst>
                <a:ext uri="{FF2B5EF4-FFF2-40B4-BE49-F238E27FC236}">
                  <a16:creationId xmlns:a16="http://schemas.microsoft.com/office/drawing/2014/main" id="{15488A44-8A4A-CEB8-E61E-F163B45AC0CE}"/>
                </a:ext>
              </a:extLst>
            </p:cNvPr>
            <p:cNvGrpSpPr/>
            <p:nvPr/>
          </p:nvGrpSpPr>
          <p:grpSpPr bwMode="gray">
            <a:xfrm>
              <a:off x="5955601" y="3467150"/>
              <a:ext cx="276195" cy="162254"/>
              <a:chOff x="5955601" y="3467150"/>
              <a:chExt cx="276195" cy="162254"/>
            </a:xfrm>
            <a:grpFill/>
          </p:grpSpPr>
          <p:grpSp>
            <p:nvGrpSpPr>
              <p:cNvPr id="158" name="Grafik 9">
                <a:extLst>
                  <a:ext uri="{FF2B5EF4-FFF2-40B4-BE49-F238E27FC236}">
                    <a16:creationId xmlns:a16="http://schemas.microsoft.com/office/drawing/2014/main" id="{4C881774-0749-0139-A6AE-36ECD459FD07}"/>
                  </a:ext>
                </a:extLst>
              </p:cNvPr>
              <p:cNvGrpSpPr/>
              <p:nvPr/>
            </p:nvGrpSpPr>
            <p:grpSpPr bwMode="gray">
              <a:xfrm>
                <a:off x="5955601" y="3522273"/>
                <a:ext cx="147994" cy="52268"/>
                <a:chOff x="5955601" y="3522273"/>
                <a:chExt cx="147994" cy="52268"/>
              </a:xfrm>
              <a:grpFill/>
            </p:grpSpPr>
            <p:sp>
              <p:nvSpPr>
                <p:cNvPr id="171" name="Grafik 9">
                  <a:extLst>
                    <a:ext uri="{FF2B5EF4-FFF2-40B4-BE49-F238E27FC236}">
                      <a16:creationId xmlns:a16="http://schemas.microsoft.com/office/drawing/2014/main" id="{D5D0FBC2-53B1-AF4A-89C8-C48126304E55}"/>
                    </a:ext>
                  </a:extLst>
                </p:cNvPr>
                <p:cNvSpPr/>
                <p:nvPr/>
              </p:nvSpPr>
              <p:spPr bwMode="gray">
                <a:xfrm>
                  <a:off x="5955601" y="3541108"/>
                  <a:ext cx="136779" cy="14287"/>
                </a:xfrm>
                <a:custGeom>
                  <a:avLst/>
                  <a:gdLst>
                    <a:gd name="connsiteX0" fmla="*/ 129635 w 136779"/>
                    <a:gd name="connsiteY0" fmla="*/ 14288 h 14287"/>
                    <a:gd name="connsiteX1" fmla="*/ 7144 w 136779"/>
                    <a:gd name="connsiteY1" fmla="*/ 14288 h 14287"/>
                    <a:gd name="connsiteX2" fmla="*/ 0 w 136779"/>
                    <a:gd name="connsiteY2" fmla="*/ 7144 h 14287"/>
                    <a:gd name="connsiteX3" fmla="*/ 7144 w 136779"/>
                    <a:gd name="connsiteY3" fmla="*/ 0 h 14287"/>
                    <a:gd name="connsiteX4" fmla="*/ 129635 w 136779"/>
                    <a:gd name="connsiteY4" fmla="*/ 0 h 14287"/>
                    <a:gd name="connsiteX5" fmla="*/ 136779 w 136779"/>
                    <a:gd name="connsiteY5" fmla="*/ 7144 h 14287"/>
                    <a:gd name="connsiteX6" fmla="*/ 129635 w 13677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9"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172" name="Grafik 9">
                  <a:extLst>
                    <a:ext uri="{FF2B5EF4-FFF2-40B4-BE49-F238E27FC236}">
                      <a16:creationId xmlns:a16="http://schemas.microsoft.com/office/drawing/2014/main" id="{5BBC6E97-C067-4EFA-7903-1493316D1B2C}"/>
                    </a:ext>
                  </a:extLst>
                </p:cNvPr>
                <p:cNvSpPr/>
                <p:nvPr/>
              </p:nvSpPr>
              <p:spPr bwMode="gray">
                <a:xfrm>
                  <a:off x="607011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170" y="33409"/>
                        <a:pt x="26265" y="33409"/>
                      </a:cubicBezTo>
                      <a:close/>
                    </a:path>
                  </a:pathLst>
                </a:custGeom>
                <a:grpFill/>
                <a:ln w="9525" cap="flat">
                  <a:noFill/>
                  <a:prstDash val="solid"/>
                  <a:miter/>
                </a:ln>
              </p:spPr>
              <p:txBody>
                <a:bodyPr rtlCol="0" anchor="ctr"/>
                <a:lstStyle/>
                <a:p>
                  <a:endParaRPr lang="de-DE"/>
                </a:p>
              </p:txBody>
            </p:sp>
            <p:sp>
              <p:nvSpPr>
                <p:cNvPr id="173" name="Grafik 9">
                  <a:extLst>
                    <a:ext uri="{FF2B5EF4-FFF2-40B4-BE49-F238E27FC236}">
                      <a16:creationId xmlns:a16="http://schemas.microsoft.com/office/drawing/2014/main" id="{2AC17006-0E23-1121-93D4-810B8A76F01A}"/>
                    </a:ext>
                  </a:extLst>
                </p:cNvPr>
                <p:cNvSpPr/>
                <p:nvPr/>
              </p:nvSpPr>
              <p:spPr bwMode="gray">
                <a:xfrm>
                  <a:off x="6070210"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647"/>
                        <a:pt x="8930" y="33409"/>
                        <a:pt x="7120" y="33409"/>
                      </a:cubicBezTo>
                      <a:close/>
                    </a:path>
                  </a:pathLst>
                </a:custGeom>
                <a:grpFill/>
                <a:ln w="9525" cap="flat">
                  <a:noFill/>
                  <a:prstDash val="solid"/>
                  <a:miter/>
                </a:ln>
              </p:spPr>
              <p:txBody>
                <a:bodyPr rtlCol="0" anchor="ctr"/>
                <a:lstStyle/>
                <a:p>
                  <a:endParaRPr lang="de-DE"/>
                </a:p>
              </p:txBody>
            </p:sp>
          </p:grpSp>
          <p:grpSp>
            <p:nvGrpSpPr>
              <p:cNvPr id="159" name="Grafik 9">
                <a:extLst>
                  <a:ext uri="{FF2B5EF4-FFF2-40B4-BE49-F238E27FC236}">
                    <a16:creationId xmlns:a16="http://schemas.microsoft.com/office/drawing/2014/main" id="{48BE91AA-CC6D-FE73-1EA0-714FE1EB8B8B}"/>
                  </a:ext>
                </a:extLst>
              </p:cNvPr>
              <p:cNvGrpSpPr/>
              <p:nvPr/>
            </p:nvGrpSpPr>
            <p:grpSpPr bwMode="gray">
              <a:xfrm>
                <a:off x="6114910" y="3467150"/>
                <a:ext cx="116864" cy="64718"/>
                <a:chOff x="6114910" y="3467150"/>
                <a:chExt cx="116864" cy="64718"/>
              </a:xfrm>
              <a:grpFill/>
            </p:grpSpPr>
            <p:sp>
              <p:nvSpPr>
                <p:cNvPr id="168" name="Grafik 9">
                  <a:extLst>
                    <a:ext uri="{FF2B5EF4-FFF2-40B4-BE49-F238E27FC236}">
                      <a16:creationId xmlns:a16="http://schemas.microsoft.com/office/drawing/2014/main" id="{4EF4DB1F-FBE6-0C72-D9AE-1338A2CF08B2}"/>
                    </a:ext>
                  </a:extLst>
                </p:cNvPr>
                <p:cNvSpPr/>
                <p:nvPr/>
              </p:nvSpPr>
              <p:spPr bwMode="gray">
                <a:xfrm>
                  <a:off x="6114910"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712" y="47860"/>
                        <a:pt x="7855" y="47955"/>
                        <a:pt x="7093" y="47955"/>
                      </a:cubicBezTo>
                      <a:close/>
                    </a:path>
                  </a:pathLst>
                </a:custGeom>
                <a:grpFill/>
                <a:ln w="9525" cap="flat">
                  <a:noFill/>
                  <a:prstDash val="solid"/>
                  <a:miter/>
                </a:ln>
              </p:spPr>
              <p:txBody>
                <a:bodyPr rtlCol="0" anchor="ctr"/>
                <a:lstStyle/>
                <a:p>
                  <a:endParaRPr lang="de-DE"/>
                </a:p>
              </p:txBody>
            </p:sp>
            <p:sp>
              <p:nvSpPr>
                <p:cNvPr id="169" name="Grafik 9">
                  <a:extLst>
                    <a:ext uri="{FF2B5EF4-FFF2-40B4-BE49-F238E27FC236}">
                      <a16:creationId xmlns:a16="http://schemas.microsoft.com/office/drawing/2014/main" id="{47656716-BCD8-B020-AF78-9B30674BB75A}"/>
                    </a:ext>
                  </a:extLst>
                </p:cNvPr>
                <p:cNvSpPr/>
                <p:nvPr/>
              </p:nvSpPr>
              <p:spPr bwMode="gray">
                <a:xfrm>
                  <a:off x="6192062"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668" y="26047"/>
                        <a:pt x="35191" y="27476"/>
                        <a:pt x="32619" y="27476"/>
                      </a:cubicBezTo>
                      <a:close/>
                    </a:path>
                  </a:pathLst>
                </a:custGeom>
                <a:grpFill/>
                <a:ln w="9525" cap="flat">
                  <a:noFill/>
                  <a:prstDash val="solid"/>
                  <a:miter/>
                </a:ln>
              </p:spPr>
              <p:txBody>
                <a:bodyPr rtlCol="0" anchor="ctr"/>
                <a:lstStyle/>
                <a:p>
                  <a:endParaRPr lang="de-DE"/>
                </a:p>
              </p:txBody>
            </p:sp>
            <p:sp>
              <p:nvSpPr>
                <p:cNvPr id="170" name="Grafik 9">
                  <a:extLst>
                    <a:ext uri="{FF2B5EF4-FFF2-40B4-BE49-F238E27FC236}">
                      <a16:creationId xmlns:a16="http://schemas.microsoft.com/office/drawing/2014/main" id="{A2B1A6E7-C0DF-AE90-7B95-7F084B05774C}"/>
                    </a:ext>
                  </a:extLst>
                </p:cNvPr>
                <p:cNvSpPr/>
                <p:nvPr/>
              </p:nvSpPr>
              <p:spPr bwMode="gray">
                <a:xfrm>
                  <a:off x="620651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160" name="Grafik 9">
                <a:extLst>
                  <a:ext uri="{FF2B5EF4-FFF2-40B4-BE49-F238E27FC236}">
                    <a16:creationId xmlns:a16="http://schemas.microsoft.com/office/drawing/2014/main" id="{6BE0D724-DD44-644A-3A5E-751F4C7736BA}"/>
                  </a:ext>
                </a:extLst>
              </p:cNvPr>
              <p:cNvGrpSpPr/>
              <p:nvPr/>
            </p:nvGrpSpPr>
            <p:grpSpPr bwMode="gray">
              <a:xfrm>
                <a:off x="6114814" y="3564496"/>
                <a:ext cx="116982" cy="64909"/>
                <a:chOff x="6114814" y="3564496"/>
                <a:chExt cx="116982" cy="64909"/>
              </a:xfrm>
              <a:grpFill/>
            </p:grpSpPr>
            <p:sp>
              <p:nvSpPr>
                <p:cNvPr id="165" name="Grafik 9">
                  <a:extLst>
                    <a:ext uri="{FF2B5EF4-FFF2-40B4-BE49-F238E27FC236}">
                      <a16:creationId xmlns:a16="http://schemas.microsoft.com/office/drawing/2014/main" id="{739F9884-AEFE-5848-90E9-95CB30D507E3}"/>
                    </a:ext>
                  </a:extLst>
                </p:cNvPr>
                <p:cNvSpPr/>
                <p:nvPr/>
              </p:nvSpPr>
              <p:spPr bwMode="gray">
                <a:xfrm>
                  <a:off x="6114814"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819" y="46336"/>
                        <a:pt x="102057" y="48050"/>
                        <a:pt x="99199" y="48050"/>
                      </a:cubicBezTo>
                      <a:close/>
                    </a:path>
                  </a:pathLst>
                </a:custGeom>
                <a:grpFill/>
                <a:ln w="9525" cap="flat">
                  <a:noFill/>
                  <a:prstDash val="solid"/>
                  <a:miter/>
                </a:ln>
              </p:spPr>
              <p:txBody>
                <a:bodyPr rtlCol="0" anchor="ctr"/>
                <a:lstStyle/>
                <a:p>
                  <a:endParaRPr lang="de-DE"/>
                </a:p>
              </p:txBody>
            </p:sp>
            <p:sp>
              <p:nvSpPr>
                <p:cNvPr id="166" name="Grafik 9">
                  <a:extLst>
                    <a:ext uri="{FF2B5EF4-FFF2-40B4-BE49-F238E27FC236}">
                      <a16:creationId xmlns:a16="http://schemas.microsoft.com/office/drawing/2014/main" id="{50A2BF9D-DE06-30F8-F927-C4B07A28FAFA}"/>
                    </a:ext>
                  </a:extLst>
                </p:cNvPr>
                <p:cNvSpPr/>
                <p:nvPr/>
              </p:nvSpPr>
              <p:spPr bwMode="gray">
                <a:xfrm>
                  <a:off x="619206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331" y="27476"/>
                        <a:pt x="7188" y="27476"/>
                      </a:cubicBezTo>
                      <a:close/>
                    </a:path>
                  </a:pathLst>
                </a:custGeom>
                <a:grpFill/>
                <a:ln w="9525" cap="flat">
                  <a:noFill/>
                  <a:prstDash val="solid"/>
                  <a:miter/>
                </a:ln>
              </p:spPr>
              <p:txBody>
                <a:bodyPr rtlCol="0" anchor="ctr"/>
                <a:lstStyle/>
                <a:p>
                  <a:endParaRPr lang="de-DE"/>
                </a:p>
              </p:txBody>
            </p:sp>
            <p:sp>
              <p:nvSpPr>
                <p:cNvPr id="167" name="Grafik 9">
                  <a:extLst>
                    <a:ext uri="{FF2B5EF4-FFF2-40B4-BE49-F238E27FC236}">
                      <a16:creationId xmlns:a16="http://schemas.microsoft.com/office/drawing/2014/main" id="{D4D8412C-2B96-EDD9-4BC2-957150472B96}"/>
                    </a:ext>
                  </a:extLst>
                </p:cNvPr>
                <p:cNvSpPr/>
                <p:nvPr/>
              </p:nvSpPr>
              <p:spPr bwMode="gray">
                <a:xfrm>
                  <a:off x="6206613" y="3575523"/>
                  <a:ext cx="25182" cy="40928"/>
                </a:xfrm>
                <a:custGeom>
                  <a:avLst/>
                  <a:gdLst>
                    <a:gd name="connsiteX0" fmla="*/ 17973 w 25182"/>
                    <a:gd name="connsiteY0" fmla="*/ 40928 h 40928"/>
                    <a:gd name="connsiteX1" fmla="*/ 11401 w 25182"/>
                    <a:gd name="connsiteY1" fmla="*/ 36452 h 40928"/>
                    <a:gd name="connsiteX2" fmla="*/ 542 w 25182"/>
                    <a:gd name="connsiteY2" fmla="*/ 9877 h 40928"/>
                    <a:gd name="connsiteX3" fmla="*/ 4448 w 25182"/>
                    <a:gd name="connsiteY3" fmla="*/ 542 h 40928"/>
                    <a:gd name="connsiteX4" fmla="*/ 13782 w 25182"/>
                    <a:gd name="connsiteY4" fmla="*/ 4448 h 40928"/>
                    <a:gd name="connsiteX5" fmla="*/ 24641 w 25182"/>
                    <a:gd name="connsiteY5" fmla="*/ 31022 h 40928"/>
                    <a:gd name="connsiteX6" fmla="*/ 20735 w 25182"/>
                    <a:gd name="connsiteY6" fmla="*/ 40357 h 40928"/>
                    <a:gd name="connsiteX7" fmla="*/ 17973 w 25182"/>
                    <a:gd name="connsiteY7" fmla="*/ 40928 h 4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928">
                      <a:moveTo>
                        <a:pt x="17973" y="40928"/>
                      </a:moveTo>
                      <a:cubicBezTo>
                        <a:pt x="15116" y="40928"/>
                        <a:pt x="12449" y="39214"/>
                        <a:pt x="11401" y="36452"/>
                      </a:cubicBezTo>
                      <a:lnTo>
                        <a:pt x="542" y="9877"/>
                      </a:lnTo>
                      <a:cubicBezTo>
                        <a:pt x="-982" y="6257"/>
                        <a:pt x="828" y="2066"/>
                        <a:pt x="4448" y="542"/>
                      </a:cubicBezTo>
                      <a:cubicBezTo>
                        <a:pt x="8162" y="-982"/>
                        <a:pt x="12258" y="828"/>
                        <a:pt x="13782" y="4448"/>
                      </a:cubicBezTo>
                      <a:lnTo>
                        <a:pt x="24641" y="31022"/>
                      </a:lnTo>
                      <a:cubicBezTo>
                        <a:pt x="26165" y="34642"/>
                        <a:pt x="24355" y="38833"/>
                        <a:pt x="20735" y="40357"/>
                      </a:cubicBezTo>
                      <a:cubicBezTo>
                        <a:pt x="19783" y="40738"/>
                        <a:pt x="18830" y="40928"/>
                        <a:pt x="17973" y="40928"/>
                      </a:cubicBezTo>
                      <a:close/>
                    </a:path>
                  </a:pathLst>
                </a:custGeom>
                <a:grpFill/>
                <a:ln w="9525" cap="flat">
                  <a:noFill/>
                  <a:prstDash val="solid"/>
                  <a:miter/>
                </a:ln>
              </p:spPr>
              <p:txBody>
                <a:bodyPr rtlCol="0" anchor="ctr"/>
                <a:lstStyle/>
                <a:p>
                  <a:endParaRPr lang="de-DE"/>
                </a:p>
              </p:txBody>
            </p:sp>
          </p:grpSp>
          <p:grpSp>
            <p:nvGrpSpPr>
              <p:cNvPr id="161" name="Grafik 9">
                <a:extLst>
                  <a:ext uri="{FF2B5EF4-FFF2-40B4-BE49-F238E27FC236}">
                    <a16:creationId xmlns:a16="http://schemas.microsoft.com/office/drawing/2014/main" id="{FC8B0195-5AF1-F95C-6B53-5F3E04B7B02E}"/>
                  </a:ext>
                </a:extLst>
              </p:cNvPr>
              <p:cNvGrpSpPr/>
              <p:nvPr/>
            </p:nvGrpSpPr>
            <p:grpSpPr bwMode="gray">
              <a:xfrm>
                <a:off x="6114763" y="3522082"/>
                <a:ext cx="115228" cy="52268"/>
                <a:chOff x="6114763" y="3522082"/>
                <a:chExt cx="115228" cy="52268"/>
              </a:xfrm>
              <a:grpFill/>
            </p:grpSpPr>
            <p:sp>
              <p:nvSpPr>
                <p:cNvPr id="162" name="Grafik 9">
                  <a:extLst>
                    <a:ext uri="{FF2B5EF4-FFF2-40B4-BE49-F238E27FC236}">
                      <a16:creationId xmlns:a16="http://schemas.microsoft.com/office/drawing/2014/main" id="{DEFE0795-3D86-D0D0-1801-FD912F5CC1F3}"/>
                    </a:ext>
                  </a:extLst>
                </p:cNvPr>
                <p:cNvSpPr/>
                <p:nvPr/>
              </p:nvSpPr>
              <p:spPr bwMode="gray">
                <a:xfrm>
                  <a:off x="611476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965" y="14288"/>
                        <a:pt x="96965" y="14288"/>
                      </a:cubicBezTo>
                      <a:close/>
                    </a:path>
                  </a:pathLst>
                </a:custGeom>
                <a:grpFill/>
                <a:ln w="9525" cap="flat">
                  <a:noFill/>
                  <a:prstDash val="solid"/>
                  <a:miter/>
                </a:ln>
              </p:spPr>
              <p:txBody>
                <a:bodyPr rtlCol="0" anchor="ctr"/>
                <a:lstStyle/>
                <a:p>
                  <a:endParaRPr lang="de-DE"/>
                </a:p>
              </p:txBody>
            </p:sp>
            <p:sp>
              <p:nvSpPr>
                <p:cNvPr id="163" name="Grafik 9">
                  <a:extLst>
                    <a:ext uri="{FF2B5EF4-FFF2-40B4-BE49-F238E27FC236}">
                      <a16:creationId xmlns:a16="http://schemas.microsoft.com/office/drawing/2014/main" id="{4BC26A97-75E8-E63A-A9B8-BA0FD39496CD}"/>
                    </a:ext>
                  </a:extLst>
                </p:cNvPr>
                <p:cNvSpPr/>
                <p:nvPr/>
              </p:nvSpPr>
              <p:spPr bwMode="gray">
                <a:xfrm>
                  <a:off x="619660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742"/>
                        <a:pt x="28075" y="33409"/>
                        <a:pt x="26265" y="33409"/>
                      </a:cubicBezTo>
                      <a:close/>
                    </a:path>
                  </a:pathLst>
                </a:custGeom>
                <a:grpFill/>
                <a:ln w="9525" cap="flat">
                  <a:noFill/>
                  <a:prstDash val="solid"/>
                  <a:miter/>
                </a:ln>
              </p:spPr>
              <p:txBody>
                <a:bodyPr rtlCol="0" anchor="ctr"/>
                <a:lstStyle/>
                <a:p>
                  <a:endParaRPr lang="de-DE"/>
                </a:p>
              </p:txBody>
            </p:sp>
            <p:sp>
              <p:nvSpPr>
                <p:cNvPr id="164" name="Grafik 9">
                  <a:extLst>
                    <a:ext uri="{FF2B5EF4-FFF2-40B4-BE49-F238E27FC236}">
                      <a16:creationId xmlns:a16="http://schemas.microsoft.com/office/drawing/2014/main" id="{9CE3A992-E501-22CC-0699-D2C0A26AB161}"/>
                    </a:ext>
                  </a:extLst>
                </p:cNvPr>
                <p:cNvSpPr/>
                <p:nvPr/>
              </p:nvSpPr>
              <p:spPr bwMode="gray">
                <a:xfrm>
                  <a:off x="619660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742"/>
                        <a:pt x="8930" y="33409"/>
                        <a:pt x="7120" y="33409"/>
                      </a:cubicBezTo>
                      <a:close/>
                    </a:path>
                  </a:pathLst>
                </a:custGeom>
                <a:grpFill/>
                <a:ln w="9525" cap="flat">
                  <a:noFill/>
                  <a:prstDash val="solid"/>
                  <a:miter/>
                </a:ln>
              </p:spPr>
              <p:txBody>
                <a:bodyPr rtlCol="0" anchor="ctr"/>
                <a:lstStyle/>
                <a:p>
                  <a:endParaRPr lang="de-DE"/>
                </a:p>
              </p:txBody>
            </p:sp>
          </p:grpSp>
        </p:grpSp>
      </p:grpSp>
      <p:grpSp>
        <p:nvGrpSpPr>
          <p:cNvPr id="193" name="Grafik 11">
            <a:extLst>
              <a:ext uri="{FF2B5EF4-FFF2-40B4-BE49-F238E27FC236}">
                <a16:creationId xmlns:a16="http://schemas.microsoft.com/office/drawing/2014/main" id="{82D72E5B-3F1C-BB92-1060-76CAAC28AE3A}"/>
              </a:ext>
            </a:extLst>
          </p:cNvPr>
          <p:cNvGrpSpPr/>
          <p:nvPr/>
        </p:nvGrpSpPr>
        <p:grpSpPr bwMode="gray">
          <a:xfrm>
            <a:off x="318344" y="4552076"/>
            <a:ext cx="373758" cy="373758"/>
            <a:chOff x="5843587" y="3176587"/>
            <a:chExt cx="500253" cy="500253"/>
          </a:xfrm>
          <a:solidFill>
            <a:schemeClr val="tx1"/>
          </a:solidFill>
        </p:grpSpPr>
        <p:grpSp>
          <p:nvGrpSpPr>
            <p:cNvPr id="194" name="Grafik 11">
              <a:extLst>
                <a:ext uri="{FF2B5EF4-FFF2-40B4-BE49-F238E27FC236}">
                  <a16:creationId xmlns:a16="http://schemas.microsoft.com/office/drawing/2014/main" id="{E431BE5A-6FF5-3A9D-B11D-F6678E6294CB}"/>
                </a:ext>
              </a:extLst>
            </p:cNvPr>
            <p:cNvGrpSpPr/>
            <p:nvPr/>
          </p:nvGrpSpPr>
          <p:grpSpPr bwMode="gray">
            <a:xfrm>
              <a:off x="5843587" y="3176587"/>
              <a:ext cx="500253" cy="500253"/>
              <a:chOff x="5843587" y="3176587"/>
              <a:chExt cx="500253" cy="500253"/>
            </a:xfrm>
            <a:grpFill/>
          </p:grpSpPr>
          <p:grpSp>
            <p:nvGrpSpPr>
              <p:cNvPr id="204" name="Grafik 11">
                <a:extLst>
                  <a:ext uri="{FF2B5EF4-FFF2-40B4-BE49-F238E27FC236}">
                    <a16:creationId xmlns:a16="http://schemas.microsoft.com/office/drawing/2014/main" id="{EB1A6365-48B2-3094-31F8-549F4448CFC0}"/>
                  </a:ext>
                </a:extLst>
              </p:cNvPr>
              <p:cNvGrpSpPr/>
              <p:nvPr/>
            </p:nvGrpSpPr>
            <p:grpSpPr bwMode="gray">
              <a:xfrm>
                <a:off x="5951066" y="3230233"/>
                <a:ext cx="285352" cy="149902"/>
                <a:chOff x="5951066" y="3230233"/>
                <a:chExt cx="285352" cy="149902"/>
              </a:xfrm>
              <a:grpFill/>
            </p:grpSpPr>
            <p:grpSp>
              <p:nvGrpSpPr>
                <p:cNvPr id="207" name="Grafik 11">
                  <a:extLst>
                    <a:ext uri="{FF2B5EF4-FFF2-40B4-BE49-F238E27FC236}">
                      <a16:creationId xmlns:a16="http://schemas.microsoft.com/office/drawing/2014/main" id="{8D7CF14B-0CBC-F40F-265F-0BF6A94FF688}"/>
                    </a:ext>
                  </a:extLst>
                </p:cNvPr>
                <p:cNvGrpSpPr/>
                <p:nvPr/>
              </p:nvGrpSpPr>
              <p:grpSpPr bwMode="gray">
                <a:xfrm>
                  <a:off x="6118933" y="3230233"/>
                  <a:ext cx="117485" cy="65892"/>
                  <a:chOff x="6118933" y="3230233"/>
                  <a:chExt cx="117485" cy="65892"/>
                </a:xfrm>
                <a:grpFill/>
              </p:grpSpPr>
              <p:sp>
                <p:nvSpPr>
                  <p:cNvPr id="220" name="Grafik 11">
                    <a:extLst>
                      <a:ext uri="{FF2B5EF4-FFF2-40B4-BE49-F238E27FC236}">
                        <a16:creationId xmlns:a16="http://schemas.microsoft.com/office/drawing/2014/main" id="{6998797A-DC34-D1D2-D32A-8DC26D412794}"/>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21" name="Grafik 11">
                    <a:extLst>
                      <a:ext uri="{FF2B5EF4-FFF2-40B4-BE49-F238E27FC236}">
                        <a16:creationId xmlns:a16="http://schemas.microsoft.com/office/drawing/2014/main" id="{388A2F43-D285-F9E8-128E-CD40DAD076C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22" name="Grafik 11">
                    <a:extLst>
                      <a:ext uri="{FF2B5EF4-FFF2-40B4-BE49-F238E27FC236}">
                        <a16:creationId xmlns:a16="http://schemas.microsoft.com/office/drawing/2014/main" id="{5970C62C-08C5-E402-86E0-D6071B5E6D4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08" name="Grafik 11">
                  <a:extLst>
                    <a:ext uri="{FF2B5EF4-FFF2-40B4-BE49-F238E27FC236}">
                      <a16:creationId xmlns:a16="http://schemas.microsoft.com/office/drawing/2014/main" id="{AB251900-AA30-9CF8-FD1F-4A4F51A88B20}"/>
                    </a:ext>
                  </a:extLst>
                </p:cNvPr>
                <p:cNvGrpSpPr/>
                <p:nvPr/>
              </p:nvGrpSpPr>
              <p:grpSpPr bwMode="gray">
                <a:xfrm>
                  <a:off x="5951103" y="3314244"/>
                  <a:ext cx="117485" cy="65892"/>
                  <a:chOff x="5951103" y="3314244"/>
                  <a:chExt cx="117485" cy="65892"/>
                </a:xfrm>
                <a:grpFill/>
              </p:grpSpPr>
              <p:sp>
                <p:nvSpPr>
                  <p:cNvPr id="217" name="Grafik 11">
                    <a:extLst>
                      <a:ext uri="{FF2B5EF4-FFF2-40B4-BE49-F238E27FC236}">
                        <a16:creationId xmlns:a16="http://schemas.microsoft.com/office/drawing/2014/main" id="{1790962B-8BE6-A750-203A-19F62495206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18" name="Grafik 11">
                    <a:extLst>
                      <a:ext uri="{FF2B5EF4-FFF2-40B4-BE49-F238E27FC236}">
                        <a16:creationId xmlns:a16="http://schemas.microsoft.com/office/drawing/2014/main" id="{17F4006D-CFE4-6C30-E182-73F7D440DAA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9" name="Grafik 11">
                    <a:extLst>
                      <a:ext uri="{FF2B5EF4-FFF2-40B4-BE49-F238E27FC236}">
                        <a16:creationId xmlns:a16="http://schemas.microsoft.com/office/drawing/2014/main" id="{DB9382CD-B8F8-223A-E854-FAEAC9FA890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9" name="Grafik 11">
                  <a:extLst>
                    <a:ext uri="{FF2B5EF4-FFF2-40B4-BE49-F238E27FC236}">
                      <a16:creationId xmlns:a16="http://schemas.microsoft.com/office/drawing/2014/main" id="{7B705EE1-39DC-4903-AAAA-CDC56B017F2D}"/>
                    </a:ext>
                  </a:extLst>
                </p:cNvPr>
                <p:cNvGrpSpPr/>
                <p:nvPr/>
              </p:nvGrpSpPr>
              <p:grpSpPr bwMode="gray">
                <a:xfrm>
                  <a:off x="6118954" y="3314261"/>
                  <a:ext cx="117405" cy="65875"/>
                  <a:chOff x="6118954" y="3314261"/>
                  <a:chExt cx="117405" cy="65875"/>
                </a:xfrm>
                <a:grpFill/>
              </p:grpSpPr>
              <p:sp>
                <p:nvSpPr>
                  <p:cNvPr id="214" name="Grafik 11">
                    <a:extLst>
                      <a:ext uri="{FF2B5EF4-FFF2-40B4-BE49-F238E27FC236}">
                        <a16:creationId xmlns:a16="http://schemas.microsoft.com/office/drawing/2014/main" id="{5CFDB5C6-F4D9-901A-D9A6-BB3EF6C55BD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15" name="Grafik 11">
                    <a:extLst>
                      <a:ext uri="{FF2B5EF4-FFF2-40B4-BE49-F238E27FC236}">
                        <a16:creationId xmlns:a16="http://schemas.microsoft.com/office/drawing/2014/main" id="{28A7CA99-E838-EFF9-7E92-828FE6ED09D7}"/>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16" name="Grafik 11">
                    <a:extLst>
                      <a:ext uri="{FF2B5EF4-FFF2-40B4-BE49-F238E27FC236}">
                        <a16:creationId xmlns:a16="http://schemas.microsoft.com/office/drawing/2014/main" id="{3AAA20A2-862E-3154-7782-D69FBF335719}"/>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10" name="Grafik 11">
                  <a:extLst>
                    <a:ext uri="{FF2B5EF4-FFF2-40B4-BE49-F238E27FC236}">
                      <a16:creationId xmlns:a16="http://schemas.microsoft.com/office/drawing/2014/main" id="{B11BC6B0-7397-AA5B-5BE2-9304BE187DA4}"/>
                    </a:ext>
                  </a:extLst>
                </p:cNvPr>
                <p:cNvGrpSpPr/>
                <p:nvPr/>
              </p:nvGrpSpPr>
              <p:grpSpPr bwMode="gray">
                <a:xfrm>
                  <a:off x="5951066" y="3230345"/>
                  <a:ext cx="117405" cy="65779"/>
                  <a:chOff x="5951066" y="3230345"/>
                  <a:chExt cx="117405" cy="65779"/>
                </a:xfrm>
                <a:grpFill/>
              </p:grpSpPr>
              <p:sp>
                <p:nvSpPr>
                  <p:cNvPr id="211" name="Grafik 11">
                    <a:extLst>
                      <a:ext uri="{FF2B5EF4-FFF2-40B4-BE49-F238E27FC236}">
                        <a16:creationId xmlns:a16="http://schemas.microsoft.com/office/drawing/2014/main" id="{891FD08D-959D-6D2B-88BC-C08A7D720A0A}"/>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12" name="Grafik 11">
                    <a:extLst>
                      <a:ext uri="{FF2B5EF4-FFF2-40B4-BE49-F238E27FC236}">
                        <a16:creationId xmlns:a16="http://schemas.microsoft.com/office/drawing/2014/main" id="{CE84985A-D469-60EE-325F-A5D6B9EA3C0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3" name="Grafik 11">
                    <a:extLst>
                      <a:ext uri="{FF2B5EF4-FFF2-40B4-BE49-F238E27FC236}">
                        <a16:creationId xmlns:a16="http://schemas.microsoft.com/office/drawing/2014/main" id="{601E5792-59E2-1409-64EA-F03B0C46D7F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05" name="Grafik 11">
                <a:extLst>
                  <a:ext uri="{FF2B5EF4-FFF2-40B4-BE49-F238E27FC236}">
                    <a16:creationId xmlns:a16="http://schemas.microsoft.com/office/drawing/2014/main" id="{B41ADBD2-E0CA-C85C-E72C-B27272030C9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06" name="Grafik 11">
                <a:extLst>
                  <a:ext uri="{FF2B5EF4-FFF2-40B4-BE49-F238E27FC236}">
                    <a16:creationId xmlns:a16="http://schemas.microsoft.com/office/drawing/2014/main" id="{435F9398-FE54-5DA4-DB30-57ACD7ED21F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5" name="Grafik 11">
              <a:extLst>
                <a:ext uri="{FF2B5EF4-FFF2-40B4-BE49-F238E27FC236}">
                  <a16:creationId xmlns:a16="http://schemas.microsoft.com/office/drawing/2014/main" id="{148B7A72-A6C4-4AF7-66C0-0FECD391AA5E}"/>
                </a:ext>
              </a:extLst>
            </p:cNvPr>
            <p:cNvGrpSpPr/>
            <p:nvPr/>
          </p:nvGrpSpPr>
          <p:grpSpPr bwMode="gray">
            <a:xfrm>
              <a:off x="5996177" y="3475291"/>
              <a:ext cx="195071" cy="143827"/>
              <a:chOff x="5996177" y="3475291"/>
              <a:chExt cx="195071" cy="143827"/>
            </a:xfrm>
            <a:grpFill/>
          </p:grpSpPr>
          <p:sp>
            <p:nvSpPr>
              <p:cNvPr id="196" name="Grafik 11">
                <a:extLst>
                  <a:ext uri="{FF2B5EF4-FFF2-40B4-BE49-F238E27FC236}">
                    <a16:creationId xmlns:a16="http://schemas.microsoft.com/office/drawing/2014/main" id="{20AF395B-DBB1-CD2D-8A7F-BEC70D31804E}"/>
                  </a:ext>
                </a:extLst>
              </p:cNvPr>
              <p:cNvSpPr/>
              <p:nvPr/>
            </p:nvSpPr>
            <p:spPr bwMode="gray">
              <a:xfrm>
                <a:off x="6025347" y="3478553"/>
                <a:ext cx="140636" cy="140565"/>
              </a:xfrm>
              <a:custGeom>
                <a:avLst/>
                <a:gdLst>
                  <a:gd name="connsiteX0" fmla="*/ 133517 w 140636"/>
                  <a:gd name="connsiteY0" fmla="*/ 140565 h 140565"/>
                  <a:gd name="connsiteX1" fmla="*/ 128468 w 140636"/>
                  <a:gd name="connsiteY1" fmla="*/ 138470 h 140565"/>
                  <a:gd name="connsiteX2" fmla="*/ 2072 w 140636"/>
                  <a:gd name="connsiteY2" fmla="*/ 12168 h 140565"/>
                  <a:gd name="connsiteX3" fmla="*/ 2072 w 140636"/>
                  <a:gd name="connsiteY3" fmla="*/ 2072 h 140565"/>
                  <a:gd name="connsiteX4" fmla="*/ 12168 w 140636"/>
                  <a:gd name="connsiteY4" fmla="*/ 2072 h 140565"/>
                  <a:gd name="connsiteX5" fmla="*/ 138565 w 140636"/>
                  <a:gd name="connsiteY5" fmla="*/ 128468 h 140565"/>
                  <a:gd name="connsiteX6" fmla="*/ 138565 w 140636"/>
                  <a:gd name="connsiteY6" fmla="*/ 138565 h 140565"/>
                  <a:gd name="connsiteX7" fmla="*/ 133517 w 140636"/>
                  <a:gd name="connsiteY7" fmla="*/ 140565 h 14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565">
                    <a:moveTo>
                      <a:pt x="133517" y="140565"/>
                    </a:moveTo>
                    <a:cubicBezTo>
                      <a:pt x="131707" y="140565"/>
                      <a:pt x="129897" y="139898"/>
                      <a:pt x="128468" y="138470"/>
                    </a:cubicBezTo>
                    <a:lnTo>
                      <a:pt x="2072" y="12168"/>
                    </a:lnTo>
                    <a:cubicBezTo>
                      <a:pt x="-691" y="9406"/>
                      <a:pt x="-691" y="4834"/>
                      <a:pt x="2072" y="2072"/>
                    </a:cubicBezTo>
                    <a:cubicBezTo>
                      <a:pt x="4834" y="-691"/>
                      <a:pt x="9406" y="-691"/>
                      <a:pt x="12168" y="2072"/>
                    </a:cubicBezTo>
                    <a:lnTo>
                      <a:pt x="138565" y="128468"/>
                    </a:lnTo>
                    <a:cubicBezTo>
                      <a:pt x="141327" y="131231"/>
                      <a:pt x="141327" y="135803"/>
                      <a:pt x="138565" y="138565"/>
                    </a:cubicBezTo>
                    <a:cubicBezTo>
                      <a:pt x="137136" y="139898"/>
                      <a:pt x="135326" y="140565"/>
                      <a:pt x="133517" y="140565"/>
                    </a:cubicBezTo>
                    <a:close/>
                  </a:path>
                </a:pathLst>
              </a:custGeom>
              <a:grpFill/>
              <a:ln w="9525" cap="flat">
                <a:noFill/>
                <a:prstDash val="solid"/>
                <a:miter/>
              </a:ln>
            </p:spPr>
            <p:txBody>
              <a:bodyPr rtlCol="0" anchor="ctr"/>
              <a:lstStyle/>
              <a:p>
                <a:endParaRPr lang="de-DE"/>
              </a:p>
            </p:txBody>
          </p:sp>
          <p:sp>
            <p:nvSpPr>
              <p:cNvPr id="197" name="Grafik 11">
                <a:extLst>
                  <a:ext uri="{FF2B5EF4-FFF2-40B4-BE49-F238E27FC236}">
                    <a16:creationId xmlns:a16="http://schemas.microsoft.com/office/drawing/2014/main" id="{2863786D-7EFF-8A8B-C9E2-E64F1E7E7506}"/>
                  </a:ext>
                </a:extLst>
              </p:cNvPr>
              <p:cNvSpPr/>
              <p:nvPr/>
            </p:nvSpPr>
            <p:spPr bwMode="gray">
              <a:xfrm>
                <a:off x="6025347" y="3478458"/>
                <a:ext cx="140636" cy="140660"/>
              </a:xfrm>
              <a:custGeom>
                <a:avLst/>
                <a:gdLst>
                  <a:gd name="connsiteX0" fmla="*/ 7120 w 140636"/>
                  <a:gd name="connsiteY0" fmla="*/ 140660 h 140660"/>
                  <a:gd name="connsiteX1" fmla="*/ 2072 w 140636"/>
                  <a:gd name="connsiteY1" fmla="*/ 138565 h 140660"/>
                  <a:gd name="connsiteX2" fmla="*/ 2072 w 140636"/>
                  <a:gd name="connsiteY2" fmla="*/ 128468 h 140660"/>
                  <a:gd name="connsiteX3" fmla="*/ 128468 w 140636"/>
                  <a:gd name="connsiteY3" fmla="*/ 2072 h 140660"/>
                  <a:gd name="connsiteX4" fmla="*/ 138565 w 140636"/>
                  <a:gd name="connsiteY4" fmla="*/ 2072 h 140660"/>
                  <a:gd name="connsiteX5" fmla="*/ 138565 w 140636"/>
                  <a:gd name="connsiteY5" fmla="*/ 12168 h 140660"/>
                  <a:gd name="connsiteX6" fmla="*/ 12168 w 140636"/>
                  <a:gd name="connsiteY6" fmla="*/ 138660 h 140660"/>
                  <a:gd name="connsiteX7" fmla="*/ 7120 w 140636"/>
                  <a:gd name="connsiteY7" fmla="*/ 140660 h 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660">
                    <a:moveTo>
                      <a:pt x="7120" y="140660"/>
                    </a:moveTo>
                    <a:cubicBezTo>
                      <a:pt x="5310" y="140660"/>
                      <a:pt x="3500" y="139994"/>
                      <a:pt x="2072" y="138565"/>
                    </a:cubicBezTo>
                    <a:cubicBezTo>
                      <a:pt x="-691" y="135803"/>
                      <a:pt x="-691" y="131231"/>
                      <a:pt x="2072" y="128468"/>
                    </a:cubicBezTo>
                    <a:lnTo>
                      <a:pt x="128468" y="2072"/>
                    </a:lnTo>
                    <a:cubicBezTo>
                      <a:pt x="131231" y="-691"/>
                      <a:pt x="135803" y="-691"/>
                      <a:pt x="138565" y="2072"/>
                    </a:cubicBezTo>
                    <a:cubicBezTo>
                      <a:pt x="141327" y="4834"/>
                      <a:pt x="141327" y="9406"/>
                      <a:pt x="138565" y="12168"/>
                    </a:cubicBezTo>
                    <a:lnTo>
                      <a:pt x="12168" y="138660"/>
                    </a:lnTo>
                    <a:cubicBezTo>
                      <a:pt x="10739" y="139994"/>
                      <a:pt x="8930" y="140660"/>
                      <a:pt x="7120" y="140660"/>
                    </a:cubicBezTo>
                    <a:close/>
                  </a:path>
                </a:pathLst>
              </a:custGeom>
              <a:grpFill/>
              <a:ln w="9525" cap="flat">
                <a:noFill/>
                <a:prstDash val="solid"/>
                <a:miter/>
              </a:ln>
            </p:spPr>
            <p:txBody>
              <a:bodyPr rtlCol="0" anchor="ctr"/>
              <a:lstStyle/>
              <a:p>
                <a:endParaRPr lang="de-DE"/>
              </a:p>
            </p:txBody>
          </p:sp>
          <p:sp>
            <p:nvSpPr>
              <p:cNvPr id="198" name="Grafik 11">
                <a:extLst>
                  <a:ext uri="{FF2B5EF4-FFF2-40B4-BE49-F238E27FC236}">
                    <a16:creationId xmlns:a16="http://schemas.microsoft.com/office/drawing/2014/main" id="{C0BA6B48-BC7C-D7DF-2478-A1002C4B55EA}"/>
                  </a:ext>
                </a:extLst>
              </p:cNvPr>
              <p:cNvSpPr/>
              <p:nvPr/>
            </p:nvSpPr>
            <p:spPr bwMode="gray">
              <a:xfrm>
                <a:off x="6151720"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199" name="Grafik 11">
                <a:extLst>
                  <a:ext uri="{FF2B5EF4-FFF2-40B4-BE49-F238E27FC236}">
                    <a16:creationId xmlns:a16="http://schemas.microsoft.com/office/drawing/2014/main" id="{7840C979-D813-AA2A-C6DD-6865530D58E9}"/>
                  </a:ext>
                </a:extLst>
              </p:cNvPr>
              <p:cNvSpPr/>
              <p:nvPr/>
            </p:nvSpPr>
            <p:spPr bwMode="gray">
              <a:xfrm>
                <a:off x="6000082"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0" name="Grafik 11">
                <a:extLst>
                  <a:ext uri="{FF2B5EF4-FFF2-40B4-BE49-F238E27FC236}">
                    <a16:creationId xmlns:a16="http://schemas.microsoft.com/office/drawing/2014/main" id="{D6CF14C6-E7AE-96C5-C5F3-ECEE45E30816}"/>
                  </a:ext>
                </a:extLst>
              </p:cNvPr>
              <p:cNvSpPr/>
              <p:nvPr/>
            </p:nvSpPr>
            <p:spPr bwMode="gray">
              <a:xfrm>
                <a:off x="6151720"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201" name="Grafik 11">
                <a:extLst>
                  <a:ext uri="{FF2B5EF4-FFF2-40B4-BE49-F238E27FC236}">
                    <a16:creationId xmlns:a16="http://schemas.microsoft.com/office/drawing/2014/main" id="{F866BD6C-4FFD-E813-119A-060B2B828E78}"/>
                  </a:ext>
                </a:extLst>
              </p:cNvPr>
              <p:cNvSpPr/>
              <p:nvPr/>
            </p:nvSpPr>
            <p:spPr bwMode="gray">
              <a:xfrm>
                <a:off x="6000082"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2" name="Grafik 11">
                <a:extLst>
                  <a:ext uri="{FF2B5EF4-FFF2-40B4-BE49-F238E27FC236}">
                    <a16:creationId xmlns:a16="http://schemas.microsoft.com/office/drawing/2014/main" id="{91B847F4-6C82-F0E5-BAF2-D1156BAC0744}"/>
                  </a:ext>
                </a:extLst>
              </p:cNvPr>
              <p:cNvSpPr/>
              <p:nvPr/>
            </p:nvSpPr>
            <p:spPr bwMode="gray">
              <a:xfrm>
                <a:off x="6088474" y="3475291"/>
                <a:ext cx="14287" cy="143827"/>
              </a:xfrm>
              <a:custGeom>
                <a:avLst/>
                <a:gdLst>
                  <a:gd name="connsiteX0" fmla="*/ 7144 w 14287"/>
                  <a:gd name="connsiteY0" fmla="*/ 143827 h 143827"/>
                  <a:gd name="connsiteX1" fmla="*/ 0 w 14287"/>
                  <a:gd name="connsiteY1" fmla="*/ 136684 h 143827"/>
                  <a:gd name="connsiteX2" fmla="*/ 0 w 14287"/>
                  <a:gd name="connsiteY2" fmla="*/ 7144 h 143827"/>
                  <a:gd name="connsiteX3" fmla="*/ 7144 w 14287"/>
                  <a:gd name="connsiteY3" fmla="*/ 0 h 143827"/>
                  <a:gd name="connsiteX4" fmla="*/ 14288 w 14287"/>
                  <a:gd name="connsiteY4" fmla="*/ 7144 h 143827"/>
                  <a:gd name="connsiteX5" fmla="*/ 14288 w 14287"/>
                  <a:gd name="connsiteY5" fmla="*/ 136779 h 143827"/>
                  <a:gd name="connsiteX6" fmla="*/ 7144 w 14287"/>
                  <a:gd name="connsiteY6" fmla="*/ 143827 h 1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3827">
                    <a:moveTo>
                      <a:pt x="7144" y="143827"/>
                    </a:moveTo>
                    <a:cubicBezTo>
                      <a:pt x="3239" y="143827"/>
                      <a:pt x="0" y="140589"/>
                      <a:pt x="0" y="136684"/>
                    </a:cubicBezTo>
                    <a:lnTo>
                      <a:pt x="0" y="7144"/>
                    </a:lnTo>
                    <a:cubicBezTo>
                      <a:pt x="0" y="3239"/>
                      <a:pt x="3239" y="0"/>
                      <a:pt x="7144" y="0"/>
                    </a:cubicBezTo>
                    <a:cubicBezTo>
                      <a:pt x="11049" y="0"/>
                      <a:pt x="14288" y="3239"/>
                      <a:pt x="14288" y="7144"/>
                    </a:cubicBezTo>
                    <a:lnTo>
                      <a:pt x="14288" y="136779"/>
                    </a:lnTo>
                    <a:cubicBezTo>
                      <a:pt x="14288" y="140684"/>
                      <a:pt x="11144" y="143827"/>
                      <a:pt x="7144" y="143827"/>
                    </a:cubicBezTo>
                    <a:close/>
                  </a:path>
                </a:pathLst>
              </a:custGeom>
              <a:grpFill/>
              <a:ln w="9525" cap="flat">
                <a:noFill/>
                <a:prstDash val="solid"/>
                <a:miter/>
              </a:ln>
            </p:spPr>
            <p:txBody>
              <a:bodyPr rtlCol="0" anchor="ctr"/>
              <a:lstStyle/>
              <a:p>
                <a:endParaRPr lang="de-DE"/>
              </a:p>
            </p:txBody>
          </p:sp>
          <p:sp>
            <p:nvSpPr>
              <p:cNvPr id="203" name="Grafik 11">
                <a:extLst>
                  <a:ext uri="{FF2B5EF4-FFF2-40B4-BE49-F238E27FC236}">
                    <a16:creationId xmlns:a16="http://schemas.microsoft.com/office/drawing/2014/main" id="{CE7DD468-6278-9B9E-4ECA-AC698905B0A3}"/>
                  </a:ext>
                </a:extLst>
              </p:cNvPr>
              <p:cNvSpPr/>
              <p:nvPr/>
            </p:nvSpPr>
            <p:spPr bwMode="gray">
              <a:xfrm>
                <a:off x="5996177" y="3540060"/>
                <a:ext cx="195071" cy="14287"/>
              </a:xfrm>
              <a:custGeom>
                <a:avLst/>
                <a:gdLst>
                  <a:gd name="connsiteX0" fmla="*/ 187928 w 195071"/>
                  <a:gd name="connsiteY0" fmla="*/ 14288 h 14287"/>
                  <a:gd name="connsiteX1" fmla="*/ 7144 w 195071"/>
                  <a:gd name="connsiteY1" fmla="*/ 14288 h 14287"/>
                  <a:gd name="connsiteX2" fmla="*/ 0 w 195071"/>
                  <a:gd name="connsiteY2" fmla="*/ 7144 h 14287"/>
                  <a:gd name="connsiteX3" fmla="*/ 7144 w 195071"/>
                  <a:gd name="connsiteY3" fmla="*/ 0 h 14287"/>
                  <a:gd name="connsiteX4" fmla="*/ 187928 w 195071"/>
                  <a:gd name="connsiteY4" fmla="*/ 0 h 14287"/>
                  <a:gd name="connsiteX5" fmla="*/ 195072 w 195071"/>
                  <a:gd name="connsiteY5" fmla="*/ 7144 h 14287"/>
                  <a:gd name="connsiteX6" fmla="*/ 187928 w 1950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71" h="14287">
                    <a:moveTo>
                      <a:pt x="187928" y="14288"/>
                    </a:moveTo>
                    <a:lnTo>
                      <a:pt x="7144" y="14288"/>
                    </a:lnTo>
                    <a:cubicBezTo>
                      <a:pt x="3239" y="14288"/>
                      <a:pt x="0" y="11049"/>
                      <a:pt x="0" y="7144"/>
                    </a:cubicBezTo>
                    <a:cubicBezTo>
                      <a:pt x="0" y="3239"/>
                      <a:pt x="3239" y="0"/>
                      <a:pt x="7144" y="0"/>
                    </a:cubicBezTo>
                    <a:lnTo>
                      <a:pt x="187928" y="0"/>
                    </a:lnTo>
                    <a:cubicBezTo>
                      <a:pt x="191834" y="0"/>
                      <a:pt x="195072" y="3239"/>
                      <a:pt x="195072" y="7144"/>
                    </a:cubicBezTo>
                    <a:cubicBezTo>
                      <a:pt x="195072" y="11049"/>
                      <a:pt x="191929" y="14288"/>
                      <a:pt x="187928" y="14288"/>
                    </a:cubicBezTo>
                    <a:close/>
                  </a:path>
                </a:pathLst>
              </a:custGeom>
              <a:grpFill/>
              <a:ln w="9525" cap="flat">
                <a:noFill/>
                <a:prstDash val="solid"/>
                <a:miter/>
              </a:ln>
            </p:spPr>
            <p:txBody>
              <a:bodyPr rtlCol="0" anchor="ctr"/>
              <a:lstStyle/>
              <a:p>
                <a:endParaRPr lang="de-DE"/>
              </a:p>
            </p:txBody>
          </p:sp>
        </p:grpSp>
      </p:grpSp>
      <p:grpSp>
        <p:nvGrpSpPr>
          <p:cNvPr id="223" name="Grafik 13">
            <a:extLst>
              <a:ext uri="{FF2B5EF4-FFF2-40B4-BE49-F238E27FC236}">
                <a16:creationId xmlns:a16="http://schemas.microsoft.com/office/drawing/2014/main" id="{32BA8D7C-E2FE-DA6D-04BB-067332F0D30F}"/>
              </a:ext>
            </a:extLst>
          </p:cNvPr>
          <p:cNvGrpSpPr/>
          <p:nvPr/>
        </p:nvGrpSpPr>
        <p:grpSpPr bwMode="gray">
          <a:xfrm>
            <a:off x="318344" y="5089463"/>
            <a:ext cx="373758" cy="373758"/>
            <a:chOff x="5843587" y="3176587"/>
            <a:chExt cx="500253" cy="500253"/>
          </a:xfrm>
          <a:solidFill>
            <a:schemeClr val="tx1"/>
          </a:solidFill>
        </p:grpSpPr>
        <p:grpSp>
          <p:nvGrpSpPr>
            <p:cNvPr id="224" name="Grafik 13">
              <a:extLst>
                <a:ext uri="{FF2B5EF4-FFF2-40B4-BE49-F238E27FC236}">
                  <a16:creationId xmlns:a16="http://schemas.microsoft.com/office/drawing/2014/main" id="{AB5B2D4C-DC53-B4B9-FCD8-47208DDA7E5F}"/>
                </a:ext>
              </a:extLst>
            </p:cNvPr>
            <p:cNvGrpSpPr/>
            <p:nvPr/>
          </p:nvGrpSpPr>
          <p:grpSpPr bwMode="gray">
            <a:xfrm>
              <a:off x="5843587" y="3176587"/>
              <a:ext cx="500253" cy="500253"/>
              <a:chOff x="5843587" y="3176587"/>
              <a:chExt cx="500253" cy="500253"/>
            </a:xfrm>
            <a:grpFill/>
          </p:grpSpPr>
          <p:grpSp>
            <p:nvGrpSpPr>
              <p:cNvPr id="228" name="Grafik 13">
                <a:extLst>
                  <a:ext uri="{FF2B5EF4-FFF2-40B4-BE49-F238E27FC236}">
                    <a16:creationId xmlns:a16="http://schemas.microsoft.com/office/drawing/2014/main" id="{78AD4DF8-E953-B154-BDB7-E54D554C11FD}"/>
                  </a:ext>
                </a:extLst>
              </p:cNvPr>
              <p:cNvGrpSpPr/>
              <p:nvPr/>
            </p:nvGrpSpPr>
            <p:grpSpPr bwMode="gray">
              <a:xfrm>
                <a:off x="5951103" y="3230191"/>
                <a:ext cx="285411" cy="149944"/>
                <a:chOff x="5951103" y="3230191"/>
                <a:chExt cx="285411" cy="149944"/>
              </a:xfrm>
              <a:grpFill/>
            </p:grpSpPr>
            <p:grpSp>
              <p:nvGrpSpPr>
                <p:cNvPr id="231" name="Grafik 13">
                  <a:extLst>
                    <a:ext uri="{FF2B5EF4-FFF2-40B4-BE49-F238E27FC236}">
                      <a16:creationId xmlns:a16="http://schemas.microsoft.com/office/drawing/2014/main" id="{6C1A3E09-B8EB-3443-3951-330FC7CB7382}"/>
                    </a:ext>
                  </a:extLst>
                </p:cNvPr>
                <p:cNvGrpSpPr/>
                <p:nvPr/>
              </p:nvGrpSpPr>
              <p:grpSpPr bwMode="gray">
                <a:xfrm>
                  <a:off x="6119028" y="3230191"/>
                  <a:ext cx="117485" cy="65934"/>
                  <a:chOff x="6119028" y="3230191"/>
                  <a:chExt cx="117485" cy="65934"/>
                </a:xfrm>
                <a:grpFill/>
              </p:grpSpPr>
              <p:sp>
                <p:nvSpPr>
                  <p:cNvPr id="244" name="Grafik 13">
                    <a:extLst>
                      <a:ext uri="{FF2B5EF4-FFF2-40B4-BE49-F238E27FC236}">
                        <a16:creationId xmlns:a16="http://schemas.microsoft.com/office/drawing/2014/main" id="{D8E6506A-A47F-3E9B-AEB0-797D488211BA}"/>
                      </a:ext>
                    </a:extLst>
                  </p:cNvPr>
                  <p:cNvSpPr/>
                  <p:nvPr/>
                </p:nvSpPr>
                <p:spPr bwMode="gray">
                  <a:xfrm>
                    <a:off x="6119028"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308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308" y="65267"/>
                        </a:lnTo>
                        <a:cubicBezTo>
                          <a:pt x="9260" y="65744"/>
                          <a:pt x="8213" y="65934"/>
                          <a:pt x="7165" y="65934"/>
                        </a:cubicBezTo>
                        <a:close/>
                      </a:path>
                    </a:pathLst>
                  </a:custGeom>
                  <a:grpFill/>
                  <a:ln w="9525" cap="flat">
                    <a:noFill/>
                    <a:prstDash val="solid"/>
                    <a:miter/>
                  </a:ln>
                </p:spPr>
                <p:txBody>
                  <a:bodyPr rtlCol="0" anchor="ctr"/>
                  <a:lstStyle/>
                  <a:p>
                    <a:endParaRPr lang="de-DE"/>
                  </a:p>
                </p:txBody>
              </p:sp>
              <p:sp>
                <p:nvSpPr>
                  <p:cNvPr id="245" name="Grafik 13">
                    <a:extLst>
                      <a:ext uri="{FF2B5EF4-FFF2-40B4-BE49-F238E27FC236}">
                        <a16:creationId xmlns:a16="http://schemas.microsoft.com/office/drawing/2014/main" id="{467E0217-1E4F-93DB-7A77-11BD63A6566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6" name="Grafik 13">
                    <a:extLst>
                      <a:ext uri="{FF2B5EF4-FFF2-40B4-BE49-F238E27FC236}">
                        <a16:creationId xmlns:a16="http://schemas.microsoft.com/office/drawing/2014/main" id="{613D155F-D94F-2419-576A-A3C9A73E8EA8}"/>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32" name="Grafik 13">
                  <a:extLst>
                    <a:ext uri="{FF2B5EF4-FFF2-40B4-BE49-F238E27FC236}">
                      <a16:creationId xmlns:a16="http://schemas.microsoft.com/office/drawing/2014/main" id="{B78A0C60-7104-4B25-DCA6-16A8AB2FBD7D}"/>
                    </a:ext>
                  </a:extLst>
                </p:cNvPr>
                <p:cNvGrpSpPr/>
                <p:nvPr/>
              </p:nvGrpSpPr>
              <p:grpSpPr bwMode="gray">
                <a:xfrm>
                  <a:off x="5951103" y="3314202"/>
                  <a:ext cx="117485" cy="65934"/>
                  <a:chOff x="5951103" y="3314202"/>
                  <a:chExt cx="117485" cy="65934"/>
                </a:xfrm>
                <a:grpFill/>
              </p:grpSpPr>
              <p:sp>
                <p:nvSpPr>
                  <p:cNvPr id="241" name="Grafik 13">
                    <a:extLst>
                      <a:ext uri="{FF2B5EF4-FFF2-40B4-BE49-F238E27FC236}">
                        <a16:creationId xmlns:a16="http://schemas.microsoft.com/office/drawing/2014/main" id="{C04FD636-D579-CB85-3493-3CCF595B877C}"/>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42" name="Grafik 13">
                    <a:extLst>
                      <a:ext uri="{FF2B5EF4-FFF2-40B4-BE49-F238E27FC236}">
                        <a16:creationId xmlns:a16="http://schemas.microsoft.com/office/drawing/2014/main" id="{6FB28FED-020C-82C3-DCC3-292A08243F5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3" name="Grafik 13">
                    <a:extLst>
                      <a:ext uri="{FF2B5EF4-FFF2-40B4-BE49-F238E27FC236}">
                        <a16:creationId xmlns:a16="http://schemas.microsoft.com/office/drawing/2014/main" id="{DCC26B88-E7AD-63A3-4EAF-5EE658D0AC1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33" name="Grafik 13">
                  <a:extLst>
                    <a:ext uri="{FF2B5EF4-FFF2-40B4-BE49-F238E27FC236}">
                      <a16:creationId xmlns:a16="http://schemas.microsoft.com/office/drawing/2014/main" id="{D3B1172E-B9DA-9401-1649-39D542E9C1E0}"/>
                    </a:ext>
                  </a:extLst>
                </p:cNvPr>
                <p:cNvGrpSpPr/>
                <p:nvPr/>
              </p:nvGrpSpPr>
              <p:grpSpPr bwMode="gray">
                <a:xfrm>
                  <a:off x="6118954" y="3314261"/>
                  <a:ext cx="117405" cy="65875"/>
                  <a:chOff x="6118954" y="3314261"/>
                  <a:chExt cx="117405" cy="65875"/>
                </a:xfrm>
                <a:grpFill/>
              </p:grpSpPr>
              <p:sp>
                <p:nvSpPr>
                  <p:cNvPr id="238" name="Grafik 13">
                    <a:extLst>
                      <a:ext uri="{FF2B5EF4-FFF2-40B4-BE49-F238E27FC236}">
                        <a16:creationId xmlns:a16="http://schemas.microsoft.com/office/drawing/2014/main" id="{DAA579A0-E715-C987-2D7C-C5C58FDCE83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9" name="Grafik 13">
                    <a:extLst>
                      <a:ext uri="{FF2B5EF4-FFF2-40B4-BE49-F238E27FC236}">
                        <a16:creationId xmlns:a16="http://schemas.microsoft.com/office/drawing/2014/main" id="{0ED6EE0F-62C4-A753-801F-282A13A9BE82}"/>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40" name="Grafik 13">
                    <a:extLst>
                      <a:ext uri="{FF2B5EF4-FFF2-40B4-BE49-F238E27FC236}">
                        <a16:creationId xmlns:a16="http://schemas.microsoft.com/office/drawing/2014/main" id="{A87B0C81-6462-8B47-70FD-78351CB0528F}"/>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4" name="Grafik 13">
                  <a:extLst>
                    <a:ext uri="{FF2B5EF4-FFF2-40B4-BE49-F238E27FC236}">
                      <a16:creationId xmlns:a16="http://schemas.microsoft.com/office/drawing/2014/main" id="{CDA8ED07-FE8E-6A0A-867F-C4FD116B3C73}"/>
                    </a:ext>
                  </a:extLst>
                </p:cNvPr>
                <p:cNvGrpSpPr/>
                <p:nvPr/>
              </p:nvGrpSpPr>
              <p:grpSpPr bwMode="gray">
                <a:xfrm>
                  <a:off x="5951162" y="3230345"/>
                  <a:ext cx="117367" cy="65779"/>
                  <a:chOff x="5951162" y="3230345"/>
                  <a:chExt cx="117367" cy="65779"/>
                </a:xfrm>
                <a:grpFill/>
              </p:grpSpPr>
              <p:sp>
                <p:nvSpPr>
                  <p:cNvPr id="235" name="Grafik 13">
                    <a:extLst>
                      <a:ext uri="{FF2B5EF4-FFF2-40B4-BE49-F238E27FC236}">
                        <a16:creationId xmlns:a16="http://schemas.microsoft.com/office/drawing/2014/main" id="{7AD8BF70-A5DE-3972-D785-48A74E8938B7}"/>
                      </a:ext>
                    </a:extLst>
                  </p:cNvPr>
                  <p:cNvSpPr/>
                  <p:nvPr/>
                </p:nvSpPr>
                <p:spPr bwMode="gray">
                  <a:xfrm>
                    <a:off x="5951162" y="3230345"/>
                    <a:ext cx="117367" cy="65779"/>
                  </a:xfrm>
                  <a:custGeom>
                    <a:avLst/>
                    <a:gdLst>
                      <a:gd name="connsiteX0" fmla="*/ 110166 w 117367"/>
                      <a:gd name="connsiteY0" fmla="*/ 65780 h 65779"/>
                      <a:gd name="connsiteX1" fmla="*/ 107023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4 w 117367"/>
                      <a:gd name="connsiteY6" fmla="*/ 61875 h 65779"/>
                      <a:gd name="connsiteX7" fmla="*/ 110166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166" y="65780"/>
                        </a:moveTo>
                        <a:cubicBezTo>
                          <a:pt x="109119" y="65780"/>
                          <a:pt x="107976" y="65494"/>
                          <a:pt x="107023"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4" y="61875"/>
                        </a:cubicBezTo>
                        <a:cubicBezTo>
                          <a:pt x="115310" y="64351"/>
                          <a:pt x="112738" y="65780"/>
                          <a:pt x="110166" y="65780"/>
                        </a:cubicBezTo>
                        <a:close/>
                      </a:path>
                    </a:pathLst>
                  </a:custGeom>
                  <a:grpFill/>
                  <a:ln w="9525" cap="flat">
                    <a:noFill/>
                    <a:prstDash val="solid"/>
                    <a:miter/>
                  </a:ln>
                </p:spPr>
                <p:txBody>
                  <a:bodyPr rtlCol="0" anchor="ctr"/>
                  <a:lstStyle/>
                  <a:p>
                    <a:endParaRPr lang="de-DE"/>
                  </a:p>
                </p:txBody>
              </p:sp>
              <p:sp>
                <p:nvSpPr>
                  <p:cNvPr id="236" name="Grafik 13">
                    <a:extLst>
                      <a:ext uri="{FF2B5EF4-FFF2-40B4-BE49-F238E27FC236}">
                        <a16:creationId xmlns:a16="http://schemas.microsoft.com/office/drawing/2014/main" id="{0F596FA2-7020-B611-F2B4-7698AD0C534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7" name="Grafik 13">
                    <a:extLst>
                      <a:ext uri="{FF2B5EF4-FFF2-40B4-BE49-F238E27FC236}">
                        <a16:creationId xmlns:a16="http://schemas.microsoft.com/office/drawing/2014/main" id="{084D6E93-FD9F-8964-F49A-9A3C0DB5FA8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9" name="Grafik 13">
                <a:extLst>
                  <a:ext uri="{FF2B5EF4-FFF2-40B4-BE49-F238E27FC236}">
                    <a16:creationId xmlns:a16="http://schemas.microsoft.com/office/drawing/2014/main" id="{FA0D79F6-64D4-1D3A-CD9D-976765E8908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30" name="Grafik 13">
                <a:extLst>
                  <a:ext uri="{FF2B5EF4-FFF2-40B4-BE49-F238E27FC236}">
                    <a16:creationId xmlns:a16="http://schemas.microsoft.com/office/drawing/2014/main" id="{1229F93D-8EB3-0C5B-0EB9-6E17D8A89C2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25" name="Grafik 13">
              <a:extLst>
                <a:ext uri="{FF2B5EF4-FFF2-40B4-BE49-F238E27FC236}">
                  <a16:creationId xmlns:a16="http://schemas.microsoft.com/office/drawing/2014/main" id="{F4FC652A-B180-675E-3087-315C67265928}"/>
                </a:ext>
              </a:extLst>
            </p:cNvPr>
            <p:cNvGrpSpPr/>
            <p:nvPr/>
          </p:nvGrpSpPr>
          <p:grpSpPr bwMode="gray">
            <a:xfrm>
              <a:off x="6020561" y="3476338"/>
              <a:ext cx="143827" cy="143827"/>
              <a:chOff x="6020561" y="3476338"/>
              <a:chExt cx="143827" cy="143827"/>
            </a:xfrm>
            <a:grpFill/>
          </p:grpSpPr>
          <p:sp>
            <p:nvSpPr>
              <p:cNvPr id="226" name="Grafik 13">
                <a:extLst>
                  <a:ext uri="{FF2B5EF4-FFF2-40B4-BE49-F238E27FC236}">
                    <a16:creationId xmlns:a16="http://schemas.microsoft.com/office/drawing/2014/main" id="{B64F200C-0147-6F6F-BB58-890070FC2777}"/>
                  </a:ext>
                </a:extLst>
              </p:cNvPr>
              <p:cNvSpPr/>
              <p:nvPr/>
            </p:nvSpPr>
            <p:spPr bwMode="gray">
              <a:xfrm>
                <a:off x="6020561" y="3476338"/>
                <a:ext cx="143827" cy="79057"/>
              </a:xfrm>
              <a:custGeom>
                <a:avLst/>
                <a:gdLst>
                  <a:gd name="connsiteX0" fmla="*/ 71914 w 143827"/>
                  <a:gd name="connsiteY0" fmla="*/ 79058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8 h 79057"/>
                  <a:gd name="connsiteX5" fmla="*/ 71914 w 143827"/>
                  <a:gd name="connsiteY5" fmla="*/ 14192 h 79057"/>
                  <a:gd name="connsiteX6" fmla="*/ 14288 w 143827"/>
                  <a:gd name="connsiteY6" fmla="*/ 39434 h 79057"/>
                  <a:gd name="connsiteX7" fmla="*/ 71914 w 143827"/>
                  <a:gd name="connsiteY7" fmla="*/ 64675 h 79057"/>
                  <a:gd name="connsiteX8" fmla="*/ 129540 w 143827"/>
                  <a:gd name="connsiteY8" fmla="*/ 39434 h 79057"/>
                  <a:gd name="connsiteX9" fmla="*/ 71914 w 14382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8"/>
                    </a:moveTo>
                    <a:cubicBezTo>
                      <a:pt x="31528" y="79058"/>
                      <a:pt x="0" y="61722"/>
                      <a:pt x="0" y="39529"/>
                    </a:cubicBezTo>
                    <a:cubicBezTo>
                      <a:pt x="0" y="17336"/>
                      <a:pt x="31623" y="0"/>
                      <a:pt x="71914" y="0"/>
                    </a:cubicBezTo>
                    <a:cubicBezTo>
                      <a:pt x="112205" y="0"/>
                      <a:pt x="143828" y="17336"/>
                      <a:pt x="143828" y="39529"/>
                    </a:cubicBezTo>
                    <a:cubicBezTo>
                      <a:pt x="143828" y="61722"/>
                      <a:pt x="112300" y="79058"/>
                      <a:pt x="71914" y="79058"/>
                    </a:cubicBezTo>
                    <a:close/>
                    <a:moveTo>
                      <a:pt x="71914" y="14192"/>
                    </a:moveTo>
                    <a:cubicBezTo>
                      <a:pt x="37909" y="14192"/>
                      <a:pt x="14288" y="27527"/>
                      <a:pt x="14288" y="39434"/>
                    </a:cubicBezTo>
                    <a:cubicBezTo>
                      <a:pt x="14288" y="51340"/>
                      <a:pt x="38005" y="64675"/>
                      <a:pt x="71914" y="64675"/>
                    </a:cubicBezTo>
                    <a:cubicBezTo>
                      <a:pt x="105823" y="64675"/>
                      <a:pt x="129540" y="51340"/>
                      <a:pt x="129540" y="39434"/>
                    </a:cubicBezTo>
                    <a:cubicBezTo>
                      <a:pt x="129540" y="27527"/>
                      <a:pt x="105918" y="14192"/>
                      <a:pt x="71914" y="14192"/>
                    </a:cubicBezTo>
                    <a:close/>
                  </a:path>
                </a:pathLst>
              </a:custGeom>
              <a:grpFill/>
              <a:ln w="9525" cap="flat">
                <a:noFill/>
                <a:prstDash val="solid"/>
                <a:miter/>
              </a:ln>
            </p:spPr>
            <p:txBody>
              <a:bodyPr rtlCol="0" anchor="ctr"/>
              <a:lstStyle/>
              <a:p>
                <a:endParaRPr lang="de-DE"/>
              </a:p>
            </p:txBody>
          </p:sp>
          <p:sp>
            <p:nvSpPr>
              <p:cNvPr id="227" name="Grafik 13">
                <a:extLst>
                  <a:ext uri="{FF2B5EF4-FFF2-40B4-BE49-F238E27FC236}">
                    <a16:creationId xmlns:a16="http://schemas.microsoft.com/office/drawing/2014/main" id="{38E1E3C4-D79F-132B-BC0C-0492AB7ECBBE}"/>
                  </a:ext>
                </a:extLst>
              </p:cNvPr>
              <p:cNvSpPr/>
              <p:nvPr/>
            </p:nvSpPr>
            <p:spPr bwMode="gray">
              <a:xfrm>
                <a:off x="6020561" y="3508723"/>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8 w 143827"/>
                  <a:gd name="connsiteY4" fmla="*/ 7144 h 111442"/>
                  <a:gd name="connsiteX5" fmla="*/ 14288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9" y="0"/>
                      <a:pt x="7144" y="0"/>
                    </a:cubicBezTo>
                    <a:cubicBezTo>
                      <a:pt x="11049" y="0"/>
                      <a:pt x="14288" y="3239"/>
                      <a:pt x="14288" y="7144"/>
                    </a:cubicBezTo>
                    <a:lnTo>
                      <a:pt x="14288" y="71914"/>
                    </a:lnTo>
                    <a:cubicBezTo>
                      <a:pt x="14288"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923" y="94107"/>
                      <a:pt x="112300" y="111443"/>
                      <a:pt x="71914" y="111443"/>
                    </a:cubicBezTo>
                    <a:close/>
                  </a:path>
                </a:pathLst>
              </a:custGeom>
              <a:grpFill/>
              <a:ln w="9525" cap="flat">
                <a:noFill/>
                <a:prstDash val="solid"/>
                <a:miter/>
              </a:ln>
            </p:spPr>
            <p:txBody>
              <a:bodyPr rtlCol="0" anchor="ctr"/>
              <a:lstStyle/>
              <a:p>
                <a:endParaRPr lang="de-DE"/>
              </a:p>
            </p:txBody>
          </p:sp>
        </p:grpSp>
      </p:grpSp>
      <p:grpSp>
        <p:nvGrpSpPr>
          <p:cNvPr id="247" name="Grafik 15">
            <a:extLst>
              <a:ext uri="{FF2B5EF4-FFF2-40B4-BE49-F238E27FC236}">
                <a16:creationId xmlns:a16="http://schemas.microsoft.com/office/drawing/2014/main" id="{D50EA532-9F96-6BC1-9012-E428F8EB815B}"/>
              </a:ext>
            </a:extLst>
          </p:cNvPr>
          <p:cNvGrpSpPr/>
          <p:nvPr/>
        </p:nvGrpSpPr>
        <p:grpSpPr bwMode="gray">
          <a:xfrm>
            <a:off x="318308" y="5626849"/>
            <a:ext cx="373828" cy="373758"/>
            <a:chOff x="5843587" y="3176587"/>
            <a:chExt cx="500348" cy="500253"/>
          </a:xfrm>
          <a:solidFill>
            <a:schemeClr val="tx1"/>
          </a:solidFill>
        </p:grpSpPr>
        <p:sp>
          <p:nvSpPr>
            <p:cNvPr id="248" name="Grafik 15">
              <a:extLst>
                <a:ext uri="{FF2B5EF4-FFF2-40B4-BE49-F238E27FC236}">
                  <a16:creationId xmlns:a16="http://schemas.microsoft.com/office/drawing/2014/main" id="{B0A0A3E1-DD28-50C6-C21E-E5E589EA7A3B}"/>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249" name="Grafik 15">
              <a:extLst>
                <a:ext uri="{FF2B5EF4-FFF2-40B4-BE49-F238E27FC236}">
                  <a16:creationId xmlns:a16="http://schemas.microsoft.com/office/drawing/2014/main" id="{99C4E7BB-6E5C-3DD6-E9AC-06A4A17EB228}"/>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grpSp>
          <p:nvGrpSpPr>
            <p:cNvPr id="250" name="Grafik 15">
              <a:extLst>
                <a:ext uri="{FF2B5EF4-FFF2-40B4-BE49-F238E27FC236}">
                  <a16:creationId xmlns:a16="http://schemas.microsoft.com/office/drawing/2014/main" id="{49F38EF6-AD0A-B10D-2B94-0E5623B46653}"/>
                </a:ext>
              </a:extLst>
            </p:cNvPr>
            <p:cNvGrpSpPr/>
            <p:nvPr/>
          </p:nvGrpSpPr>
          <p:grpSpPr bwMode="gray">
            <a:xfrm>
              <a:off x="5951066" y="3230191"/>
              <a:ext cx="285352" cy="149944"/>
              <a:chOff x="5951066" y="3230191"/>
              <a:chExt cx="285352" cy="149944"/>
            </a:xfrm>
            <a:grpFill/>
          </p:grpSpPr>
          <p:grpSp>
            <p:nvGrpSpPr>
              <p:cNvPr id="251" name="Grafik 15">
                <a:extLst>
                  <a:ext uri="{FF2B5EF4-FFF2-40B4-BE49-F238E27FC236}">
                    <a16:creationId xmlns:a16="http://schemas.microsoft.com/office/drawing/2014/main" id="{E26842C1-4034-B06F-C280-CF5ED8D1981D}"/>
                  </a:ext>
                </a:extLst>
              </p:cNvPr>
              <p:cNvGrpSpPr/>
              <p:nvPr/>
            </p:nvGrpSpPr>
            <p:grpSpPr bwMode="gray">
              <a:xfrm>
                <a:off x="6118933" y="3230191"/>
                <a:ext cx="117485" cy="65934"/>
                <a:chOff x="6118933" y="3230191"/>
                <a:chExt cx="117485" cy="65934"/>
              </a:xfrm>
              <a:grpFill/>
            </p:grpSpPr>
            <p:sp>
              <p:nvSpPr>
                <p:cNvPr id="264" name="Grafik 15">
                  <a:extLst>
                    <a:ext uri="{FF2B5EF4-FFF2-40B4-BE49-F238E27FC236}">
                      <a16:creationId xmlns:a16="http://schemas.microsoft.com/office/drawing/2014/main" id="{2F2F4F21-B107-145A-3298-8AA50FFA12CB}"/>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265" name="Grafik 15">
                  <a:extLst>
                    <a:ext uri="{FF2B5EF4-FFF2-40B4-BE49-F238E27FC236}">
                      <a16:creationId xmlns:a16="http://schemas.microsoft.com/office/drawing/2014/main" id="{6028A65C-8B24-DADB-EDA0-4BA5E18C9DE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6" name="Grafik 15">
                  <a:extLst>
                    <a:ext uri="{FF2B5EF4-FFF2-40B4-BE49-F238E27FC236}">
                      <a16:creationId xmlns:a16="http://schemas.microsoft.com/office/drawing/2014/main" id="{FF5901F7-6362-A418-1C6B-46654896D41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2" name="Grafik 15">
                <a:extLst>
                  <a:ext uri="{FF2B5EF4-FFF2-40B4-BE49-F238E27FC236}">
                    <a16:creationId xmlns:a16="http://schemas.microsoft.com/office/drawing/2014/main" id="{CB950300-69EF-9F28-5C86-69F9D19C5AD9}"/>
                  </a:ext>
                </a:extLst>
              </p:cNvPr>
              <p:cNvGrpSpPr/>
              <p:nvPr/>
            </p:nvGrpSpPr>
            <p:grpSpPr bwMode="gray">
              <a:xfrm>
                <a:off x="5951103" y="3314202"/>
                <a:ext cx="117485" cy="65934"/>
                <a:chOff x="5951103" y="3314202"/>
                <a:chExt cx="117485" cy="65934"/>
              </a:xfrm>
              <a:grpFill/>
            </p:grpSpPr>
            <p:sp>
              <p:nvSpPr>
                <p:cNvPr id="261" name="Grafik 15">
                  <a:extLst>
                    <a:ext uri="{FF2B5EF4-FFF2-40B4-BE49-F238E27FC236}">
                      <a16:creationId xmlns:a16="http://schemas.microsoft.com/office/drawing/2014/main" id="{A0229351-A37C-425A-DB37-1EF8E65F95F3}"/>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62" name="Grafik 15">
                  <a:extLst>
                    <a:ext uri="{FF2B5EF4-FFF2-40B4-BE49-F238E27FC236}">
                      <a16:creationId xmlns:a16="http://schemas.microsoft.com/office/drawing/2014/main" id="{22C6D4DC-AEFC-E8A6-6ED1-8B8317D922D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63" name="Grafik 15">
                  <a:extLst>
                    <a:ext uri="{FF2B5EF4-FFF2-40B4-BE49-F238E27FC236}">
                      <a16:creationId xmlns:a16="http://schemas.microsoft.com/office/drawing/2014/main" id="{01B0B88D-AB3E-5466-5259-5A32CD088CD2}"/>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3" name="Grafik 15">
                <a:extLst>
                  <a:ext uri="{FF2B5EF4-FFF2-40B4-BE49-F238E27FC236}">
                    <a16:creationId xmlns:a16="http://schemas.microsoft.com/office/drawing/2014/main" id="{DA2FA858-4B63-D7B4-113F-47D7F9120409}"/>
                  </a:ext>
                </a:extLst>
              </p:cNvPr>
              <p:cNvGrpSpPr/>
              <p:nvPr/>
            </p:nvGrpSpPr>
            <p:grpSpPr bwMode="gray">
              <a:xfrm>
                <a:off x="6118954" y="3314261"/>
                <a:ext cx="117405" cy="65875"/>
                <a:chOff x="6118954" y="3314261"/>
                <a:chExt cx="117405" cy="65875"/>
              </a:xfrm>
              <a:grpFill/>
            </p:grpSpPr>
            <p:sp>
              <p:nvSpPr>
                <p:cNvPr id="258" name="Grafik 15">
                  <a:extLst>
                    <a:ext uri="{FF2B5EF4-FFF2-40B4-BE49-F238E27FC236}">
                      <a16:creationId xmlns:a16="http://schemas.microsoft.com/office/drawing/2014/main" id="{3CE202F5-C1CE-51CB-AD3B-AA2453579467}"/>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9" name="Grafik 15">
                  <a:extLst>
                    <a:ext uri="{FF2B5EF4-FFF2-40B4-BE49-F238E27FC236}">
                      <a16:creationId xmlns:a16="http://schemas.microsoft.com/office/drawing/2014/main" id="{14D8C95C-333F-981F-C43F-503E092045F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0" name="Grafik 15">
                  <a:extLst>
                    <a:ext uri="{FF2B5EF4-FFF2-40B4-BE49-F238E27FC236}">
                      <a16:creationId xmlns:a16="http://schemas.microsoft.com/office/drawing/2014/main" id="{34F60EE6-E32E-5062-7B40-F704FF67EA7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4" name="Grafik 15">
                <a:extLst>
                  <a:ext uri="{FF2B5EF4-FFF2-40B4-BE49-F238E27FC236}">
                    <a16:creationId xmlns:a16="http://schemas.microsoft.com/office/drawing/2014/main" id="{9158CD4A-E421-FB48-85D9-6F694BEE382F}"/>
                  </a:ext>
                </a:extLst>
              </p:cNvPr>
              <p:cNvGrpSpPr/>
              <p:nvPr/>
            </p:nvGrpSpPr>
            <p:grpSpPr bwMode="gray">
              <a:xfrm>
                <a:off x="5951066" y="3230345"/>
                <a:ext cx="117405" cy="65779"/>
                <a:chOff x="5951066" y="3230345"/>
                <a:chExt cx="117405" cy="65779"/>
              </a:xfrm>
              <a:grpFill/>
            </p:grpSpPr>
            <p:sp>
              <p:nvSpPr>
                <p:cNvPr id="255" name="Grafik 15">
                  <a:extLst>
                    <a:ext uri="{FF2B5EF4-FFF2-40B4-BE49-F238E27FC236}">
                      <a16:creationId xmlns:a16="http://schemas.microsoft.com/office/drawing/2014/main" id="{FBAFC22A-8D04-88A7-0DC4-9266D3BFE87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6" name="Grafik 15">
                  <a:extLst>
                    <a:ext uri="{FF2B5EF4-FFF2-40B4-BE49-F238E27FC236}">
                      <a16:creationId xmlns:a16="http://schemas.microsoft.com/office/drawing/2014/main" id="{1EA7572D-2479-AF72-46A2-54AF47DDC71D}"/>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7" name="Grafik 15">
                  <a:extLst>
                    <a:ext uri="{FF2B5EF4-FFF2-40B4-BE49-F238E27FC236}">
                      <a16:creationId xmlns:a16="http://schemas.microsoft.com/office/drawing/2014/main" id="{089B8A0F-91A1-889C-55EB-B6789712BC0F}"/>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grpSp>
      <p:sp>
        <p:nvSpPr>
          <p:cNvPr id="267" name="Rectangle 266">
            <a:extLst>
              <a:ext uri="{FF2B5EF4-FFF2-40B4-BE49-F238E27FC236}">
                <a16:creationId xmlns:a16="http://schemas.microsoft.com/office/drawing/2014/main" id="{7FC31E93-BE6E-1B97-F103-3916DF069C4E}"/>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Ethernet/IP Switches</a:t>
            </a:r>
            <a:endParaRPr lang="en-US" sz="1100" dirty="0">
              <a:solidFill>
                <a:schemeClr val="tx1"/>
              </a:solidFill>
            </a:endParaRPr>
          </a:p>
        </p:txBody>
      </p:sp>
      <p:sp>
        <p:nvSpPr>
          <p:cNvPr id="268" name="Text Box 55">
            <a:extLst>
              <a:ext uri="{FF2B5EF4-FFF2-40B4-BE49-F238E27FC236}">
                <a16:creationId xmlns:a16="http://schemas.microsoft.com/office/drawing/2014/main" id="{7B686491-9501-7D4E-3DB0-7515BB8E8B70}"/>
              </a:ext>
            </a:extLst>
          </p:cNvPr>
          <p:cNvSpPr txBox="1">
            <a:spLocks noChangeArrowheads="1"/>
          </p:cNvSpPr>
          <p:nvPr/>
        </p:nvSpPr>
        <p:spPr bwMode="auto">
          <a:xfrm>
            <a:off x="3308325"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a:t>
            </a:r>
          </a:p>
        </p:txBody>
      </p:sp>
      <p:sp>
        <p:nvSpPr>
          <p:cNvPr id="269" name="Text Box 56">
            <a:extLst>
              <a:ext uri="{FF2B5EF4-FFF2-40B4-BE49-F238E27FC236}">
                <a16:creationId xmlns:a16="http://schemas.microsoft.com/office/drawing/2014/main" id="{E3BB2D27-79DB-1519-9A4D-37555C0C0CA3}"/>
              </a:ext>
            </a:extLst>
          </p:cNvPr>
          <p:cNvSpPr txBox="1">
            <a:spLocks noChangeArrowheads="1"/>
          </p:cNvSpPr>
          <p:nvPr/>
        </p:nvSpPr>
        <p:spPr bwMode="auto">
          <a:xfrm>
            <a:off x="3308325" y="1912938"/>
            <a:ext cx="98103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Switch</a:t>
            </a:r>
          </a:p>
        </p:txBody>
      </p:sp>
      <p:sp>
        <p:nvSpPr>
          <p:cNvPr id="270" name="Text Box 57">
            <a:extLst>
              <a:ext uri="{FF2B5EF4-FFF2-40B4-BE49-F238E27FC236}">
                <a16:creationId xmlns:a16="http://schemas.microsoft.com/office/drawing/2014/main" id="{12BD400C-BB5B-53BC-50C6-75D2E486B163}"/>
              </a:ext>
            </a:extLst>
          </p:cNvPr>
          <p:cNvSpPr txBox="1">
            <a:spLocks noChangeArrowheads="1"/>
          </p:cNvSpPr>
          <p:nvPr/>
        </p:nvSpPr>
        <p:spPr bwMode="auto">
          <a:xfrm>
            <a:off x="3308325" y="2459038"/>
            <a:ext cx="9741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 DSL Switch</a:t>
            </a:r>
          </a:p>
        </p:txBody>
      </p:sp>
      <p:sp>
        <p:nvSpPr>
          <p:cNvPr id="271" name="Text Box 58">
            <a:extLst>
              <a:ext uri="{FF2B5EF4-FFF2-40B4-BE49-F238E27FC236}">
                <a16:creationId xmlns:a16="http://schemas.microsoft.com/office/drawing/2014/main" id="{4176FDED-522B-5A19-CF97-8A892A824CCE}"/>
              </a:ext>
            </a:extLst>
          </p:cNvPr>
          <p:cNvSpPr txBox="1">
            <a:spLocks noChangeArrowheads="1"/>
          </p:cNvSpPr>
          <p:nvPr/>
        </p:nvSpPr>
        <p:spPr bwMode="auto">
          <a:xfrm>
            <a:off x="3308325" y="3005138"/>
            <a:ext cx="8287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DM Switch</a:t>
            </a:r>
          </a:p>
        </p:txBody>
      </p:sp>
      <p:sp>
        <p:nvSpPr>
          <p:cNvPr id="272" name="Text Box 59">
            <a:extLst>
              <a:ext uri="{FF2B5EF4-FFF2-40B4-BE49-F238E27FC236}">
                <a16:creationId xmlns:a16="http://schemas.microsoft.com/office/drawing/2014/main" id="{5FE0D00E-76B0-3F6D-A63B-E0005BA06BDB}"/>
              </a:ext>
            </a:extLst>
          </p:cNvPr>
          <p:cNvSpPr txBox="1">
            <a:spLocks noChangeArrowheads="1"/>
          </p:cNvSpPr>
          <p:nvPr/>
        </p:nvSpPr>
        <p:spPr bwMode="auto">
          <a:xfrm>
            <a:off x="3308325" y="35512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witch</a:t>
            </a:r>
          </a:p>
        </p:txBody>
      </p:sp>
      <p:grpSp>
        <p:nvGrpSpPr>
          <p:cNvPr id="273" name="Grafik 17">
            <a:extLst>
              <a:ext uri="{FF2B5EF4-FFF2-40B4-BE49-F238E27FC236}">
                <a16:creationId xmlns:a16="http://schemas.microsoft.com/office/drawing/2014/main" id="{0AFE0030-7D0E-FF85-724F-A566E3EAC562}"/>
              </a:ext>
            </a:extLst>
          </p:cNvPr>
          <p:cNvGrpSpPr/>
          <p:nvPr/>
        </p:nvGrpSpPr>
        <p:grpSpPr bwMode="gray">
          <a:xfrm>
            <a:off x="2724271" y="1333208"/>
            <a:ext cx="374400" cy="374400"/>
            <a:chOff x="5843587" y="3176587"/>
            <a:chExt cx="500253" cy="500253"/>
          </a:xfrm>
          <a:solidFill>
            <a:schemeClr val="tx1"/>
          </a:solidFill>
        </p:grpSpPr>
        <p:sp>
          <p:nvSpPr>
            <p:cNvPr id="274" name="Grafik 17">
              <a:extLst>
                <a:ext uri="{FF2B5EF4-FFF2-40B4-BE49-F238E27FC236}">
                  <a16:creationId xmlns:a16="http://schemas.microsoft.com/office/drawing/2014/main" id="{0A445BFD-1F14-B1BF-4F66-822F9801558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275" name="Grafik 17">
              <a:extLst>
                <a:ext uri="{FF2B5EF4-FFF2-40B4-BE49-F238E27FC236}">
                  <a16:creationId xmlns:a16="http://schemas.microsoft.com/office/drawing/2014/main" id="{11F3D68E-172A-57DA-1443-454425222EC1}"/>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276" name="Grafik 17">
              <a:extLst>
                <a:ext uri="{FF2B5EF4-FFF2-40B4-BE49-F238E27FC236}">
                  <a16:creationId xmlns:a16="http://schemas.microsoft.com/office/drawing/2014/main" id="{011F0D19-7F51-3B3E-9CB9-556E708AAE67}"/>
                </a:ext>
              </a:extLst>
            </p:cNvPr>
            <p:cNvGrpSpPr/>
            <p:nvPr/>
          </p:nvGrpSpPr>
          <p:grpSpPr bwMode="gray">
            <a:xfrm>
              <a:off x="5951338" y="3239571"/>
              <a:ext cx="284749" cy="131325"/>
              <a:chOff x="5951338" y="3239571"/>
              <a:chExt cx="284749" cy="131325"/>
            </a:xfrm>
            <a:grpFill/>
          </p:grpSpPr>
          <p:grpSp>
            <p:nvGrpSpPr>
              <p:cNvPr id="277" name="Grafik 17">
                <a:extLst>
                  <a:ext uri="{FF2B5EF4-FFF2-40B4-BE49-F238E27FC236}">
                    <a16:creationId xmlns:a16="http://schemas.microsoft.com/office/drawing/2014/main" id="{DFD0A010-A394-EF8A-365C-0BF224E5A65A}"/>
                  </a:ext>
                </a:extLst>
              </p:cNvPr>
              <p:cNvGrpSpPr/>
              <p:nvPr/>
            </p:nvGrpSpPr>
            <p:grpSpPr bwMode="gray">
              <a:xfrm>
                <a:off x="5963149" y="3239571"/>
                <a:ext cx="119419" cy="51030"/>
                <a:chOff x="5963149" y="3239571"/>
                <a:chExt cx="119419" cy="51030"/>
              </a:xfrm>
              <a:grpFill/>
            </p:grpSpPr>
            <p:sp>
              <p:nvSpPr>
                <p:cNvPr id="290" name="Grafik 17">
                  <a:extLst>
                    <a:ext uri="{FF2B5EF4-FFF2-40B4-BE49-F238E27FC236}">
                      <a16:creationId xmlns:a16="http://schemas.microsoft.com/office/drawing/2014/main" id="{38E0D904-27AB-0161-6703-052AED57020E}"/>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291" name="Grafik 17">
                  <a:extLst>
                    <a:ext uri="{FF2B5EF4-FFF2-40B4-BE49-F238E27FC236}">
                      <a16:creationId xmlns:a16="http://schemas.microsoft.com/office/drawing/2014/main" id="{11A64F9C-3E5B-55E5-4B1E-3BE12255B3DB}"/>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292" name="Grafik 17">
                  <a:extLst>
                    <a:ext uri="{FF2B5EF4-FFF2-40B4-BE49-F238E27FC236}">
                      <a16:creationId xmlns:a16="http://schemas.microsoft.com/office/drawing/2014/main" id="{8EAC86A9-E9A3-A231-B8B0-E42F8574C2F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278" name="Grafik 17">
                <a:extLst>
                  <a:ext uri="{FF2B5EF4-FFF2-40B4-BE49-F238E27FC236}">
                    <a16:creationId xmlns:a16="http://schemas.microsoft.com/office/drawing/2014/main" id="{AF866316-EF70-C995-DBDF-AB7A8BD5C1C8}"/>
                  </a:ext>
                </a:extLst>
              </p:cNvPr>
              <p:cNvGrpSpPr/>
              <p:nvPr/>
            </p:nvGrpSpPr>
            <p:grpSpPr bwMode="gray">
              <a:xfrm>
                <a:off x="5951338" y="3319866"/>
                <a:ext cx="131230" cy="51030"/>
                <a:chOff x="5951338" y="3319866"/>
                <a:chExt cx="131230" cy="51030"/>
              </a:xfrm>
              <a:grpFill/>
            </p:grpSpPr>
            <p:sp>
              <p:nvSpPr>
                <p:cNvPr id="287" name="Grafik 17">
                  <a:extLst>
                    <a:ext uri="{FF2B5EF4-FFF2-40B4-BE49-F238E27FC236}">
                      <a16:creationId xmlns:a16="http://schemas.microsoft.com/office/drawing/2014/main" id="{1CA5F988-D66F-A1DA-0BE1-1231E0BC6D5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288" name="Grafik 17">
                  <a:extLst>
                    <a:ext uri="{FF2B5EF4-FFF2-40B4-BE49-F238E27FC236}">
                      <a16:creationId xmlns:a16="http://schemas.microsoft.com/office/drawing/2014/main" id="{534DBC06-DCE2-5548-24FD-095EC16973B6}"/>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289" name="Grafik 17">
                  <a:extLst>
                    <a:ext uri="{FF2B5EF4-FFF2-40B4-BE49-F238E27FC236}">
                      <a16:creationId xmlns:a16="http://schemas.microsoft.com/office/drawing/2014/main" id="{A498AA7E-6E42-EB09-C91F-3398F4675A1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279" name="Grafik 17">
                <a:extLst>
                  <a:ext uri="{FF2B5EF4-FFF2-40B4-BE49-F238E27FC236}">
                    <a16:creationId xmlns:a16="http://schemas.microsoft.com/office/drawing/2014/main" id="{E8626F60-0D5D-0710-7E99-CD3C811CDB89}"/>
                  </a:ext>
                </a:extLst>
              </p:cNvPr>
              <p:cNvGrpSpPr/>
              <p:nvPr/>
            </p:nvGrpSpPr>
            <p:grpSpPr bwMode="gray">
              <a:xfrm>
                <a:off x="6104953" y="3239571"/>
                <a:ext cx="119514" cy="51030"/>
                <a:chOff x="6104953" y="3239571"/>
                <a:chExt cx="119514" cy="51030"/>
              </a:xfrm>
              <a:grpFill/>
            </p:grpSpPr>
            <p:sp>
              <p:nvSpPr>
                <p:cNvPr id="284" name="Grafik 17">
                  <a:extLst>
                    <a:ext uri="{FF2B5EF4-FFF2-40B4-BE49-F238E27FC236}">
                      <a16:creationId xmlns:a16="http://schemas.microsoft.com/office/drawing/2014/main" id="{031F5983-53BA-13A9-E7E4-D76C5BEB166C}"/>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285" name="Grafik 17">
                  <a:extLst>
                    <a:ext uri="{FF2B5EF4-FFF2-40B4-BE49-F238E27FC236}">
                      <a16:creationId xmlns:a16="http://schemas.microsoft.com/office/drawing/2014/main" id="{35082713-1605-8919-C902-126DBB11B12F}"/>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286" name="Grafik 17">
                  <a:extLst>
                    <a:ext uri="{FF2B5EF4-FFF2-40B4-BE49-F238E27FC236}">
                      <a16:creationId xmlns:a16="http://schemas.microsoft.com/office/drawing/2014/main" id="{B967316A-2EA0-3CD9-1A00-B358E195022D}"/>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280" name="Grafik 17">
                <a:extLst>
                  <a:ext uri="{FF2B5EF4-FFF2-40B4-BE49-F238E27FC236}">
                    <a16:creationId xmlns:a16="http://schemas.microsoft.com/office/drawing/2014/main" id="{74B47F50-67CD-0B93-7052-11EAE16790BA}"/>
                  </a:ext>
                </a:extLst>
              </p:cNvPr>
              <p:cNvGrpSpPr/>
              <p:nvPr/>
            </p:nvGrpSpPr>
            <p:grpSpPr bwMode="gray">
              <a:xfrm>
                <a:off x="6104953" y="3319866"/>
                <a:ext cx="131135" cy="51030"/>
                <a:chOff x="6104953" y="3319866"/>
                <a:chExt cx="131135" cy="51030"/>
              </a:xfrm>
              <a:grpFill/>
            </p:grpSpPr>
            <p:sp>
              <p:nvSpPr>
                <p:cNvPr id="281" name="Grafik 17">
                  <a:extLst>
                    <a:ext uri="{FF2B5EF4-FFF2-40B4-BE49-F238E27FC236}">
                      <a16:creationId xmlns:a16="http://schemas.microsoft.com/office/drawing/2014/main" id="{CC48E80A-BDBB-1068-DA2D-E5AA38C3D03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282" name="Grafik 17">
                  <a:extLst>
                    <a:ext uri="{FF2B5EF4-FFF2-40B4-BE49-F238E27FC236}">
                      <a16:creationId xmlns:a16="http://schemas.microsoft.com/office/drawing/2014/main" id="{AEDF5F21-6114-A0F0-5C5E-8253622B8D53}"/>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283" name="Grafik 17">
                  <a:extLst>
                    <a:ext uri="{FF2B5EF4-FFF2-40B4-BE49-F238E27FC236}">
                      <a16:creationId xmlns:a16="http://schemas.microsoft.com/office/drawing/2014/main" id="{91E40128-3565-36CA-9004-1874EEACAF08}"/>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3" name="Grafik 19">
            <a:extLst>
              <a:ext uri="{FF2B5EF4-FFF2-40B4-BE49-F238E27FC236}">
                <a16:creationId xmlns:a16="http://schemas.microsoft.com/office/drawing/2014/main" id="{B3E77AEF-7B38-1225-041A-0D784403B4D1}"/>
              </a:ext>
            </a:extLst>
          </p:cNvPr>
          <p:cNvGrpSpPr/>
          <p:nvPr/>
        </p:nvGrpSpPr>
        <p:grpSpPr bwMode="gray">
          <a:xfrm>
            <a:off x="2724271" y="1869071"/>
            <a:ext cx="374400" cy="374400"/>
            <a:chOff x="5843587" y="3176587"/>
            <a:chExt cx="500253" cy="500253"/>
          </a:xfrm>
          <a:solidFill>
            <a:schemeClr val="tx1"/>
          </a:solidFill>
        </p:grpSpPr>
        <p:grpSp>
          <p:nvGrpSpPr>
            <p:cNvPr id="294" name="Grafik 19">
              <a:extLst>
                <a:ext uri="{FF2B5EF4-FFF2-40B4-BE49-F238E27FC236}">
                  <a16:creationId xmlns:a16="http://schemas.microsoft.com/office/drawing/2014/main" id="{B9A2E31D-E065-19B2-72B5-EA4F8D3F5F9A}"/>
                </a:ext>
              </a:extLst>
            </p:cNvPr>
            <p:cNvGrpSpPr/>
            <p:nvPr/>
          </p:nvGrpSpPr>
          <p:grpSpPr bwMode="gray">
            <a:xfrm>
              <a:off x="5843587" y="3176587"/>
              <a:ext cx="500253" cy="500253"/>
              <a:chOff x="5843587" y="3176587"/>
              <a:chExt cx="500253" cy="500253"/>
            </a:xfrm>
            <a:grpFill/>
          </p:grpSpPr>
          <p:sp>
            <p:nvSpPr>
              <p:cNvPr id="302" name="Grafik 19">
                <a:extLst>
                  <a:ext uri="{FF2B5EF4-FFF2-40B4-BE49-F238E27FC236}">
                    <a16:creationId xmlns:a16="http://schemas.microsoft.com/office/drawing/2014/main" id="{8570B21D-4118-10FF-5488-587FA0A82ED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03" name="Grafik 19">
                <a:extLst>
                  <a:ext uri="{FF2B5EF4-FFF2-40B4-BE49-F238E27FC236}">
                    <a16:creationId xmlns:a16="http://schemas.microsoft.com/office/drawing/2014/main" id="{739AECEF-2991-D33C-D482-271A7A94360D}"/>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04" name="Grafik 19">
                <a:extLst>
                  <a:ext uri="{FF2B5EF4-FFF2-40B4-BE49-F238E27FC236}">
                    <a16:creationId xmlns:a16="http://schemas.microsoft.com/office/drawing/2014/main" id="{89AE36B9-CC39-9A43-1712-EBDFE13EDFE2}"/>
                  </a:ext>
                </a:extLst>
              </p:cNvPr>
              <p:cNvGrpSpPr/>
              <p:nvPr/>
            </p:nvGrpSpPr>
            <p:grpSpPr bwMode="gray">
              <a:xfrm>
                <a:off x="5951338" y="3239571"/>
                <a:ext cx="284749" cy="131325"/>
                <a:chOff x="5951338" y="3239571"/>
                <a:chExt cx="284749" cy="131325"/>
              </a:xfrm>
              <a:grpFill/>
            </p:grpSpPr>
            <p:grpSp>
              <p:nvGrpSpPr>
                <p:cNvPr id="305" name="Grafik 19">
                  <a:extLst>
                    <a:ext uri="{FF2B5EF4-FFF2-40B4-BE49-F238E27FC236}">
                      <a16:creationId xmlns:a16="http://schemas.microsoft.com/office/drawing/2014/main" id="{15F1AA67-9626-BB00-9722-F4166B100B76}"/>
                    </a:ext>
                  </a:extLst>
                </p:cNvPr>
                <p:cNvGrpSpPr/>
                <p:nvPr/>
              </p:nvGrpSpPr>
              <p:grpSpPr bwMode="gray">
                <a:xfrm>
                  <a:off x="5963149" y="3239571"/>
                  <a:ext cx="119419" cy="51030"/>
                  <a:chOff x="5963149" y="3239571"/>
                  <a:chExt cx="119419" cy="51030"/>
                </a:xfrm>
                <a:grpFill/>
              </p:grpSpPr>
              <p:sp>
                <p:nvSpPr>
                  <p:cNvPr id="318" name="Grafik 19">
                    <a:extLst>
                      <a:ext uri="{FF2B5EF4-FFF2-40B4-BE49-F238E27FC236}">
                        <a16:creationId xmlns:a16="http://schemas.microsoft.com/office/drawing/2014/main" id="{E9608B6E-E3E3-ECEE-0092-3C80A25BFC26}"/>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319" name="Grafik 19">
                    <a:extLst>
                      <a:ext uri="{FF2B5EF4-FFF2-40B4-BE49-F238E27FC236}">
                        <a16:creationId xmlns:a16="http://schemas.microsoft.com/office/drawing/2014/main" id="{7718D4C4-E338-10FC-DF2F-ED056D11F8D0}"/>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320" name="Grafik 19">
                    <a:extLst>
                      <a:ext uri="{FF2B5EF4-FFF2-40B4-BE49-F238E27FC236}">
                        <a16:creationId xmlns:a16="http://schemas.microsoft.com/office/drawing/2014/main" id="{19C5F105-8B81-EF9E-B6FC-1077896ABBA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306" name="Grafik 19">
                  <a:extLst>
                    <a:ext uri="{FF2B5EF4-FFF2-40B4-BE49-F238E27FC236}">
                      <a16:creationId xmlns:a16="http://schemas.microsoft.com/office/drawing/2014/main" id="{5FFC0809-1999-CC94-9A68-F9EF5BCC814A}"/>
                    </a:ext>
                  </a:extLst>
                </p:cNvPr>
                <p:cNvGrpSpPr/>
                <p:nvPr/>
              </p:nvGrpSpPr>
              <p:grpSpPr bwMode="gray">
                <a:xfrm>
                  <a:off x="5951338" y="3319866"/>
                  <a:ext cx="131230" cy="51030"/>
                  <a:chOff x="5951338" y="3319866"/>
                  <a:chExt cx="131230" cy="51030"/>
                </a:xfrm>
                <a:grpFill/>
              </p:grpSpPr>
              <p:sp>
                <p:nvSpPr>
                  <p:cNvPr id="315" name="Grafik 19">
                    <a:extLst>
                      <a:ext uri="{FF2B5EF4-FFF2-40B4-BE49-F238E27FC236}">
                        <a16:creationId xmlns:a16="http://schemas.microsoft.com/office/drawing/2014/main" id="{9E2F6B02-40A9-EA28-2A65-60F1D07F28AC}"/>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316" name="Grafik 19">
                    <a:extLst>
                      <a:ext uri="{FF2B5EF4-FFF2-40B4-BE49-F238E27FC236}">
                        <a16:creationId xmlns:a16="http://schemas.microsoft.com/office/drawing/2014/main" id="{913D6997-B3C9-EBD4-660F-7750C1B70CFD}"/>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317" name="Grafik 19">
                    <a:extLst>
                      <a:ext uri="{FF2B5EF4-FFF2-40B4-BE49-F238E27FC236}">
                        <a16:creationId xmlns:a16="http://schemas.microsoft.com/office/drawing/2014/main" id="{F58F00A0-5642-132E-A78D-6CB74468C816}"/>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307" name="Grafik 19">
                  <a:extLst>
                    <a:ext uri="{FF2B5EF4-FFF2-40B4-BE49-F238E27FC236}">
                      <a16:creationId xmlns:a16="http://schemas.microsoft.com/office/drawing/2014/main" id="{A98AF211-82E5-AD6B-6FD1-C91D68826AE6}"/>
                    </a:ext>
                  </a:extLst>
                </p:cNvPr>
                <p:cNvGrpSpPr/>
                <p:nvPr/>
              </p:nvGrpSpPr>
              <p:grpSpPr bwMode="gray">
                <a:xfrm>
                  <a:off x="6104953" y="3239571"/>
                  <a:ext cx="119514" cy="51030"/>
                  <a:chOff x="6104953" y="3239571"/>
                  <a:chExt cx="119514" cy="51030"/>
                </a:xfrm>
                <a:grpFill/>
              </p:grpSpPr>
              <p:sp>
                <p:nvSpPr>
                  <p:cNvPr id="312" name="Grafik 19">
                    <a:extLst>
                      <a:ext uri="{FF2B5EF4-FFF2-40B4-BE49-F238E27FC236}">
                        <a16:creationId xmlns:a16="http://schemas.microsoft.com/office/drawing/2014/main" id="{C8D6CE79-5F59-516D-71D4-9BE3C54E4041}"/>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313" name="Grafik 19">
                    <a:extLst>
                      <a:ext uri="{FF2B5EF4-FFF2-40B4-BE49-F238E27FC236}">
                        <a16:creationId xmlns:a16="http://schemas.microsoft.com/office/drawing/2014/main" id="{78F092EB-92EB-2E35-2D1B-7D04C45C201B}"/>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314" name="Grafik 19">
                    <a:extLst>
                      <a:ext uri="{FF2B5EF4-FFF2-40B4-BE49-F238E27FC236}">
                        <a16:creationId xmlns:a16="http://schemas.microsoft.com/office/drawing/2014/main" id="{8DBBA768-8268-535E-B44E-35741BA113A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308" name="Grafik 19">
                  <a:extLst>
                    <a:ext uri="{FF2B5EF4-FFF2-40B4-BE49-F238E27FC236}">
                      <a16:creationId xmlns:a16="http://schemas.microsoft.com/office/drawing/2014/main" id="{B5A79B27-A10C-E475-9A25-7DF4944DE6A2}"/>
                    </a:ext>
                  </a:extLst>
                </p:cNvPr>
                <p:cNvGrpSpPr/>
                <p:nvPr/>
              </p:nvGrpSpPr>
              <p:grpSpPr bwMode="gray">
                <a:xfrm>
                  <a:off x="6104953" y="3319866"/>
                  <a:ext cx="131135" cy="51030"/>
                  <a:chOff x="6104953" y="3319866"/>
                  <a:chExt cx="131135" cy="51030"/>
                </a:xfrm>
                <a:grpFill/>
              </p:grpSpPr>
              <p:sp>
                <p:nvSpPr>
                  <p:cNvPr id="309" name="Grafik 19">
                    <a:extLst>
                      <a:ext uri="{FF2B5EF4-FFF2-40B4-BE49-F238E27FC236}">
                        <a16:creationId xmlns:a16="http://schemas.microsoft.com/office/drawing/2014/main" id="{9A5C20A5-E289-32BD-AB17-38BAFD0CF0A1}"/>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310" name="Grafik 19">
                    <a:extLst>
                      <a:ext uri="{FF2B5EF4-FFF2-40B4-BE49-F238E27FC236}">
                        <a16:creationId xmlns:a16="http://schemas.microsoft.com/office/drawing/2014/main" id="{823DA0CF-DDCD-E222-8D15-0B172384A80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311" name="Grafik 19">
                    <a:extLst>
                      <a:ext uri="{FF2B5EF4-FFF2-40B4-BE49-F238E27FC236}">
                        <a16:creationId xmlns:a16="http://schemas.microsoft.com/office/drawing/2014/main" id="{02EF42C8-2A53-7FD8-C863-157388D03C3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5" name="Grafik 19">
              <a:extLst>
                <a:ext uri="{FF2B5EF4-FFF2-40B4-BE49-F238E27FC236}">
                  <a16:creationId xmlns:a16="http://schemas.microsoft.com/office/drawing/2014/main" id="{47763523-DFE6-B90E-B8EE-39520C1A9288}"/>
                </a:ext>
              </a:extLst>
            </p:cNvPr>
            <p:cNvGrpSpPr/>
            <p:nvPr/>
          </p:nvGrpSpPr>
          <p:grpSpPr bwMode="gray">
            <a:xfrm>
              <a:off x="6053327" y="3468242"/>
              <a:ext cx="111537" cy="160019"/>
              <a:chOff x="6053327" y="3468242"/>
              <a:chExt cx="111537" cy="160019"/>
            </a:xfrm>
            <a:grpFill/>
          </p:grpSpPr>
          <p:sp>
            <p:nvSpPr>
              <p:cNvPr id="296" name="Grafik 19">
                <a:extLst>
                  <a:ext uri="{FF2B5EF4-FFF2-40B4-BE49-F238E27FC236}">
                    <a16:creationId xmlns:a16="http://schemas.microsoft.com/office/drawing/2014/main" id="{4EAFFCA0-C58E-F3DB-B6CE-80BF0D4A11DF}"/>
                  </a:ext>
                </a:extLst>
              </p:cNvPr>
              <p:cNvSpPr/>
              <p:nvPr/>
            </p:nvSpPr>
            <p:spPr bwMode="gray">
              <a:xfrm>
                <a:off x="6053327" y="3516724"/>
                <a:ext cx="111537" cy="111537"/>
              </a:xfrm>
              <a:custGeom>
                <a:avLst/>
                <a:gdLst>
                  <a:gd name="connsiteX0" fmla="*/ 90868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8 w 111537"/>
                  <a:gd name="connsiteY5" fmla="*/ 0 h 111537"/>
                  <a:gd name="connsiteX6" fmla="*/ 111538 w 111537"/>
                  <a:gd name="connsiteY6" fmla="*/ 20669 h 111537"/>
                  <a:gd name="connsiteX7" fmla="*/ 111538 w 111537"/>
                  <a:gd name="connsiteY7" fmla="*/ 90869 h 111537"/>
                  <a:gd name="connsiteX8" fmla="*/ 90868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8 w 111537"/>
                  <a:gd name="connsiteY13" fmla="*/ 97346 h 111537"/>
                  <a:gd name="connsiteX14" fmla="*/ 97250 w 111537"/>
                  <a:gd name="connsiteY14" fmla="*/ 90964 h 111537"/>
                  <a:gd name="connsiteX15" fmla="*/ 97250 w 111537"/>
                  <a:gd name="connsiteY15" fmla="*/ 20765 h 111537"/>
                  <a:gd name="connsiteX16" fmla="*/ 90868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8" y="111538"/>
                    </a:moveTo>
                    <a:lnTo>
                      <a:pt x="20669" y="111538"/>
                    </a:lnTo>
                    <a:cubicBezTo>
                      <a:pt x="9239" y="111538"/>
                      <a:pt x="0" y="102299"/>
                      <a:pt x="0" y="90869"/>
                    </a:cubicBezTo>
                    <a:lnTo>
                      <a:pt x="0" y="20669"/>
                    </a:lnTo>
                    <a:cubicBezTo>
                      <a:pt x="0" y="9239"/>
                      <a:pt x="9239" y="0"/>
                      <a:pt x="20669" y="0"/>
                    </a:cubicBezTo>
                    <a:lnTo>
                      <a:pt x="90868" y="0"/>
                    </a:lnTo>
                    <a:cubicBezTo>
                      <a:pt x="102298" y="0"/>
                      <a:pt x="111538" y="9239"/>
                      <a:pt x="111538" y="20669"/>
                    </a:cubicBezTo>
                    <a:lnTo>
                      <a:pt x="111538" y="90869"/>
                    </a:lnTo>
                    <a:cubicBezTo>
                      <a:pt x="111443" y="102299"/>
                      <a:pt x="102203" y="111538"/>
                      <a:pt x="90868" y="111538"/>
                    </a:cubicBezTo>
                    <a:close/>
                    <a:moveTo>
                      <a:pt x="20669" y="14383"/>
                    </a:moveTo>
                    <a:cubicBezTo>
                      <a:pt x="17145" y="14383"/>
                      <a:pt x="14288" y="17240"/>
                      <a:pt x="14288" y="20765"/>
                    </a:cubicBezTo>
                    <a:lnTo>
                      <a:pt x="14288" y="90964"/>
                    </a:lnTo>
                    <a:cubicBezTo>
                      <a:pt x="14288" y="94488"/>
                      <a:pt x="17145" y="97346"/>
                      <a:pt x="20669" y="97346"/>
                    </a:cubicBezTo>
                    <a:lnTo>
                      <a:pt x="90868" y="97346"/>
                    </a:lnTo>
                    <a:cubicBezTo>
                      <a:pt x="94393" y="97346"/>
                      <a:pt x="97250" y="94488"/>
                      <a:pt x="97250" y="90964"/>
                    </a:cubicBezTo>
                    <a:lnTo>
                      <a:pt x="97250" y="20765"/>
                    </a:lnTo>
                    <a:cubicBezTo>
                      <a:pt x="97250" y="17240"/>
                      <a:pt x="94393" y="14383"/>
                      <a:pt x="90868" y="14383"/>
                    </a:cubicBezTo>
                    <a:lnTo>
                      <a:pt x="20669" y="14383"/>
                    </a:lnTo>
                    <a:close/>
                  </a:path>
                </a:pathLst>
              </a:custGeom>
              <a:grpFill/>
              <a:ln w="9525" cap="flat">
                <a:noFill/>
                <a:prstDash val="solid"/>
                <a:miter/>
              </a:ln>
            </p:spPr>
            <p:txBody>
              <a:bodyPr rtlCol="0" anchor="ctr"/>
              <a:lstStyle/>
              <a:p>
                <a:endParaRPr lang="de-DE"/>
              </a:p>
            </p:txBody>
          </p:sp>
          <p:grpSp>
            <p:nvGrpSpPr>
              <p:cNvPr id="297" name="Grafik 19">
                <a:extLst>
                  <a:ext uri="{FF2B5EF4-FFF2-40B4-BE49-F238E27FC236}">
                    <a16:creationId xmlns:a16="http://schemas.microsoft.com/office/drawing/2014/main" id="{73A2DE02-4693-3CC0-18F1-708317792BCD}"/>
                  </a:ext>
                </a:extLst>
              </p:cNvPr>
              <p:cNvGrpSpPr/>
              <p:nvPr/>
            </p:nvGrpSpPr>
            <p:grpSpPr bwMode="gray">
              <a:xfrm>
                <a:off x="6069519" y="3468242"/>
                <a:ext cx="79057" cy="62865"/>
                <a:chOff x="6069519" y="3468242"/>
                <a:chExt cx="79057" cy="62865"/>
              </a:xfrm>
              <a:grpFill/>
            </p:grpSpPr>
            <p:sp>
              <p:nvSpPr>
                <p:cNvPr id="299" name="Grafik 19">
                  <a:extLst>
                    <a:ext uri="{FF2B5EF4-FFF2-40B4-BE49-F238E27FC236}">
                      <a16:creationId xmlns:a16="http://schemas.microsoft.com/office/drawing/2014/main" id="{5B37321B-B304-294B-08E9-464DC2CDD642}"/>
                    </a:ext>
                  </a:extLst>
                </p:cNvPr>
                <p:cNvSpPr/>
                <p:nvPr/>
              </p:nvSpPr>
              <p:spPr bwMode="gray">
                <a:xfrm>
                  <a:off x="6069519"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8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9"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7" y="0"/>
                        <a:pt x="39529" y="0"/>
                      </a:cubicBezTo>
                      <a:cubicBezTo>
                        <a:pt x="61341" y="0"/>
                        <a:pt x="79058" y="17716"/>
                        <a:pt x="79058" y="39529"/>
                      </a:cubicBezTo>
                      <a:cubicBezTo>
                        <a:pt x="79058" y="43434"/>
                        <a:pt x="75914" y="46672"/>
                        <a:pt x="71914" y="46672"/>
                      </a:cubicBezTo>
                      <a:close/>
                    </a:path>
                  </a:pathLst>
                </a:custGeom>
                <a:grpFill/>
                <a:ln w="9525" cap="flat">
                  <a:noFill/>
                  <a:prstDash val="solid"/>
                  <a:miter/>
                </a:ln>
              </p:spPr>
              <p:txBody>
                <a:bodyPr rtlCol="0" anchor="ctr"/>
                <a:lstStyle/>
                <a:p>
                  <a:endParaRPr lang="de-DE"/>
                </a:p>
              </p:txBody>
            </p:sp>
            <p:sp>
              <p:nvSpPr>
                <p:cNvPr id="300" name="Grafik 19">
                  <a:extLst>
                    <a:ext uri="{FF2B5EF4-FFF2-40B4-BE49-F238E27FC236}">
                      <a16:creationId xmlns:a16="http://schemas.microsoft.com/office/drawing/2014/main" id="{095E877D-E834-0B64-0A27-012C7651EE84}"/>
                    </a:ext>
                  </a:extLst>
                </p:cNvPr>
                <p:cNvSpPr/>
                <p:nvPr/>
              </p:nvSpPr>
              <p:spPr bwMode="gray">
                <a:xfrm>
                  <a:off x="6069519"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301" name="Grafik 19">
                  <a:extLst>
                    <a:ext uri="{FF2B5EF4-FFF2-40B4-BE49-F238E27FC236}">
                      <a16:creationId xmlns:a16="http://schemas.microsoft.com/office/drawing/2014/main" id="{30F40AC5-30A4-14C9-C6C3-9464FDFC9F2C}"/>
                    </a:ext>
                  </a:extLst>
                </p:cNvPr>
                <p:cNvSpPr/>
                <p:nvPr/>
              </p:nvSpPr>
              <p:spPr bwMode="gray">
                <a:xfrm>
                  <a:off x="6134290"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298" name="Grafik 19">
                <a:extLst>
                  <a:ext uri="{FF2B5EF4-FFF2-40B4-BE49-F238E27FC236}">
                    <a16:creationId xmlns:a16="http://schemas.microsoft.com/office/drawing/2014/main" id="{0005C0CF-F4F2-3D1E-07E4-3BBCD7870855}"/>
                  </a:ext>
                </a:extLst>
              </p:cNvPr>
              <p:cNvSpPr/>
              <p:nvPr/>
            </p:nvSpPr>
            <p:spPr bwMode="gray">
              <a:xfrm>
                <a:off x="6087331"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3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69 w 43479"/>
                  <a:gd name="connsiteY14" fmla="*/ 35624 h 67722"/>
                  <a:gd name="connsiteX15" fmla="*/ 25718 w 43479"/>
                  <a:gd name="connsiteY15" fmla="*/ 27908 h 67722"/>
                  <a:gd name="connsiteX16" fmla="*/ 29146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7" y="66675"/>
                      <a:pt x="1524" y="64961"/>
                    </a:cubicBezTo>
                    <a:cubicBezTo>
                      <a:pt x="191" y="63246"/>
                      <a:pt x="-286" y="60960"/>
                      <a:pt x="191" y="58865"/>
                    </a:cubicBezTo>
                    <a:lnTo>
                      <a:pt x="5810" y="36481"/>
                    </a:lnTo>
                    <a:cubicBezTo>
                      <a:pt x="2095" y="32480"/>
                      <a:pt x="0" y="27242"/>
                      <a:pt x="0" y="21717"/>
                    </a:cubicBezTo>
                    <a:cubicBezTo>
                      <a:pt x="0" y="9716"/>
                      <a:pt x="9716" y="0"/>
                      <a:pt x="21717" y="0"/>
                    </a:cubicBezTo>
                    <a:cubicBezTo>
                      <a:pt x="33718" y="0"/>
                      <a:pt x="43434" y="9716"/>
                      <a:pt x="43434" y="21717"/>
                    </a:cubicBezTo>
                    <a:cubicBezTo>
                      <a:pt x="43434" y="27242"/>
                      <a:pt x="41339" y="32480"/>
                      <a:pt x="37624" y="36481"/>
                    </a:cubicBezTo>
                    <a:lnTo>
                      <a:pt x="43243" y="58865"/>
                    </a:lnTo>
                    <a:cubicBezTo>
                      <a:pt x="43815" y="60960"/>
                      <a:pt x="43339" y="63246"/>
                      <a:pt x="41910" y="64961"/>
                    </a:cubicBezTo>
                    <a:cubicBezTo>
                      <a:pt x="40577" y="66770"/>
                      <a:pt x="38481" y="67723"/>
                      <a:pt x="36290" y="67723"/>
                    </a:cubicBezTo>
                    <a:close/>
                    <a:moveTo>
                      <a:pt x="16288" y="53435"/>
                    </a:moveTo>
                    <a:lnTo>
                      <a:pt x="27146" y="53435"/>
                    </a:lnTo>
                    <a:lnTo>
                      <a:pt x="22669" y="35624"/>
                    </a:lnTo>
                    <a:cubicBezTo>
                      <a:pt x="21907" y="32671"/>
                      <a:pt x="23146" y="29528"/>
                      <a:pt x="25718" y="27908"/>
                    </a:cubicBezTo>
                    <a:cubicBezTo>
                      <a:pt x="27813" y="26480"/>
                      <a:pt x="29146" y="24194"/>
                      <a:pt x="29146" y="21717"/>
                    </a:cubicBezTo>
                    <a:cubicBezTo>
                      <a:pt x="29146"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321" name="Grafik 21">
            <a:extLst>
              <a:ext uri="{FF2B5EF4-FFF2-40B4-BE49-F238E27FC236}">
                <a16:creationId xmlns:a16="http://schemas.microsoft.com/office/drawing/2014/main" id="{3F9F2306-8C02-B3D1-9817-ABF757B92803}"/>
              </a:ext>
            </a:extLst>
          </p:cNvPr>
          <p:cNvGrpSpPr/>
          <p:nvPr/>
        </p:nvGrpSpPr>
        <p:grpSpPr bwMode="gray">
          <a:xfrm>
            <a:off x="2724271" y="2404934"/>
            <a:ext cx="374400" cy="374400"/>
            <a:chOff x="5843587" y="3176587"/>
            <a:chExt cx="500253" cy="500253"/>
          </a:xfrm>
          <a:solidFill>
            <a:schemeClr val="tx1"/>
          </a:solidFill>
        </p:grpSpPr>
        <p:grpSp>
          <p:nvGrpSpPr>
            <p:cNvPr id="322" name="Grafik 21">
              <a:extLst>
                <a:ext uri="{FF2B5EF4-FFF2-40B4-BE49-F238E27FC236}">
                  <a16:creationId xmlns:a16="http://schemas.microsoft.com/office/drawing/2014/main" id="{ABDEA0BD-479A-342B-E4A1-74C5CEB7A9BC}"/>
                </a:ext>
              </a:extLst>
            </p:cNvPr>
            <p:cNvGrpSpPr/>
            <p:nvPr/>
          </p:nvGrpSpPr>
          <p:grpSpPr bwMode="gray">
            <a:xfrm>
              <a:off x="5970248" y="3239716"/>
              <a:ext cx="247025" cy="130799"/>
              <a:chOff x="5970248" y="3239716"/>
              <a:chExt cx="247025" cy="130799"/>
            </a:xfrm>
            <a:grpFill/>
          </p:grpSpPr>
          <p:grpSp>
            <p:nvGrpSpPr>
              <p:cNvPr id="346" name="Grafik 21">
                <a:extLst>
                  <a:ext uri="{FF2B5EF4-FFF2-40B4-BE49-F238E27FC236}">
                    <a16:creationId xmlns:a16="http://schemas.microsoft.com/office/drawing/2014/main" id="{BB00FAED-D1F6-92F9-2119-8E8406FF409E}"/>
                  </a:ext>
                </a:extLst>
              </p:cNvPr>
              <p:cNvGrpSpPr/>
              <p:nvPr/>
            </p:nvGrpSpPr>
            <p:grpSpPr bwMode="gray">
              <a:xfrm>
                <a:off x="6114361" y="3239716"/>
                <a:ext cx="102912" cy="58695"/>
                <a:chOff x="6114361" y="3239716"/>
                <a:chExt cx="102912" cy="58695"/>
              </a:xfrm>
              <a:grpFill/>
            </p:grpSpPr>
            <p:sp>
              <p:nvSpPr>
                <p:cNvPr id="359" name="Grafik 21">
                  <a:extLst>
                    <a:ext uri="{FF2B5EF4-FFF2-40B4-BE49-F238E27FC236}">
                      <a16:creationId xmlns:a16="http://schemas.microsoft.com/office/drawing/2014/main" id="{DAE41D92-A775-266C-D4F1-F70D92609EB8}"/>
                    </a:ext>
                  </a:extLst>
                </p:cNvPr>
                <p:cNvSpPr/>
                <p:nvPr/>
              </p:nvSpPr>
              <p:spPr bwMode="gray">
                <a:xfrm>
                  <a:off x="6114361" y="3239716"/>
                  <a:ext cx="102912" cy="58695"/>
                </a:xfrm>
                <a:custGeom>
                  <a:avLst/>
                  <a:gdLst>
                    <a:gd name="connsiteX0" fmla="*/ 7165 w 102912"/>
                    <a:gd name="connsiteY0" fmla="*/ 58695 h 58695"/>
                    <a:gd name="connsiteX1" fmla="*/ 783 w 102912"/>
                    <a:gd name="connsiteY1" fmla="*/ 54695 h 58695"/>
                    <a:gd name="connsiteX2" fmla="*/ 4022 w 102912"/>
                    <a:gd name="connsiteY2" fmla="*/ 45074 h 58695"/>
                    <a:gd name="connsiteX3" fmla="*/ 92509 w 102912"/>
                    <a:gd name="connsiteY3" fmla="*/ 783 h 58695"/>
                    <a:gd name="connsiteX4" fmla="*/ 102129 w 102912"/>
                    <a:gd name="connsiteY4" fmla="*/ 4022 h 58695"/>
                    <a:gd name="connsiteX5" fmla="*/ 98891 w 102912"/>
                    <a:gd name="connsiteY5" fmla="*/ 13642 h 58695"/>
                    <a:gd name="connsiteX6" fmla="*/ 10403 w 102912"/>
                    <a:gd name="connsiteY6" fmla="*/ 57933 h 58695"/>
                    <a:gd name="connsiteX7" fmla="*/ 7165 w 102912"/>
                    <a:gd name="connsiteY7" fmla="*/ 58695 h 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95">
                      <a:moveTo>
                        <a:pt x="7165" y="58695"/>
                      </a:moveTo>
                      <a:cubicBezTo>
                        <a:pt x="4498" y="58695"/>
                        <a:pt x="2021" y="57266"/>
                        <a:pt x="783" y="54695"/>
                      </a:cubicBezTo>
                      <a:cubicBezTo>
                        <a:pt x="-1027" y="51170"/>
                        <a:pt x="402" y="46884"/>
                        <a:pt x="4022" y="45074"/>
                      </a:cubicBezTo>
                      <a:lnTo>
                        <a:pt x="92509" y="783"/>
                      </a:lnTo>
                      <a:cubicBezTo>
                        <a:pt x="96033" y="-1027"/>
                        <a:pt x="100319" y="402"/>
                        <a:pt x="102129" y="4022"/>
                      </a:cubicBezTo>
                      <a:cubicBezTo>
                        <a:pt x="103939" y="7546"/>
                        <a:pt x="102510" y="11832"/>
                        <a:pt x="98891" y="13642"/>
                      </a:cubicBezTo>
                      <a:lnTo>
                        <a:pt x="10403" y="57933"/>
                      </a:lnTo>
                      <a:cubicBezTo>
                        <a:pt x="9356" y="58505"/>
                        <a:pt x="8308" y="58695"/>
                        <a:pt x="7165" y="58695"/>
                      </a:cubicBezTo>
                      <a:close/>
                    </a:path>
                  </a:pathLst>
                </a:custGeom>
                <a:grpFill/>
                <a:ln w="9525" cap="flat">
                  <a:noFill/>
                  <a:prstDash val="solid"/>
                  <a:miter/>
                </a:ln>
              </p:spPr>
              <p:txBody>
                <a:bodyPr rtlCol="0" anchor="ctr"/>
                <a:lstStyle/>
                <a:p>
                  <a:endParaRPr lang="de-DE"/>
                </a:p>
              </p:txBody>
            </p:sp>
            <p:sp>
              <p:nvSpPr>
                <p:cNvPr id="360" name="Grafik 21">
                  <a:extLst>
                    <a:ext uri="{FF2B5EF4-FFF2-40B4-BE49-F238E27FC236}">
                      <a16:creationId xmlns:a16="http://schemas.microsoft.com/office/drawing/2014/main" id="{77A9DB7E-B637-F916-FB89-45804512136D}"/>
                    </a:ext>
                  </a:extLst>
                </p:cNvPr>
                <p:cNvSpPr/>
                <p:nvPr/>
              </p:nvSpPr>
              <p:spPr bwMode="gray">
                <a:xfrm>
                  <a:off x="6147243" y="3239928"/>
                  <a:ext cx="69913" cy="14287"/>
                </a:xfrm>
                <a:custGeom>
                  <a:avLst/>
                  <a:gdLst>
                    <a:gd name="connsiteX0" fmla="*/ 62770 w 69913"/>
                    <a:gd name="connsiteY0" fmla="*/ 14287 h 14287"/>
                    <a:gd name="connsiteX1" fmla="*/ 7144 w 69913"/>
                    <a:gd name="connsiteY1" fmla="*/ 14287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7"/>
                      </a:moveTo>
                      <a:lnTo>
                        <a:pt x="7144" y="14287"/>
                      </a:lnTo>
                      <a:cubicBezTo>
                        <a:pt x="3239" y="14287"/>
                        <a:pt x="0" y="11049"/>
                        <a:pt x="0" y="7144"/>
                      </a:cubicBezTo>
                      <a:cubicBezTo>
                        <a:pt x="0" y="3238"/>
                        <a:pt x="3239" y="0"/>
                        <a:pt x="7144" y="0"/>
                      </a:cubicBezTo>
                      <a:lnTo>
                        <a:pt x="62770" y="0"/>
                      </a:lnTo>
                      <a:cubicBezTo>
                        <a:pt x="66675" y="0"/>
                        <a:pt x="69914" y="3238"/>
                        <a:pt x="69914" y="7144"/>
                      </a:cubicBezTo>
                      <a:cubicBezTo>
                        <a:pt x="69914" y="11049"/>
                        <a:pt x="66770" y="14287"/>
                        <a:pt x="62770" y="14287"/>
                      </a:cubicBezTo>
                      <a:close/>
                    </a:path>
                  </a:pathLst>
                </a:custGeom>
                <a:grpFill/>
                <a:ln w="9525" cap="flat">
                  <a:noFill/>
                  <a:prstDash val="solid"/>
                  <a:miter/>
                </a:ln>
              </p:spPr>
              <p:txBody>
                <a:bodyPr rtlCol="0" anchor="ctr"/>
                <a:lstStyle/>
                <a:p>
                  <a:endParaRPr lang="de-DE"/>
                </a:p>
              </p:txBody>
            </p:sp>
            <p:sp>
              <p:nvSpPr>
                <p:cNvPr id="361" name="Grafik 21">
                  <a:extLst>
                    <a:ext uri="{FF2B5EF4-FFF2-40B4-BE49-F238E27FC236}">
                      <a16:creationId xmlns:a16="http://schemas.microsoft.com/office/drawing/2014/main" id="{477788CA-AA4B-1A45-0066-E837473F96AD}"/>
                    </a:ext>
                  </a:extLst>
                </p:cNvPr>
                <p:cNvSpPr/>
                <p:nvPr/>
              </p:nvSpPr>
              <p:spPr bwMode="gray">
                <a:xfrm>
                  <a:off x="6202870" y="3239928"/>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8"/>
                        <a:pt x="3239" y="0"/>
                        <a:pt x="7144" y="0"/>
                      </a:cubicBezTo>
                      <a:cubicBezTo>
                        <a:pt x="11049" y="0"/>
                        <a:pt x="14288" y="3238"/>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grpSp>
          <p:grpSp>
            <p:nvGrpSpPr>
              <p:cNvPr id="347" name="Grafik 21">
                <a:extLst>
                  <a:ext uri="{FF2B5EF4-FFF2-40B4-BE49-F238E27FC236}">
                    <a16:creationId xmlns:a16="http://schemas.microsoft.com/office/drawing/2014/main" id="{5A5EF508-8BAC-430E-C62B-FAF50E5EEA53}"/>
                  </a:ext>
                </a:extLst>
              </p:cNvPr>
              <p:cNvGrpSpPr/>
              <p:nvPr/>
            </p:nvGrpSpPr>
            <p:grpSpPr bwMode="gray">
              <a:xfrm>
                <a:off x="5970248" y="3311862"/>
                <a:ext cx="102912" cy="58653"/>
                <a:chOff x="5970248" y="3311862"/>
                <a:chExt cx="102912" cy="58653"/>
              </a:xfrm>
              <a:grpFill/>
            </p:grpSpPr>
            <p:sp>
              <p:nvSpPr>
                <p:cNvPr id="356" name="Grafik 21">
                  <a:extLst>
                    <a:ext uri="{FF2B5EF4-FFF2-40B4-BE49-F238E27FC236}">
                      <a16:creationId xmlns:a16="http://schemas.microsoft.com/office/drawing/2014/main" id="{0285011E-9F6D-F720-AEE4-524339B28CE2}"/>
                    </a:ext>
                  </a:extLst>
                </p:cNvPr>
                <p:cNvSpPr/>
                <p:nvPr/>
              </p:nvSpPr>
              <p:spPr bwMode="gray">
                <a:xfrm>
                  <a:off x="5970248" y="3311862"/>
                  <a:ext cx="102912" cy="58653"/>
                </a:xfrm>
                <a:custGeom>
                  <a:avLst/>
                  <a:gdLst>
                    <a:gd name="connsiteX0" fmla="*/ 7165 w 102912"/>
                    <a:gd name="connsiteY0" fmla="*/ 58653 h 58653"/>
                    <a:gd name="connsiteX1" fmla="*/ 783 w 102912"/>
                    <a:gd name="connsiteY1" fmla="*/ 54653 h 58653"/>
                    <a:gd name="connsiteX2" fmla="*/ 4022 w 102912"/>
                    <a:gd name="connsiteY2" fmla="*/ 45032 h 58653"/>
                    <a:gd name="connsiteX3" fmla="*/ 92509 w 102912"/>
                    <a:gd name="connsiteY3" fmla="*/ 741 h 58653"/>
                    <a:gd name="connsiteX4" fmla="*/ 102129 w 102912"/>
                    <a:gd name="connsiteY4" fmla="*/ 3980 h 58653"/>
                    <a:gd name="connsiteX5" fmla="*/ 98891 w 102912"/>
                    <a:gd name="connsiteY5" fmla="*/ 13600 h 58653"/>
                    <a:gd name="connsiteX6" fmla="*/ 10403 w 102912"/>
                    <a:gd name="connsiteY6" fmla="*/ 57891 h 58653"/>
                    <a:gd name="connsiteX7" fmla="*/ 7165 w 102912"/>
                    <a:gd name="connsiteY7" fmla="*/ 58653 h 5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53">
                      <a:moveTo>
                        <a:pt x="7165" y="58653"/>
                      </a:moveTo>
                      <a:cubicBezTo>
                        <a:pt x="4498" y="58653"/>
                        <a:pt x="2021" y="57224"/>
                        <a:pt x="783" y="54653"/>
                      </a:cubicBezTo>
                      <a:cubicBezTo>
                        <a:pt x="-1027" y="51128"/>
                        <a:pt x="402" y="46842"/>
                        <a:pt x="4022" y="45032"/>
                      </a:cubicBezTo>
                      <a:lnTo>
                        <a:pt x="92509" y="741"/>
                      </a:lnTo>
                      <a:cubicBezTo>
                        <a:pt x="96033" y="-973"/>
                        <a:pt x="100319" y="360"/>
                        <a:pt x="102129" y="3980"/>
                      </a:cubicBezTo>
                      <a:cubicBezTo>
                        <a:pt x="103939" y="7504"/>
                        <a:pt x="102510" y="11790"/>
                        <a:pt x="98891" y="13600"/>
                      </a:cubicBezTo>
                      <a:lnTo>
                        <a:pt x="10403" y="57891"/>
                      </a:lnTo>
                      <a:cubicBezTo>
                        <a:pt x="9356" y="58463"/>
                        <a:pt x="8213" y="58653"/>
                        <a:pt x="7165" y="58653"/>
                      </a:cubicBezTo>
                      <a:close/>
                    </a:path>
                  </a:pathLst>
                </a:custGeom>
                <a:grpFill/>
                <a:ln w="9525" cap="flat">
                  <a:noFill/>
                  <a:prstDash val="solid"/>
                  <a:miter/>
                </a:ln>
              </p:spPr>
              <p:txBody>
                <a:bodyPr rtlCol="0" anchor="ctr"/>
                <a:lstStyle/>
                <a:p>
                  <a:endParaRPr lang="de-DE"/>
                </a:p>
              </p:txBody>
            </p:sp>
            <p:sp>
              <p:nvSpPr>
                <p:cNvPr id="357" name="Grafik 21">
                  <a:extLst>
                    <a:ext uri="{FF2B5EF4-FFF2-40B4-BE49-F238E27FC236}">
                      <a16:creationId xmlns:a16="http://schemas.microsoft.com/office/drawing/2014/main" id="{53F12363-BDDA-623B-9FCA-AC75638E9847}"/>
                    </a:ext>
                  </a:extLst>
                </p:cNvPr>
                <p:cNvSpPr/>
                <p:nvPr/>
              </p:nvSpPr>
              <p:spPr bwMode="gray">
                <a:xfrm>
                  <a:off x="5970269" y="3356228"/>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sp>
              <p:nvSpPr>
                <p:cNvPr id="358" name="Grafik 21">
                  <a:extLst>
                    <a:ext uri="{FF2B5EF4-FFF2-40B4-BE49-F238E27FC236}">
                      <a16:creationId xmlns:a16="http://schemas.microsoft.com/office/drawing/2014/main" id="{B093B294-2475-0A9B-EE74-279A50ED35E0}"/>
                    </a:ext>
                  </a:extLst>
                </p:cNvPr>
                <p:cNvSpPr/>
                <p:nvPr/>
              </p:nvSpPr>
              <p:spPr bwMode="gray">
                <a:xfrm>
                  <a:off x="5970269" y="3328415"/>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grpSp>
          <p:grpSp>
            <p:nvGrpSpPr>
              <p:cNvPr id="348" name="Grafik 21">
                <a:extLst>
                  <a:ext uri="{FF2B5EF4-FFF2-40B4-BE49-F238E27FC236}">
                    <a16:creationId xmlns:a16="http://schemas.microsoft.com/office/drawing/2014/main" id="{C20F969C-DB90-2D9B-6E2D-E47A9CF4C691}"/>
                  </a:ext>
                </a:extLst>
              </p:cNvPr>
              <p:cNvGrpSpPr/>
              <p:nvPr/>
            </p:nvGrpSpPr>
            <p:grpSpPr bwMode="gray">
              <a:xfrm>
                <a:off x="6114382" y="3311879"/>
                <a:ext cx="102832" cy="58636"/>
                <a:chOff x="6114382" y="3311879"/>
                <a:chExt cx="102832" cy="58636"/>
              </a:xfrm>
              <a:grpFill/>
            </p:grpSpPr>
            <p:sp>
              <p:nvSpPr>
                <p:cNvPr id="353" name="Grafik 21">
                  <a:extLst>
                    <a:ext uri="{FF2B5EF4-FFF2-40B4-BE49-F238E27FC236}">
                      <a16:creationId xmlns:a16="http://schemas.microsoft.com/office/drawing/2014/main" id="{0805D1F2-31AC-4743-9444-53C0F7F315E1}"/>
                    </a:ext>
                  </a:extLst>
                </p:cNvPr>
                <p:cNvSpPr/>
                <p:nvPr/>
              </p:nvSpPr>
              <p:spPr bwMode="gray">
                <a:xfrm>
                  <a:off x="6114420" y="3311879"/>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3"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4" name="Grafik 21">
                  <a:extLst>
                    <a:ext uri="{FF2B5EF4-FFF2-40B4-BE49-F238E27FC236}">
                      <a16:creationId xmlns:a16="http://schemas.microsoft.com/office/drawing/2014/main" id="{A5E1CD9A-82C8-B34D-2CE0-7D9D63662BFC}"/>
                    </a:ext>
                  </a:extLst>
                </p:cNvPr>
                <p:cNvSpPr/>
                <p:nvPr/>
              </p:nvSpPr>
              <p:spPr bwMode="gray">
                <a:xfrm>
                  <a:off x="6114382" y="3312032"/>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9"/>
                        <a:pt x="3239" y="0"/>
                        <a:pt x="7144" y="0"/>
                      </a:cubicBezTo>
                      <a:cubicBezTo>
                        <a:pt x="11049" y="0"/>
                        <a:pt x="14288" y="3239"/>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sp>
              <p:nvSpPr>
                <p:cNvPr id="355" name="Grafik 21">
                  <a:extLst>
                    <a:ext uri="{FF2B5EF4-FFF2-40B4-BE49-F238E27FC236}">
                      <a16:creationId xmlns:a16="http://schemas.microsoft.com/office/drawing/2014/main" id="{A07BD3C1-739D-2721-4FA3-99E7AE5B043A}"/>
                    </a:ext>
                  </a:extLst>
                </p:cNvPr>
                <p:cNvSpPr/>
                <p:nvPr/>
              </p:nvSpPr>
              <p:spPr bwMode="gray">
                <a:xfrm>
                  <a:off x="6114478" y="3312032"/>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grpSp>
          <p:grpSp>
            <p:nvGrpSpPr>
              <p:cNvPr id="349" name="Grafik 21">
                <a:extLst>
                  <a:ext uri="{FF2B5EF4-FFF2-40B4-BE49-F238E27FC236}">
                    <a16:creationId xmlns:a16="http://schemas.microsoft.com/office/drawing/2014/main" id="{E39962F9-C5D8-6CFC-7AA6-C4F1204EF938}"/>
                  </a:ext>
                </a:extLst>
              </p:cNvPr>
              <p:cNvGrpSpPr/>
              <p:nvPr/>
            </p:nvGrpSpPr>
            <p:grpSpPr bwMode="gray">
              <a:xfrm>
                <a:off x="5970307" y="3239775"/>
                <a:ext cx="102794" cy="58636"/>
                <a:chOff x="5970307" y="3239775"/>
                <a:chExt cx="102794" cy="58636"/>
              </a:xfrm>
              <a:grpFill/>
            </p:grpSpPr>
            <p:sp>
              <p:nvSpPr>
                <p:cNvPr id="350" name="Grafik 21">
                  <a:extLst>
                    <a:ext uri="{FF2B5EF4-FFF2-40B4-BE49-F238E27FC236}">
                      <a16:creationId xmlns:a16="http://schemas.microsoft.com/office/drawing/2014/main" id="{9B861AE4-B0B0-2919-0B26-77E60C3E0289}"/>
                    </a:ext>
                  </a:extLst>
                </p:cNvPr>
                <p:cNvSpPr/>
                <p:nvPr/>
              </p:nvSpPr>
              <p:spPr bwMode="gray">
                <a:xfrm>
                  <a:off x="5970307" y="3239775"/>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2"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1" name="Grafik 21">
                  <a:extLst>
                    <a:ext uri="{FF2B5EF4-FFF2-40B4-BE49-F238E27FC236}">
                      <a16:creationId xmlns:a16="http://schemas.microsoft.com/office/drawing/2014/main" id="{F59B4C6B-6EA1-A67A-F41F-F8E2D14FF1CD}"/>
                    </a:ext>
                  </a:extLst>
                </p:cNvPr>
                <p:cNvSpPr/>
                <p:nvPr/>
              </p:nvSpPr>
              <p:spPr bwMode="gray">
                <a:xfrm>
                  <a:off x="6058756" y="3256311"/>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sp>
              <p:nvSpPr>
                <p:cNvPr id="352" name="Grafik 21">
                  <a:extLst>
                    <a:ext uri="{FF2B5EF4-FFF2-40B4-BE49-F238E27FC236}">
                      <a16:creationId xmlns:a16="http://schemas.microsoft.com/office/drawing/2014/main" id="{2AAB629F-4E85-2820-C41E-CD3DF743783D}"/>
                    </a:ext>
                  </a:extLst>
                </p:cNvPr>
                <p:cNvSpPr/>
                <p:nvPr/>
              </p:nvSpPr>
              <p:spPr bwMode="gray">
                <a:xfrm>
                  <a:off x="6003130" y="3284124"/>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4" y="3239"/>
                        <a:pt x="69914" y="7144"/>
                      </a:cubicBezTo>
                      <a:cubicBezTo>
                        <a:pt x="69914" y="11049"/>
                        <a:pt x="66675" y="14288"/>
                        <a:pt x="62770" y="14288"/>
                      </a:cubicBezTo>
                      <a:close/>
                    </a:path>
                  </a:pathLst>
                </a:custGeom>
                <a:grpFill/>
                <a:ln w="9525" cap="flat">
                  <a:noFill/>
                  <a:prstDash val="solid"/>
                  <a:miter/>
                </a:ln>
              </p:spPr>
              <p:txBody>
                <a:bodyPr rtlCol="0" anchor="ctr"/>
                <a:lstStyle/>
                <a:p>
                  <a:endParaRPr lang="de-DE"/>
                </a:p>
              </p:txBody>
            </p:sp>
          </p:grpSp>
        </p:grpSp>
        <p:sp>
          <p:nvSpPr>
            <p:cNvPr id="323" name="Grafik 21">
              <a:extLst>
                <a:ext uri="{FF2B5EF4-FFF2-40B4-BE49-F238E27FC236}">
                  <a16:creationId xmlns:a16="http://schemas.microsoft.com/office/drawing/2014/main" id="{B9E4BAF8-5B18-A001-F212-E80CD45A1207}"/>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24" name="Grafik 21">
              <a:extLst>
                <a:ext uri="{FF2B5EF4-FFF2-40B4-BE49-F238E27FC236}">
                  <a16:creationId xmlns:a16="http://schemas.microsoft.com/office/drawing/2014/main" id="{19D4FCDE-EE43-6803-1865-A62F01E72FC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25" name="Grafik 21">
              <a:extLst>
                <a:ext uri="{FF2B5EF4-FFF2-40B4-BE49-F238E27FC236}">
                  <a16:creationId xmlns:a16="http://schemas.microsoft.com/office/drawing/2014/main" id="{166C0B74-2D26-5A9E-E8E6-26AB03428BDE}"/>
                </a:ext>
              </a:extLst>
            </p:cNvPr>
            <p:cNvGrpSpPr/>
            <p:nvPr/>
          </p:nvGrpSpPr>
          <p:grpSpPr bwMode="gray">
            <a:xfrm>
              <a:off x="5945695" y="3460455"/>
              <a:ext cx="296036" cy="175617"/>
              <a:chOff x="5945695" y="3460455"/>
              <a:chExt cx="296036" cy="175617"/>
            </a:xfrm>
            <a:grpFill/>
          </p:grpSpPr>
          <p:grpSp>
            <p:nvGrpSpPr>
              <p:cNvPr id="326" name="Grafik 21">
                <a:extLst>
                  <a:ext uri="{FF2B5EF4-FFF2-40B4-BE49-F238E27FC236}">
                    <a16:creationId xmlns:a16="http://schemas.microsoft.com/office/drawing/2014/main" id="{E8729CED-D061-0B2C-D894-906AC1A689BF}"/>
                  </a:ext>
                </a:extLst>
              </p:cNvPr>
              <p:cNvGrpSpPr/>
              <p:nvPr/>
            </p:nvGrpSpPr>
            <p:grpSpPr bwMode="gray">
              <a:xfrm>
                <a:off x="5945695" y="3460455"/>
                <a:ext cx="296036" cy="175521"/>
                <a:chOff x="5945695" y="3460455"/>
                <a:chExt cx="296036" cy="175521"/>
              </a:xfrm>
              <a:grpFill/>
            </p:grpSpPr>
            <p:grpSp>
              <p:nvGrpSpPr>
                <p:cNvPr id="337" name="Grafik 21">
                  <a:extLst>
                    <a:ext uri="{FF2B5EF4-FFF2-40B4-BE49-F238E27FC236}">
                      <a16:creationId xmlns:a16="http://schemas.microsoft.com/office/drawing/2014/main" id="{DC9D4159-9FBB-F744-E6CD-EEB122E60685}"/>
                    </a:ext>
                  </a:extLst>
                </p:cNvPr>
                <p:cNvGrpSpPr/>
                <p:nvPr/>
              </p:nvGrpSpPr>
              <p:grpSpPr bwMode="gray">
                <a:xfrm>
                  <a:off x="5945695" y="3460455"/>
                  <a:ext cx="95059" cy="58459"/>
                  <a:chOff x="5945695" y="3460455"/>
                  <a:chExt cx="95059" cy="58459"/>
                </a:xfrm>
                <a:grpFill/>
              </p:grpSpPr>
              <p:sp>
                <p:nvSpPr>
                  <p:cNvPr id="343" name="Grafik 21">
                    <a:extLst>
                      <a:ext uri="{FF2B5EF4-FFF2-40B4-BE49-F238E27FC236}">
                        <a16:creationId xmlns:a16="http://schemas.microsoft.com/office/drawing/2014/main" id="{D94FC032-F7EA-3D7A-4FF1-FA3ED37F3E80}"/>
                      </a:ext>
                    </a:extLst>
                  </p:cNvPr>
                  <p:cNvSpPr/>
                  <p:nvPr/>
                </p:nvSpPr>
                <p:spPr bwMode="gray">
                  <a:xfrm>
                    <a:off x="5945695"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44" name="Grafik 21">
                    <a:extLst>
                      <a:ext uri="{FF2B5EF4-FFF2-40B4-BE49-F238E27FC236}">
                        <a16:creationId xmlns:a16="http://schemas.microsoft.com/office/drawing/2014/main" id="{3D42FE87-AC23-E850-FEE0-86F210160161}"/>
                      </a:ext>
                    </a:extLst>
                  </p:cNvPr>
                  <p:cNvSpPr/>
                  <p:nvPr/>
                </p:nvSpPr>
                <p:spPr bwMode="gray">
                  <a:xfrm>
                    <a:off x="5945718" y="3460455"/>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00"/>
                          <a:pt x="9025" y="36362"/>
                          <a:pt x="7120" y="36362"/>
                        </a:cubicBezTo>
                        <a:close/>
                      </a:path>
                    </a:pathLst>
                  </a:custGeom>
                  <a:grpFill/>
                  <a:ln w="9525" cap="flat">
                    <a:noFill/>
                    <a:prstDash val="solid"/>
                    <a:miter/>
                  </a:ln>
                </p:spPr>
                <p:txBody>
                  <a:bodyPr rtlCol="0" anchor="ctr"/>
                  <a:lstStyle/>
                  <a:p>
                    <a:endParaRPr lang="de-DE"/>
                  </a:p>
                </p:txBody>
              </p:sp>
              <p:sp>
                <p:nvSpPr>
                  <p:cNvPr id="345" name="Grafik 21">
                    <a:extLst>
                      <a:ext uri="{FF2B5EF4-FFF2-40B4-BE49-F238E27FC236}">
                        <a16:creationId xmlns:a16="http://schemas.microsoft.com/office/drawing/2014/main" id="{8CE13162-7DE6-9FEB-5C49-D3363490E76D}"/>
                      </a:ext>
                    </a:extLst>
                  </p:cNvPr>
                  <p:cNvSpPr/>
                  <p:nvPr/>
                </p:nvSpPr>
                <p:spPr bwMode="gray">
                  <a:xfrm>
                    <a:off x="5945814" y="3482553"/>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sp>
              <p:nvSpPr>
                <p:cNvPr id="338" name="Grafik 21">
                  <a:extLst>
                    <a:ext uri="{FF2B5EF4-FFF2-40B4-BE49-F238E27FC236}">
                      <a16:creationId xmlns:a16="http://schemas.microsoft.com/office/drawing/2014/main" id="{8D1ECDD5-0587-F6A2-7B58-A7EFC2D1EBF9}"/>
                    </a:ext>
                  </a:extLst>
                </p:cNvPr>
                <p:cNvSpPr/>
                <p:nvPr/>
              </p:nvSpPr>
              <p:spPr bwMode="gray">
                <a:xfrm>
                  <a:off x="6026871" y="3482553"/>
                  <a:ext cx="131206" cy="131230"/>
                </a:xfrm>
                <a:custGeom>
                  <a:avLst/>
                  <a:gdLst>
                    <a:gd name="connsiteX0" fmla="*/ 124087 w 131206"/>
                    <a:gd name="connsiteY0" fmla="*/ 131231 h 131230"/>
                    <a:gd name="connsiteX1" fmla="*/ 119039 w 131206"/>
                    <a:gd name="connsiteY1" fmla="*/ 129135 h 131230"/>
                    <a:gd name="connsiteX2" fmla="*/ 2072 w 131206"/>
                    <a:gd name="connsiteY2" fmla="*/ 12168 h 131230"/>
                    <a:gd name="connsiteX3" fmla="*/ 2072 w 131206"/>
                    <a:gd name="connsiteY3" fmla="*/ 2072 h 131230"/>
                    <a:gd name="connsiteX4" fmla="*/ 12168 w 131206"/>
                    <a:gd name="connsiteY4" fmla="*/ 2072 h 131230"/>
                    <a:gd name="connsiteX5" fmla="*/ 129135 w 131206"/>
                    <a:gd name="connsiteY5" fmla="*/ 119039 h 131230"/>
                    <a:gd name="connsiteX6" fmla="*/ 129135 w 131206"/>
                    <a:gd name="connsiteY6" fmla="*/ 129135 h 131230"/>
                    <a:gd name="connsiteX7" fmla="*/ 124087 w 131206"/>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06" h="131230">
                      <a:moveTo>
                        <a:pt x="124087" y="131231"/>
                      </a:moveTo>
                      <a:cubicBezTo>
                        <a:pt x="122277" y="131231"/>
                        <a:pt x="120467" y="130564"/>
                        <a:pt x="119039" y="129135"/>
                      </a:cubicBezTo>
                      <a:lnTo>
                        <a:pt x="2072" y="12168"/>
                      </a:lnTo>
                      <a:cubicBezTo>
                        <a:pt x="-691" y="9406"/>
                        <a:pt x="-691" y="4834"/>
                        <a:pt x="2072" y="2072"/>
                      </a:cubicBezTo>
                      <a:cubicBezTo>
                        <a:pt x="4834" y="-691"/>
                        <a:pt x="9406" y="-691"/>
                        <a:pt x="12168" y="2072"/>
                      </a:cubicBezTo>
                      <a:lnTo>
                        <a:pt x="129135" y="119039"/>
                      </a:lnTo>
                      <a:cubicBezTo>
                        <a:pt x="131897" y="121801"/>
                        <a:pt x="131897" y="126373"/>
                        <a:pt x="129135" y="129135"/>
                      </a:cubicBezTo>
                      <a:cubicBezTo>
                        <a:pt x="127802" y="130564"/>
                        <a:pt x="125897" y="131231"/>
                        <a:pt x="124087" y="131231"/>
                      </a:cubicBezTo>
                      <a:close/>
                    </a:path>
                  </a:pathLst>
                </a:custGeom>
                <a:grpFill/>
                <a:ln w="9525" cap="flat">
                  <a:noFill/>
                  <a:prstDash val="solid"/>
                  <a:miter/>
                </a:ln>
              </p:spPr>
              <p:txBody>
                <a:bodyPr rtlCol="0" anchor="ctr"/>
                <a:lstStyle/>
                <a:p>
                  <a:endParaRPr lang="de-DE"/>
                </a:p>
              </p:txBody>
            </p:sp>
            <p:grpSp>
              <p:nvGrpSpPr>
                <p:cNvPr id="339" name="Grafik 21">
                  <a:extLst>
                    <a:ext uri="{FF2B5EF4-FFF2-40B4-BE49-F238E27FC236}">
                      <a16:creationId xmlns:a16="http://schemas.microsoft.com/office/drawing/2014/main" id="{F4EA56BC-1578-9D36-E5BB-FAD530C4C0EE}"/>
                    </a:ext>
                  </a:extLst>
                </p:cNvPr>
                <p:cNvGrpSpPr/>
                <p:nvPr/>
              </p:nvGrpSpPr>
              <p:grpSpPr bwMode="gray">
                <a:xfrm>
                  <a:off x="6146672" y="3577518"/>
                  <a:ext cx="95059" cy="58459"/>
                  <a:chOff x="6146672" y="3577518"/>
                  <a:chExt cx="95059" cy="58459"/>
                </a:xfrm>
                <a:grpFill/>
              </p:grpSpPr>
              <p:sp>
                <p:nvSpPr>
                  <p:cNvPr id="340" name="Grafik 21">
                    <a:extLst>
                      <a:ext uri="{FF2B5EF4-FFF2-40B4-BE49-F238E27FC236}">
                        <a16:creationId xmlns:a16="http://schemas.microsoft.com/office/drawing/2014/main" id="{B286D2AA-294B-1E5A-F519-4F162A6DF633}"/>
                      </a:ext>
                    </a:extLst>
                  </p:cNvPr>
                  <p:cNvSpPr/>
                  <p:nvPr/>
                </p:nvSpPr>
                <p:spPr bwMode="gray">
                  <a:xfrm>
                    <a:off x="6146672" y="35995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41" name="Grafik 21">
                    <a:extLst>
                      <a:ext uri="{FF2B5EF4-FFF2-40B4-BE49-F238E27FC236}">
                        <a16:creationId xmlns:a16="http://schemas.microsoft.com/office/drawing/2014/main" id="{703B2E25-CE25-4641-D63E-DB4280C3D4F6}"/>
                      </a:ext>
                    </a:extLst>
                  </p:cNvPr>
                  <p:cNvSpPr/>
                  <p:nvPr/>
                </p:nvSpPr>
                <p:spPr bwMode="gray">
                  <a:xfrm>
                    <a:off x="6205370" y="3577518"/>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42" name="Grafik 21">
                    <a:extLst>
                      <a:ext uri="{FF2B5EF4-FFF2-40B4-BE49-F238E27FC236}">
                        <a16:creationId xmlns:a16="http://schemas.microsoft.com/office/drawing/2014/main" id="{BD8A2068-A3A9-89E3-CE74-65A86C219D01}"/>
                      </a:ext>
                    </a:extLst>
                  </p:cNvPr>
                  <p:cNvSpPr/>
                  <p:nvPr/>
                </p:nvSpPr>
                <p:spPr bwMode="gray">
                  <a:xfrm>
                    <a:off x="6205370" y="3599616"/>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95"/>
                          <a:pt x="8930" y="36362"/>
                          <a:pt x="7120" y="36362"/>
                        </a:cubicBezTo>
                        <a:close/>
                      </a:path>
                    </a:pathLst>
                  </a:custGeom>
                  <a:grpFill/>
                  <a:ln w="9525" cap="flat">
                    <a:noFill/>
                    <a:prstDash val="solid"/>
                    <a:miter/>
                  </a:ln>
                </p:spPr>
                <p:txBody>
                  <a:bodyPr rtlCol="0" anchor="ctr"/>
                  <a:lstStyle/>
                  <a:p>
                    <a:endParaRPr lang="de-DE"/>
                  </a:p>
                </p:txBody>
              </p:sp>
            </p:grpSp>
          </p:grpSp>
          <p:grpSp>
            <p:nvGrpSpPr>
              <p:cNvPr id="327" name="Grafik 21">
                <a:extLst>
                  <a:ext uri="{FF2B5EF4-FFF2-40B4-BE49-F238E27FC236}">
                    <a16:creationId xmlns:a16="http://schemas.microsoft.com/office/drawing/2014/main" id="{CDB85BFB-B5AF-7A3C-05E7-78A97411CAC6}"/>
                  </a:ext>
                </a:extLst>
              </p:cNvPr>
              <p:cNvGrpSpPr/>
              <p:nvPr/>
            </p:nvGrpSpPr>
            <p:grpSpPr bwMode="gray">
              <a:xfrm>
                <a:off x="5945695" y="3460455"/>
                <a:ext cx="296036" cy="175617"/>
                <a:chOff x="5945695" y="3460455"/>
                <a:chExt cx="296036" cy="175617"/>
              </a:xfrm>
              <a:grpFill/>
            </p:grpSpPr>
            <p:grpSp>
              <p:nvGrpSpPr>
                <p:cNvPr id="328" name="Grafik 21">
                  <a:extLst>
                    <a:ext uri="{FF2B5EF4-FFF2-40B4-BE49-F238E27FC236}">
                      <a16:creationId xmlns:a16="http://schemas.microsoft.com/office/drawing/2014/main" id="{C0C99718-6F36-9C9C-A98F-ED92512B432B}"/>
                    </a:ext>
                  </a:extLst>
                </p:cNvPr>
                <p:cNvGrpSpPr/>
                <p:nvPr/>
              </p:nvGrpSpPr>
              <p:grpSpPr bwMode="gray">
                <a:xfrm>
                  <a:off x="6146672" y="3460455"/>
                  <a:ext cx="95059" cy="58554"/>
                  <a:chOff x="6146672" y="3460455"/>
                  <a:chExt cx="95059" cy="58554"/>
                </a:xfrm>
                <a:grpFill/>
              </p:grpSpPr>
              <p:sp>
                <p:nvSpPr>
                  <p:cNvPr id="334" name="Grafik 21">
                    <a:extLst>
                      <a:ext uri="{FF2B5EF4-FFF2-40B4-BE49-F238E27FC236}">
                        <a16:creationId xmlns:a16="http://schemas.microsoft.com/office/drawing/2014/main" id="{26FF8F01-07A8-1910-5935-12A61B96048F}"/>
                      </a:ext>
                    </a:extLst>
                  </p:cNvPr>
                  <p:cNvSpPr/>
                  <p:nvPr/>
                </p:nvSpPr>
                <p:spPr bwMode="gray">
                  <a:xfrm>
                    <a:off x="6146672"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35" name="Grafik 21">
                    <a:extLst>
                      <a:ext uri="{FF2B5EF4-FFF2-40B4-BE49-F238E27FC236}">
                        <a16:creationId xmlns:a16="http://schemas.microsoft.com/office/drawing/2014/main" id="{E2C7BD4D-84D4-E3A6-0D02-F1C1FF6A7AF5}"/>
                      </a:ext>
                    </a:extLst>
                  </p:cNvPr>
                  <p:cNvSpPr/>
                  <p:nvPr/>
                </p:nvSpPr>
                <p:spPr bwMode="gray">
                  <a:xfrm>
                    <a:off x="6205370" y="3460455"/>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36" name="Grafik 21">
                    <a:extLst>
                      <a:ext uri="{FF2B5EF4-FFF2-40B4-BE49-F238E27FC236}">
                        <a16:creationId xmlns:a16="http://schemas.microsoft.com/office/drawing/2014/main" id="{46361E0A-DD09-347D-05BA-1F388DD4BC71}"/>
                      </a:ext>
                    </a:extLst>
                  </p:cNvPr>
                  <p:cNvSpPr/>
                  <p:nvPr/>
                </p:nvSpPr>
                <p:spPr bwMode="gray">
                  <a:xfrm>
                    <a:off x="6205370" y="3482649"/>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00"/>
                          <a:pt x="8930" y="36362"/>
                          <a:pt x="7120" y="36362"/>
                        </a:cubicBezTo>
                        <a:close/>
                      </a:path>
                    </a:pathLst>
                  </a:custGeom>
                  <a:grpFill/>
                  <a:ln w="9525" cap="flat">
                    <a:noFill/>
                    <a:prstDash val="solid"/>
                    <a:miter/>
                  </a:ln>
                </p:spPr>
                <p:txBody>
                  <a:bodyPr rtlCol="0" anchor="ctr"/>
                  <a:lstStyle/>
                  <a:p>
                    <a:endParaRPr lang="de-DE"/>
                  </a:p>
                </p:txBody>
              </p:sp>
            </p:grpSp>
            <p:sp>
              <p:nvSpPr>
                <p:cNvPr id="329" name="Grafik 21">
                  <a:extLst>
                    <a:ext uri="{FF2B5EF4-FFF2-40B4-BE49-F238E27FC236}">
                      <a16:creationId xmlns:a16="http://schemas.microsoft.com/office/drawing/2014/main" id="{5945F985-61E9-62DD-A1C3-9B9A2B855E1D}"/>
                    </a:ext>
                  </a:extLst>
                </p:cNvPr>
                <p:cNvSpPr/>
                <p:nvPr/>
              </p:nvSpPr>
              <p:spPr bwMode="gray">
                <a:xfrm>
                  <a:off x="6029348" y="3482649"/>
                  <a:ext cx="131302" cy="131230"/>
                </a:xfrm>
                <a:custGeom>
                  <a:avLst/>
                  <a:gdLst>
                    <a:gd name="connsiteX0" fmla="*/ 7120 w 131302"/>
                    <a:gd name="connsiteY0" fmla="*/ 131231 h 131230"/>
                    <a:gd name="connsiteX1" fmla="*/ 2072 w 131302"/>
                    <a:gd name="connsiteY1" fmla="*/ 129135 h 131230"/>
                    <a:gd name="connsiteX2" fmla="*/ 2072 w 131302"/>
                    <a:gd name="connsiteY2" fmla="*/ 119039 h 131230"/>
                    <a:gd name="connsiteX3" fmla="*/ 119134 w 131302"/>
                    <a:gd name="connsiteY3" fmla="*/ 2072 h 131230"/>
                    <a:gd name="connsiteX4" fmla="*/ 129230 w 131302"/>
                    <a:gd name="connsiteY4" fmla="*/ 2072 h 131230"/>
                    <a:gd name="connsiteX5" fmla="*/ 129230 w 131302"/>
                    <a:gd name="connsiteY5" fmla="*/ 12168 h 131230"/>
                    <a:gd name="connsiteX6" fmla="*/ 12168 w 131302"/>
                    <a:gd name="connsiteY6" fmla="*/ 129135 h 131230"/>
                    <a:gd name="connsiteX7" fmla="*/ 7120 w 131302"/>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2" h="131230">
                      <a:moveTo>
                        <a:pt x="7120" y="131231"/>
                      </a:moveTo>
                      <a:cubicBezTo>
                        <a:pt x="5310" y="131231"/>
                        <a:pt x="3500" y="130564"/>
                        <a:pt x="2072" y="129135"/>
                      </a:cubicBezTo>
                      <a:cubicBezTo>
                        <a:pt x="-691" y="126373"/>
                        <a:pt x="-691" y="121801"/>
                        <a:pt x="2072" y="119039"/>
                      </a:cubicBezTo>
                      <a:lnTo>
                        <a:pt x="119134" y="2072"/>
                      </a:lnTo>
                      <a:cubicBezTo>
                        <a:pt x="121896" y="-691"/>
                        <a:pt x="126468" y="-691"/>
                        <a:pt x="129230" y="2072"/>
                      </a:cubicBezTo>
                      <a:cubicBezTo>
                        <a:pt x="131993" y="4834"/>
                        <a:pt x="131993" y="9406"/>
                        <a:pt x="129230" y="12168"/>
                      </a:cubicBezTo>
                      <a:lnTo>
                        <a:pt x="12168" y="129135"/>
                      </a:lnTo>
                      <a:cubicBezTo>
                        <a:pt x="10835" y="130469"/>
                        <a:pt x="8930" y="131231"/>
                        <a:pt x="7120" y="131231"/>
                      </a:cubicBezTo>
                      <a:close/>
                    </a:path>
                  </a:pathLst>
                </a:custGeom>
                <a:grpFill/>
                <a:ln w="9525" cap="flat">
                  <a:noFill/>
                  <a:prstDash val="solid"/>
                  <a:miter/>
                </a:ln>
              </p:spPr>
              <p:txBody>
                <a:bodyPr rtlCol="0" anchor="ctr"/>
                <a:lstStyle/>
                <a:p>
                  <a:endParaRPr lang="de-DE"/>
                </a:p>
              </p:txBody>
            </p:sp>
            <p:grpSp>
              <p:nvGrpSpPr>
                <p:cNvPr id="330" name="Grafik 21">
                  <a:extLst>
                    <a:ext uri="{FF2B5EF4-FFF2-40B4-BE49-F238E27FC236}">
                      <a16:creationId xmlns:a16="http://schemas.microsoft.com/office/drawing/2014/main" id="{B747B0A3-C0B1-1B2A-CD75-6F6EA763E25A}"/>
                    </a:ext>
                  </a:extLst>
                </p:cNvPr>
                <p:cNvGrpSpPr/>
                <p:nvPr/>
              </p:nvGrpSpPr>
              <p:grpSpPr bwMode="gray">
                <a:xfrm>
                  <a:off x="5945695" y="3577613"/>
                  <a:ext cx="95059" cy="58459"/>
                  <a:chOff x="5945695" y="3577613"/>
                  <a:chExt cx="95059" cy="58459"/>
                </a:xfrm>
                <a:grpFill/>
              </p:grpSpPr>
              <p:sp>
                <p:nvSpPr>
                  <p:cNvPr id="331" name="Grafik 21">
                    <a:extLst>
                      <a:ext uri="{FF2B5EF4-FFF2-40B4-BE49-F238E27FC236}">
                        <a16:creationId xmlns:a16="http://schemas.microsoft.com/office/drawing/2014/main" id="{3F06426B-8E02-1CF9-994B-D464104EC40E}"/>
                      </a:ext>
                    </a:extLst>
                  </p:cNvPr>
                  <p:cNvSpPr/>
                  <p:nvPr/>
                </p:nvSpPr>
                <p:spPr bwMode="gray">
                  <a:xfrm>
                    <a:off x="5945695" y="359968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32" name="Grafik 21">
                    <a:extLst>
                      <a:ext uri="{FF2B5EF4-FFF2-40B4-BE49-F238E27FC236}">
                        <a16:creationId xmlns:a16="http://schemas.microsoft.com/office/drawing/2014/main" id="{823ABCDA-3F68-1FB6-F80B-A350B3EBFAC8}"/>
                      </a:ext>
                    </a:extLst>
                  </p:cNvPr>
                  <p:cNvSpPr/>
                  <p:nvPr/>
                </p:nvSpPr>
                <p:spPr bwMode="gray">
                  <a:xfrm>
                    <a:off x="5945718" y="3577613"/>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95"/>
                          <a:pt x="9025" y="36362"/>
                          <a:pt x="7120" y="36362"/>
                        </a:cubicBezTo>
                        <a:close/>
                      </a:path>
                    </a:pathLst>
                  </a:custGeom>
                  <a:grpFill/>
                  <a:ln w="9525" cap="flat">
                    <a:noFill/>
                    <a:prstDash val="solid"/>
                    <a:miter/>
                  </a:ln>
                </p:spPr>
                <p:txBody>
                  <a:bodyPr rtlCol="0" anchor="ctr"/>
                  <a:lstStyle/>
                  <a:p>
                    <a:endParaRPr lang="de-DE"/>
                  </a:p>
                </p:txBody>
              </p:sp>
              <p:sp>
                <p:nvSpPr>
                  <p:cNvPr id="333" name="Grafik 21">
                    <a:extLst>
                      <a:ext uri="{FF2B5EF4-FFF2-40B4-BE49-F238E27FC236}">
                        <a16:creationId xmlns:a16="http://schemas.microsoft.com/office/drawing/2014/main" id="{F92E0BE6-8D76-737C-B135-C63AE0E48509}"/>
                      </a:ext>
                    </a:extLst>
                  </p:cNvPr>
                  <p:cNvSpPr/>
                  <p:nvPr/>
                </p:nvSpPr>
                <p:spPr bwMode="gray">
                  <a:xfrm>
                    <a:off x="5945814" y="3599711"/>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grpSp>
        </p:grpSp>
      </p:grpSp>
      <p:grpSp>
        <p:nvGrpSpPr>
          <p:cNvPr id="362" name="Grafik 23">
            <a:extLst>
              <a:ext uri="{FF2B5EF4-FFF2-40B4-BE49-F238E27FC236}">
                <a16:creationId xmlns:a16="http://schemas.microsoft.com/office/drawing/2014/main" id="{AF3A967A-CFC2-8AA9-1D18-4535B396234D}"/>
              </a:ext>
            </a:extLst>
          </p:cNvPr>
          <p:cNvGrpSpPr/>
          <p:nvPr/>
        </p:nvGrpSpPr>
        <p:grpSpPr bwMode="gray">
          <a:xfrm>
            <a:off x="2724271" y="2940797"/>
            <a:ext cx="374400" cy="374400"/>
            <a:chOff x="5843587" y="3176587"/>
            <a:chExt cx="500253" cy="500253"/>
          </a:xfrm>
          <a:solidFill>
            <a:schemeClr val="tx1"/>
          </a:solidFill>
        </p:grpSpPr>
        <p:grpSp>
          <p:nvGrpSpPr>
            <p:cNvPr id="363" name="Grafik 23">
              <a:extLst>
                <a:ext uri="{FF2B5EF4-FFF2-40B4-BE49-F238E27FC236}">
                  <a16:creationId xmlns:a16="http://schemas.microsoft.com/office/drawing/2014/main" id="{793FBFED-972C-DD50-135B-A23718CBD1CB}"/>
                </a:ext>
              </a:extLst>
            </p:cNvPr>
            <p:cNvGrpSpPr/>
            <p:nvPr/>
          </p:nvGrpSpPr>
          <p:grpSpPr bwMode="gray">
            <a:xfrm>
              <a:off x="6022109" y="3421474"/>
              <a:ext cx="78462" cy="75342"/>
              <a:chOff x="6022109" y="3421474"/>
              <a:chExt cx="78462" cy="75342"/>
            </a:xfrm>
            <a:grpFill/>
          </p:grpSpPr>
          <p:grpSp>
            <p:nvGrpSpPr>
              <p:cNvPr id="399" name="Grafik 23">
                <a:extLst>
                  <a:ext uri="{FF2B5EF4-FFF2-40B4-BE49-F238E27FC236}">
                    <a16:creationId xmlns:a16="http://schemas.microsoft.com/office/drawing/2014/main" id="{E8716EBE-756B-1527-C265-90726ED4D09C}"/>
                  </a:ext>
                </a:extLst>
              </p:cNvPr>
              <p:cNvGrpSpPr/>
              <p:nvPr/>
            </p:nvGrpSpPr>
            <p:grpSpPr bwMode="gray">
              <a:xfrm>
                <a:off x="6022109" y="3421474"/>
                <a:ext cx="46553" cy="46291"/>
                <a:chOff x="6022109" y="3421474"/>
                <a:chExt cx="46553" cy="46291"/>
              </a:xfrm>
              <a:grpFill/>
            </p:grpSpPr>
            <p:sp>
              <p:nvSpPr>
                <p:cNvPr id="404" name="Grafik 23">
                  <a:extLst>
                    <a:ext uri="{FF2B5EF4-FFF2-40B4-BE49-F238E27FC236}">
                      <a16:creationId xmlns:a16="http://schemas.microsoft.com/office/drawing/2014/main" id="{F60A0997-4DCF-3FD4-DD5C-E991B25040D3}"/>
                    </a:ext>
                  </a:extLst>
                </p:cNvPr>
                <p:cNvSpPr/>
                <p:nvPr/>
              </p:nvSpPr>
              <p:spPr bwMode="gray">
                <a:xfrm>
                  <a:off x="6022109" y="3421498"/>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5" name="Grafik 23">
                  <a:extLst>
                    <a:ext uri="{FF2B5EF4-FFF2-40B4-BE49-F238E27FC236}">
                      <a16:creationId xmlns:a16="http://schemas.microsoft.com/office/drawing/2014/main" id="{B6143DE4-3BF9-9FB3-52DC-0DD3DF8CFCAE}"/>
                    </a:ext>
                  </a:extLst>
                </p:cNvPr>
                <p:cNvSpPr/>
                <p:nvPr/>
              </p:nvSpPr>
              <p:spPr bwMode="gray">
                <a:xfrm>
                  <a:off x="6037134" y="3421474"/>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7908" y="14288"/>
                        <a:pt x="24003" y="14288"/>
                      </a:cubicBezTo>
                      <a:close/>
                    </a:path>
                  </a:pathLst>
                </a:custGeom>
                <a:grpFill/>
                <a:ln w="9525" cap="flat">
                  <a:noFill/>
                  <a:prstDash val="solid"/>
                  <a:miter/>
                </a:ln>
              </p:spPr>
              <p:txBody>
                <a:bodyPr rtlCol="0" anchor="ctr"/>
                <a:lstStyle/>
                <a:p>
                  <a:endParaRPr lang="de-DE"/>
                </a:p>
              </p:txBody>
            </p:sp>
            <p:sp>
              <p:nvSpPr>
                <p:cNvPr id="406" name="Grafik 23">
                  <a:extLst>
                    <a:ext uri="{FF2B5EF4-FFF2-40B4-BE49-F238E27FC236}">
                      <a16:creationId xmlns:a16="http://schemas.microsoft.com/office/drawing/2014/main" id="{9BCB0672-A80D-9A81-B5B7-2674A55FF990}"/>
                    </a:ext>
                  </a:extLst>
                </p:cNvPr>
                <p:cNvSpPr/>
                <p:nvPr/>
              </p:nvSpPr>
              <p:spPr bwMode="gray">
                <a:xfrm>
                  <a:off x="6054375" y="3421474"/>
                  <a:ext cx="14287" cy="31813"/>
                </a:xfrm>
                <a:custGeom>
                  <a:avLst/>
                  <a:gdLst>
                    <a:gd name="connsiteX0" fmla="*/ 7144 w 14287"/>
                    <a:gd name="connsiteY0" fmla="*/ 31814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4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4"/>
                      </a:moveTo>
                      <a:cubicBezTo>
                        <a:pt x="3239" y="31814"/>
                        <a:pt x="0" y="28575"/>
                        <a:pt x="0" y="24670"/>
                      </a:cubicBezTo>
                      <a:lnTo>
                        <a:pt x="0" y="7144"/>
                      </a:lnTo>
                      <a:cubicBezTo>
                        <a:pt x="0" y="3239"/>
                        <a:pt x="3239" y="0"/>
                        <a:pt x="7144" y="0"/>
                      </a:cubicBezTo>
                      <a:cubicBezTo>
                        <a:pt x="11049" y="0"/>
                        <a:pt x="14288" y="3239"/>
                        <a:pt x="14288" y="7144"/>
                      </a:cubicBezTo>
                      <a:lnTo>
                        <a:pt x="14288" y="24670"/>
                      </a:lnTo>
                      <a:cubicBezTo>
                        <a:pt x="14288" y="28575"/>
                        <a:pt x="11144" y="31814"/>
                        <a:pt x="7144" y="31814"/>
                      </a:cubicBezTo>
                      <a:close/>
                    </a:path>
                  </a:pathLst>
                </a:custGeom>
                <a:grpFill/>
                <a:ln w="9525" cap="flat">
                  <a:noFill/>
                  <a:prstDash val="solid"/>
                  <a:miter/>
                </a:ln>
              </p:spPr>
              <p:txBody>
                <a:bodyPr rtlCol="0" anchor="ctr"/>
                <a:lstStyle/>
                <a:p>
                  <a:endParaRPr lang="de-DE"/>
                </a:p>
              </p:txBody>
            </p:sp>
          </p:grpSp>
          <p:grpSp>
            <p:nvGrpSpPr>
              <p:cNvPr id="400" name="Grafik 23">
                <a:extLst>
                  <a:ext uri="{FF2B5EF4-FFF2-40B4-BE49-F238E27FC236}">
                    <a16:creationId xmlns:a16="http://schemas.microsoft.com/office/drawing/2014/main" id="{79834A7E-2EE8-D294-D27D-D068FF00E51D}"/>
                  </a:ext>
                </a:extLst>
              </p:cNvPr>
              <p:cNvGrpSpPr/>
              <p:nvPr/>
            </p:nvGrpSpPr>
            <p:grpSpPr bwMode="gray">
              <a:xfrm>
                <a:off x="6054018" y="3450526"/>
                <a:ext cx="46553" cy="46291"/>
                <a:chOff x="6054018" y="3450526"/>
                <a:chExt cx="46553" cy="46291"/>
              </a:xfrm>
              <a:grpFill/>
            </p:grpSpPr>
            <p:sp>
              <p:nvSpPr>
                <p:cNvPr id="401" name="Grafik 23">
                  <a:extLst>
                    <a:ext uri="{FF2B5EF4-FFF2-40B4-BE49-F238E27FC236}">
                      <a16:creationId xmlns:a16="http://schemas.microsoft.com/office/drawing/2014/main" id="{E7F10C07-38D1-74E2-86AF-214E2945F692}"/>
                    </a:ext>
                  </a:extLst>
                </p:cNvPr>
                <p:cNvSpPr/>
                <p:nvPr/>
              </p:nvSpPr>
              <p:spPr bwMode="gray">
                <a:xfrm>
                  <a:off x="6054018" y="3450549"/>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2" name="Grafik 23">
                  <a:extLst>
                    <a:ext uri="{FF2B5EF4-FFF2-40B4-BE49-F238E27FC236}">
                      <a16:creationId xmlns:a16="http://schemas.microsoft.com/office/drawing/2014/main" id="{19BDD20D-B57C-D65E-EB35-ABD83439A9DA}"/>
                    </a:ext>
                  </a:extLst>
                </p:cNvPr>
                <p:cNvSpPr/>
                <p:nvPr/>
              </p:nvSpPr>
              <p:spPr bwMode="gray">
                <a:xfrm>
                  <a:off x="6068948" y="3450526"/>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8004" y="14288"/>
                        <a:pt x="24003" y="14288"/>
                      </a:cubicBezTo>
                      <a:close/>
                    </a:path>
                  </a:pathLst>
                </a:custGeom>
                <a:grpFill/>
                <a:ln w="9525" cap="flat">
                  <a:noFill/>
                  <a:prstDash val="solid"/>
                  <a:miter/>
                </a:ln>
              </p:spPr>
              <p:txBody>
                <a:bodyPr rtlCol="0" anchor="ctr"/>
                <a:lstStyle/>
                <a:p>
                  <a:endParaRPr lang="de-DE"/>
                </a:p>
              </p:txBody>
            </p:sp>
            <p:sp>
              <p:nvSpPr>
                <p:cNvPr id="403" name="Grafik 23">
                  <a:extLst>
                    <a:ext uri="{FF2B5EF4-FFF2-40B4-BE49-F238E27FC236}">
                      <a16:creationId xmlns:a16="http://schemas.microsoft.com/office/drawing/2014/main" id="{447F7514-238D-194E-93F3-B74F9A70718E}"/>
                    </a:ext>
                  </a:extLst>
                </p:cNvPr>
                <p:cNvSpPr/>
                <p:nvPr/>
              </p:nvSpPr>
              <p:spPr bwMode="gray">
                <a:xfrm>
                  <a:off x="6086283" y="3450526"/>
                  <a:ext cx="14287" cy="31813"/>
                </a:xfrm>
                <a:custGeom>
                  <a:avLst/>
                  <a:gdLst>
                    <a:gd name="connsiteX0" fmla="*/ 7144 w 14287"/>
                    <a:gd name="connsiteY0" fmla="*/ 31813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3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3"/>
                      </a:moveTo>
                      <a:cubicBezTo>
                        <a:pt x="3239" y="31813"/>
                        <a:pt x="0" y="28575"/>
                        <a:pt x="0" y="24670"/>
                      </a:cubicBezTo>
                      <a:lnTo>
                        <a:pt x="0" y="7144"/>
                      </a:lnTo>
                      <a:cubicBezTo>
                        <a:pt x="0" y="3239"/>
                        <a:pt x="3239" y="0"/>
                        <a:pt x="7144" y="0"/>
                      </a:cubicBezTo>
                      <a:cubicBezTo>
                        <a:pt x="11049" y="0"/>
                        <a:pt x="14288" y="3239"/>
                        <a:pt x="14288" y="7144"/>
                      </a:cubicBezTo>
                      <a:lnTo>
                        <a:pt x="14288" y="24670"/>
                      </a:lnTo>
                      <a:cubicBezTo>
                        <a:pt x="14288" y="28670"/>
                        <a:pt x="11144" y="31813"/>
                        <a:pt x="7144" y="31813"/>
                      </a:cubicBezTo>
                      <a:close/>
                    </a:path>
                  </a:pathLst>
                </a:custGeom>
                <a:grpFill/>
                <a:ln w="9525" cap="flat">
                  <a:noFill/>
                  <a:prstDash val="solid"/>
                  <a:miter/>
                </a:ln>
              </p:spPr>
              <p:txBody>
                <a:bodyPr rtlCol="0" anchor="ctr"/>
                <a:lstStyle/>
                <a:p>
                  <a:endParaRPr lang="de-DE"/>
                </a:p>
              </p:txBody>
            </p:sp>
          </p:grpSp>
        </p:grpSp>
        <p:grpSp>
          <p:nvGrpSpPr>
            <p:cNvPr id="364" name="Grafik 23">
              <a:extLst>
                <a:ext uri="{FF2B5EF4-FFF2-40B4-BE49-F238E27FC236}">
                  <a16:creationId xmlns:a16="http://schemas.microsoft.com/office/drawing/2014/main" id="{F7EDB83F-36C1-0E18-DF60-CACEA8471E09}"/>
                </a:ext>
              </a:extLst>
            </p:cNvPr>
            <p:cNvGrpSpPr/>
            <p:nvPr/>
          </p:nvGrpSpPr>
          <p:grpSpPr bwMode="gray">
            <a:xfrm>
              <a:off x="5892164" y="3290029"/>
              <a:ext cx="117324" cy="117347"/>
              <a:chOff x="5892164" y="3290029"/>
              <a:chExt cx="117324" cy="117347"/>
            </a:xfrm>
            <a:grpFill/>
          </p:grpSpPr>
          <p:grpSp>
            <p:nvGrpSpPr>
              <p:cNvPr id="393" name="Grafik 23">
                <a:extLst>
                  <a:ext uri="{FF2B5EF4-FFF2-40B4-BE49-F238E27FC236}">
                    <a16:creationId xmlns:a16="http://schemas.microsoft.com/office/drawing/2014/main" id="{E293ADC3-3692-A25E-7DFB-5898DC9621C5}"/>
                  </a:ext>
                </a:extLst>
              </p:cNvPr>
              <p:cNvGrpSpPr/>
              <p:nvPr/>
            </p:nvGrpSpPr>
            <p:grpSpPr bwMode="gray">
              <a:xfrm>
                <a:off x="5892164" y="3290029"/>
                <a:ext cx="79152" cy="79057"/>
                <a:chOff x="5892164" y="3290029"/>
                <a:chExt cx="79152" cy="79057"/>
              </a:xfrm>
              <a:grpFill/>
            </p:grpSpPr>
            <p:sp>
              <p:nvSpPr>
                <p:cNvPr id="397" name="Grafik 23">
                  <a:extLst>
                    <a:ext uri="{FF2B5EF4-FFF2-40B4-BE49-F238E27FC236}">
                      <a16:creationId xmlns:a16="http://schemas.microsoft.com/office/drawing/2014/main" id="{2B3476FE-9BEE-A7DD-DF9B-DEC7DB8BBD0E}"/>
                    </a:ext>
                  </a:extLst>
                </p:cNvPr>
                <p:cNvSpPr/>
                <p:nvPr/>
              </p:nvSpPr>
              <p:spPr bwMode="gray">
                <a:xfrm>
                  <a:off x="589216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144" y="79057"/>
                        <a:pt x="7144" y="79057"/>
                      </a:cubicBezTo>
                      <a:close/>
                    </a:path>
                  </a:pathLst>
                </a:custGeom>
                <a:grpFill/>
                <a:ln w="9525" cap="flat">
                  <a:noFill/>
                  <a:prstDash val="solid"/>
                  <a:miter/>
                </a:ln>
              </p:spPr>
              <p:txBody>
                <a:bodyPr rtlCol="0" anchor="ctr"/>
                <a:lstStyle/>
                <a:p>
                  <a:endParaRPr lang="de-DE"/>
                </a:p>
              </p:txBody>
            </p:sp>
            <p:sp>
              <p:nvSpPr>
                <p:cNvPr id="398" name="Grafik 23">
                  <a:extLst>
                    <a:ext uri="{FF2B5EF4-FFF2-40B4-BE49-F238E27FC236}">
                      <a16:creationId xmlns:a16="http://schemas.microsoft.com/office/drawing/2014/main" id="{A17355D4-82D7-7F9D-A5CE-2FFE053A2539}"/>
                    </a:ext>
                  </a:extLst>
                </p:cNvPr>
                <p:cNvSpPr/>
                <p:nvPr/>
              </p:nvSpPr>
              <p:spPr bwMode="gray">
                <a:xfrm>
                  <a:off x="5892259"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394" name="Grafik 23">
                <a:extLst>
                  <a:ext uri="{FF2B5EF4-FFF2-40B4-BE49-F238E27FC236}">
                    <a16:creationId xmlns:a16="http://schemas.microsoft.com/office/drawing/2014/main" id="{FE3096BD-9C93-6D46-CAF4-FF90951BFEA4}"/>
                  </a:ext>
                </a:extLst>
              </p:cNvPr>
              <p:cNvSpPr/>
              <p:nvPr/>
            </p:nvSpPr>
            <p:spPr bwMode="gray">
              <a:xfrm>
                <a:off x="5914286" y="3312056"/>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5" name="Grafik 23">
                <a:extLst>
                  <a:ext uri="{FF2B5EF4-FFF2-40B4-BE49-F238E27FC236}">
                    <a16:creationId xmlns:a16="http://schemas.microsoft.com/office/drawing/2014/main" id="{F1783B14-983A-4A4F-5D7B-55518573BB10}"/>
                  </a:ext>
                </a:extLst>
              </p:cNvPr>
              <p:cNvSpPr/>
              <p:nvPr/>
            </p:nvSpPr>
            <p:spPr bwMode="gray">
              <a:xfrm>
                <a:off x="5946671" y="334444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122" y="30456"/>
                      <a:pt x="23312" y="30456"/>
                    </a:cubicBezTo>
                    <a:close/>
                  </a:path>
                </a:pathLst>
              </a:custGeom>
              <a:grpFill/>
              <a:ln w="9525" cap="flat">
                <a:noFill/>
                <a:prstDash val="solid"/>
                <a:miter/>
              </a:ln>
            </p:spPr>
            <p:txBody>
              <a:bodyPr rtlCol="0" anchor="ctr"/>
              <a:lstStyle/>
              <a:p>
                <a:endParaRPr lang="de-DE"/>
              </a:p>
            </p:txBody>
          </p:sp>
          <p:sp>
            <p:nvSpPr>
              <p:cNvPr id="396" name="Grafik 23">
                <a:extLst>
                  <a:ext uri="{FF2B5EF4-FFF2-40B4-BE49-F238E27FC236}">
                    <a16:creationId xmlns:a16="http://schemas.microsoft.com/office/drawing/2014/main" id="{6E145148-AE90-314E-175F-AD78FE038AE9}"/>
                  </a:ext>
                </a:extLst>
              </p:cNvPr>
              <p:cNvSpPr/>
              <p:nvPr/>
            </p:nvSpPr>
            <p:spPr bwMode="gray">
              <a:xfrm>
                <a:off x="5979056" y="337692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grpSp>
        <p:grpSp>
          <p:nvGrpSpPr>
            <p:cNvPr id="365" name="Grafik 23">
              <a:extLst>
                <a:ext uri="{FF2B5EF4-FFF2-40B4-BE49-F238E27FC236}">
                  <a16:creationId xmlns:a16="http://schemas.microsoft.com/office/drawing/2014/main" id="{64B4BB9E-FD9A-9743-292E-669B906B5E10}"/>
                </a:ext>
              </a:extLst>
            </p:cNvPr>
            <p:cNvGrpSpPr/>
            <p:nvPr/>
          </p:nvGrpSpPr>
          <p:grpSpPr bwMode="gray">
            <a:xfrm>
              <a:off x="6113168" y="3510938"/>
              <a:ext cx="117324" cy="117324"/>
              <a:chOff x="6113168" y="3510938"/>
              <a:chExt cx="117324" cy="117324"/>
            </a:xfrm>
            <a:grpFill/>
          </p:grpSpPr>
          <p:grpSp>
            <p:nvGrpSpPr>
              <p:cNvPr id="387" name="Grafik 23">
                <a:extLst>
                  <a:ext uri="{FF2B5EF4-FFF2-40B4-BE49-F238E27FC236}">
                    <a16:creationId xmlns:a16="http://schemas.microsoft.com/office/drawing/2014/main" id="{EE89B18F-FDB0-928A-613E-EDE0CB7A0B12}"/>
                  </a:ext>
                </a:extLst>
              </p:cNvPr>
              <p:cNvGrpSpPr/>
              <p:nvPr/>
            </p:nvGrpSpPr>
            <p:grpSpPr bwMode="gray">
              <a:xfrm>
                <a:off x="6151434" y="3549204"/>
                <a:ext cx="79057" cy="79057"/>
                <a:chOff x="6151434" y="3549204"/>
                <a:chExt cx="79057" cy="79057"/>
              </a:xfrm>
              <a:grpFill/>
            </p:grpSpPr>
            <p:sp>
              <p:nvSpPr>
                <p:cNvPr id="391" name="Grafik 23">
                  <a:extLst>
                    <a:ext uri="{FF2B5EF4-FFF2-40B4-BE49-F238E27FC236}">
                      <a16:creationId xmlns:a16="http://schemas.microsoft.com/office/drawing/2014/main" id="{A0DE5CF1-A10D-04CC-6AF2-567748B0C3E1}"/>
                    </a:ext>
                  </a:extLst>
                </p:cNvPr>
                <p:cNvSpPr/>
                <p:nvPr/>
              </p:nvSpPr>
              <p:spPr bwMode="gray">
                <a:xfrm>
                  <a:off x="621620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049" y="79057"/>
                        <a:pt x="7144" y="79057"/>
                      </a:cubicBezTo>
                      <a:close/>
                    </a:path>
                  </a:pathLst>
                </a:custGeom>
                <a:grpFill/>
                <a:ln w="9525" cap="flat">
                  <a:noFill/>
                  <a:prstDash val="solid"/>
                  <a:miter/>
                </a:ln>
              </p:spPr>
              <p:txBody>
                <a:bodyPr rtlCol="0" anchor="ctr"/>
                <a:lstStyle/>
                <a:p>
                  <a:endParaRPr lang="de-DE"/>
                </a:p>
              </p:txBody>
            </p:sp>
            <p:sp>
              <p:nvSpPr>
                <p:cNvPr id="392" name="Grafik 23">
                  <a:extLst>
                    <a:ext uri="{FF2B5EF4-FFF2-40B4-BE49-F238E27FC236}">
                      <a16:creationId xmlns:a16="http://schemas.microsoft.com/office/drawing/2014/main" id="{4048BBC5-0136-18BB-E0D5-ED4A3D63A460}"/>
                    </a:ext>
                  </a:extLst>
                </p:cNvPr>
                <p:cNvSpPr/>
                <p:nvPr/>
              </p:nvSpPr>
              <p:spPr bwMode="gray">
                <a:xfrm>
                  <a:off x="6151434"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sp>
            <p:nvSpPr>
              <p:cNvPr id="388" name="Grafik 23">
                <a:extLst>
                  <a:ext uri="{FF2B5EF4-FFF2-40B4-BE49-F238E27FC236}">
                    <a16:creationId xmlns:a16="http://schemas.microsoft.com/office/drawing/2014/main" id="{C2A412F7-7F28-9FAD-01EC-4341648BE3F8}"/>
                  </a:ext>
                </a:extLst>
              </p:cNvPr>
              <p:cNvSpPr/>
              <p:nvPr/>
            </p:nvSpPr>
            <p:spPr bwMode="gray">
              <a:xfrm>
                <a:off x="6177938" y="357580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sp>
            <p:nvSpPr>
              <p:cNvPr id="389" name="Grafik 23">
                <a:extLst>
                  <a:ext uri="{FF2B5EF4-FFF2-40B4-BE49-F238E27FC236}">
                    <a16:creationId xmlns:a16="http://schemas.microsoft.com/office/drawing/2014/main" id="{E9E5789C-7330-20DE-330A-14493CFDED51}"/>
                  </a:ext>
                </a:extLst>
              </p:cNvPr>
              <p:cNvSpPr/>
              <p:nvPr/>
            </p:nvSpPr>
            <p:spPr bwMode="gray">
              <a:xfrm>
                <a:off x="6145553" y="354332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0" name="Grafik 23">
                <a:extLst>
                  <a:ext uri="{FF2B5EF4-FFF2-40B4-BE49-F238E27FC236}">
                    <a16:creationId xmlns:a16="http://schemas.microsoft.com/office/drawing/2014/main" id="{D9F57DC0-C074-97E5-7385-36B546B18BC6}"/>
                  </a:ext>
                </a:extLst>
              </p:cNvPr>
              <p:cNvSpPr/>
              <p:nvPr/>
            </p:nvSpPr>
            <p:spPr bwMode="gray">
              <a:xfrm>
                <a:off x="6113168" y="3510938"/>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grpSp>
        <p:grpSp>
          <p:nvGrpSpPr>
            <p:cNvPr id="366" name="Grafik 23">
              <a:extLst>
                <a:ext uri="{FF2B5EF4-FFF2-40B4-BE49-F238E27FC236}">
                  <a16:creationId xmlns:a16="http://schemas.microsoft.com/office/drawing/2014/main" id="{B7EAD534-11BE-054B-F5EC-460A2F5155C9}"/>
                </a:ext>
              </a:extLst>
            </p:cNvPr>
            <p:cNvGrpSpPr/>
            <p:nvPr/>
          </p:nvGrpSpPr>
          <p:grpSpPr bwMode="gray">
            <a:xfrm>
              <a:off x="5892164" y="3510938"/>
              <a:ext cx="117324" cy="117324"/>
              <a:chOff x="5892164" y="3510938"/>
              <a:chExt cx="117324" cy="117324"/>
            </a:xfrm>
            <a:grpFill/>
          </p:grpSpPr>
          <p:grpSp>
            <p:nvGrpSpPr>
              <p:cNvPr id="381" name="Grafik 23">
                <a:extLst>
                  <a:ext uri="{FF2B5EF4-FFF2-40B4-BE49-F238E27FC236}">
                    <a16:creationId xmlns:a16="http://schemas.microsoft.com/office/drawing/2014/main" id="{D4555781-92AD-89A6-A849-D4C8313932EB}"/>
                  </a:ext>
                </a:extLst>
              </p:cNvPr>
              <p:cNvGrpSpPr/>
              <p:nvPr/>
            </p:nvGrpSpPr>
            <p:grpSpPr bwMode="gray">
              <a:xfrm>
                <a:off x="5892164" y="3549204"/>
                <a:ext cx="79152" cy="79057"/>
                <a:chOff x="5892164" y="3549204"/>
                <a:chExt cx="79152" cy="79057"/>
              </a:xfrm>
              <a:grpFill/>
            </p:grpSpPr>
            <p:sp>
              <p:nvSpPr>
                <p:cNvPr id="385" name="Grafik 23">
                  <a:extLst>
                    <a:ext uri="{FF2B5EF4-FFF2-40B4-BE49-F238E27FC236}">
                      <a16:creationId xmlns:a16="http://schemas.microsoft.com/office/drawing/2014/main" id="{AE1F872E-554C-DDBC-55D3-863C42D5A98F}"/>
                    </a:ext>
                  </a:extLst>
                </p:cNvPr>
                <p:cNvSpPr/>
                <p:nvPr/>
              </p:nvSpPr>
              <p:spPr bwMode="gray">
                <a:xfrm>
                  <a:off x="5892259"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386" name="Grafik 23">
                  <a:extLst>
                    <a:ext uri="{FF2B5EF4-FFF2-40B4-BE49-F238E27FC236}">
                      <a16:creationId xmlns:a16="http://schemas.microsoft.com/office/drawing/2014/main" id="{D6E061A2-E0AB-C88E-8FDF-19EB670CD9F6}"/>
                    </a:ext>
                  </a:extLst>
                </p:cNvPr>
                <p:cNvSpPr/>
                <p:nvPr/>
              </p:nvSpPr>
              <p:spPr bwMode="gray">
                <a:xfrm>
                  <a:off x="589216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144" y="79057"/>
                        <a:pt x="7144" y="79057"/>
                      </a:cubicBezTo>
                      <a:close/>
                    </a:path>
                  </a:pathLst>
                </a:custGeom>
                <a:grpFill/>
                <a:ln w="9525" cap="flat">
                  <a:noFill/>
                  <a:prstDash val="solid"/>
                  <a:miter/>
                </a:ln>
              </p:spPr>
              <p:txBody>
                <a:bodyPr rtlCol="0" anchor="ctr"/>
                <a:lstStyle/>
                <a:p>
                  <a:endParaRPr lang="de-DE"/>
                </a:p>
              </p:txBody>
            </p:sp>
          </p:grpSp>
          <p:sp>
            <p:nvSpPr>
              <p:cNvPr id="382" name="Grafik 23">
                <a:extLst>
                  <a:ext uri="{FF2B5EF4-FFF2-40B4-BE49-F238E27FC236}">
                    <a16:creationId xmlns:a16="http://schemas.microsoft.com/office/drawing/2014/main" id="{97278E4E-0FDF-D308-9A89-6D3717F49343}"/>
                  </a:ext>
                </a:extLst>
              </p:cNvPr>
              <p:cNvSpPr/>
              <p:nvPr/>
            </p:nvSpPr>
            <p:spPr bwMode="gray">
              <a:xfrm>
                <a:off x="5914286" y="357580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383" name="Grafik 23">
                <a:extLst>
                  <a:ext uri="{FF2B5EF4-FFF2-40B4-BE49-F238E27FC236}">
                    <a16:creationId xmlns:a16="http://schemas.microsoft.com/office/drawing/2014/main" id="{6A179D53-4089-E355-D531-C81E377342FA}"/>
                  </a:ext>
                </a:extLst>
              </p:cNvPr>
              <p:cNvSpPr/>
              <p:nvPr/>
            </p:nvSpPr>
            <p:spPr bwMode="gray">
              <a:xfrm>
                <a:off x="5946671" y="354332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84" name="Grafik 23">
                <a:extLst>
                  <a:ext uri="{FF2B5EF4-FFF2-40B4-BE49-F238E27FC236}">
                    <a16:creationId xmlns:a16="http://schemas.microsoft.com/office/drawing/2014/main" id="{A9556E4E-6892-214A-195F-E829716E3C4D}"/>
                  </a:ext>
                </a:extLst>
              </p:cNvPr>
              <p:cNvSpPr/>
              <p:nvPr/>
            </p:nvSpPr>
            <p:spPr bwMode="gray">
              <a:xfrm>
                <a:off x="5979056" y="3510938"/>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grpSp>
        <p:grpSp>
          <p:nvGrpSpPr>
            <p:cNvPr id="367" name="Grafik 23">
              <a:extLst>
                <a:ext uri="{FF2B5EF4-FFF2-40B4-BE49-F238E27FC236}">
                  <a16:creationId xmlns:a16="http://schemas.microsoft.com/office/drawing/2014/main" id="{240864A1-991F-E258-E111-5AEA3FEE2E94}"/>
                </a:ext>
              </a:extLst>
            </p:cNvPr>
            <p:cNvGrpSpPr/>
            <p:nvPr/>
          </p:nvGrpSpPr>
          <p:grpSpPr bwMode="gray">
            <a:xfrm>
              <a:off x="6113168" y="3290029"/>
              <a:ext cx="117324" cy="117347"/>
              <a:chOff x="6113168" y="3290029"/>
              <a:chExt cx="117324" cy="117347"/>
            </a:xfrm>
            <a:grpFill/>
          </p:grpSpPr>
          <p:grpSp>
            <p:nvGrpSpPr>
              <p:cNvPr id="375" name="Grafik 23">
                <a:extLst>
                  <a:ext uri="{FF2B5EF4-FFF2-40B4-BE49-F238E27FC236}">
                    <a16:creationId xmlns:a16="http://schemas.microsoft.com/office/drawing/2014/main" id="{4B50FB2E-64E2-1E36-4A08-1605B4D700D7}"/>
                  </a:ext>
                </a:extLst>
              </p:cNvPr>
              <p:cNvGrpSpPr/>
              <p:nvPr/>
            </p:nvGrpSpPr>
            <p:grpSpPr bwMode="gray">
              <a:xfrm>
                <a:off x="6151434" y="3290029"/>
                <a:ext cx="79057" cy="79057"/>
                <a:chOff x="6151434" y="3290029"/>
                <a:chExt cx="79057" cy="79057"/>
              </a:xfrm>
              <a:grpFill/>
            </p:grpSpPr>
            <p:sp>
              <p:nvSpPr>
                <p:cNvPr id="379" name="Grafik 23">
                  <a:extLst>
                    <a:ext uri="{FF2B5EF4-FFF2-40B4-BE49-F238E27FC236}">
                      <a16:creationId xmlns:a16="http://schemas.microsoft.com/office/drawing/2014/main" id="{CDA54CEE-5035-3221-00CC-BCE9A31E9FFB}"/>
                    </a:ext>
                  </a:extLst>
                </p:cNvPr>
                <p:cNvSpPr/>
                <p:nvPr/>
              </p:nvSpPr>
              <p:spPr bwMode="gray">
                <a:xfrm>
                  <a:off x="6151434"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sp>
              <p:nvSpPr>
                <p:cNvPr id="380" name="Grafik 23">
                  <a:extLst>
                    <a:ext uri="{FF2B5EF4-FFF2-40B4-BE49-F238E27FC236}">
                      <a16:creationId xmlns:a16="http://schemas.microsoft.com/office/drawing/2014/main" id="{86682C9E-DDCE-79A6-4F21-349B3EB25FDA}"/>
                    </a:ext>
                  </a:extLst>
                </p:cNvPr>
                <p:cNvSpPr/>
                <p:nvPr/>
              </p:nvSpPr>
              <p:spPr bwMode="gray">
                <a:xfrm>
                  <a:off x="621620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376" name="Grafik 23">
                <a:extLst>
                  <a:ext uri="{FF2B5EF4-FFF2-40B4-BE49-F238E27FC236}">
                    <a16:creationId xmlns:a16="http://schemas.microsoft.com/office/drawing/2014/main" id="{51C7EB89-9495-9A76-5CCA-776CA4746A63}"/>
                  </a:ext>
                </a:extLst>
              </p:cNvPr>
              <p:cNvSpPr/>
              <p:nvPr/>
            </p:nvSpPr>
            <p:spPr bwMode="gray">
              <a:xfrm>
                <a:off x="6177938" y="3312056"/>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7" name="Grafik 23">
                <a:extLst>
                  <a:ext uri="{FF2B5EF4-FFF2-40B4-BE49-F238E27FC236}">
                    <a16:creationId xmlns:a16="http://schemas.microsoft.com/office/drawing/2014/main" id="{EB500A95-AA18-FF2F-ADF5-EF954E540F3E}"/>
                  </a:ext>
                </a:extLst>
              </p:cNvPr>
              <p:cNvSpPr/>
              <p:nvPr/>
            </p:nvSpPr>
            <p:spPr bwMode="gray">
              <a:xfrm>
                <a:off x="6145553" y="334444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8" name="Grafik 23">
                <a:extLst>
                  <a:ext uri="{FF2B5EF4-FFF2-40B4-BE49-F238E27FC236}">
                    <a16:creationId xmlns:a16="http://schemas.microsoft.com/office/drawing/2014/main" id="{168CCFF4-ED79-366A-A94B-24E682AE43B4}"/>
                  </a:ext>
                </a:extLst>
              </p:cNvPr>
              <p:cNvSpPr/>
              <p:nvPr/>
            </p:nvSpPr>
            <p:spPr bwMode="gray">
              <a:xfrm>
                <a:off x="6113168" y="337692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grpSp>
        <p:grpSp>
          <p:nvGrpSpPr>
            <p:cNvPr id="368" name="Grafik 23">
              <a:extLst>
                <a:ext uri="{FF2B5EF4-FFF2-40B4-BE49-F238E27FC236}">
                  <a16:creationId xmlns:a16="http://schemas.microsoft.com/office/drawing/2014/main" id="{06D476B1-7FD2-BEF3-AD3C-E57DCC304813}"/>
                </a:ext>
              </a:extLst>
            </p:cNvPr>
            <p:cNvGrpSpPr/>
            <p:nvPr/>
          </p:nvGrpSpPr>
          <p:grpSpPr bwMode="gray">
            <a:xfrm>
              <a:off x="5843587" y="3176587"/>
              <a:ext cx="500253" cy="500253"/>
              <a:chOff x="5843587" y="3176587"/>
              <a:chExt cx="500253" cy="500253"/>
            </a:xfrm>
            <a:grpFill/>
          </p:grpSpPr>
          <p:sp>
            <p:nvSpPr>
              <p:cNvPr id="370" name="Grafik 23">
                <a:extLst>
                  <a:ext uri="{FF2B5EF4-FFF2-40B4-BE49-F238E27FC236}">
                    <a16:creationId xmlns:a16="http://schemas.microsoft.com/office/drawing/2014/main" id="{CAA0DF2D-B47C-95A5-2692-8756E549BE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3">
                <a:extLst>
                  <a:ext uri="{FF2B5EF4-FFF2-40B4-BE49-F238E27FC236}">
                    <a16:creationId xmlns:a16="http://schemas.microsoft.com/office/drawing/2014/main" id="{A69053D8-B15F-587B-EE44-E2EF38B20EC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3">
                <a:extLst>
                  <a:ext uri="{FF2B5EF4-FFF2-40B4-BE49-F238E27FC236}">
                    <a16:creationId xmlns:a16="http://schemas.microsoft.com/office/drawing/2014/main" id="{8DC85A23-9E8D-38B5-AC60-CDF9B754B31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3">
                <a:extLst>
                  <a:ext uri="{FF2B5EF4-FFF2-40B4-BE49-F238E27FC236}">
                    <a16:creationId xmlns:a16="http://schemas.microsoft.com/office/drawing/2014/main" id="{4489A63C-7A3C-CF97-1320-533E96E5506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3">
                <a:extLst>
                  <a:ext uri="{FF2B5EF4-FFF2-40B4-BE49-F238E27FC236}">
                    <a16:creationId xmlns:a16="http://schemas.microsoft.com/office/drawing/2014/main" id="{2F34DD00-5AD4-139D-5DDA-EEE3C19BB35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9" name="Grafik 23">
              <a:extLst>
                <a:ext uri="{FF2B5EF4-FFF2-40B4-BE49-F238E27FC236}">
                  <a16:creationId xmlns:a16="http://schemas.microsoft.com/office/drawing/2014/main" id="{81EE41A7-B5D8-06D5-1B79-5CD441C4F2B4}"/>
                </a:ext>
              </a:extLst>
            </p:cNvPr>
            <p:cNvSpPr/>
            <p:nvPr/>
          </p:nvSpPr>
          <p:spPr bwMode="gray">
            <a:xfrm>
              <a:off x="5970888" y="3368610"/>
              <a:ext cx="180927" cy="180975"/>
            </a:xfrm>
            <a:custGeom>
              <a:avLst/>
              <a:gdLst>
                <a:gd name="connsiteX0" fmla="*/ 90440 w 180927"/>
                <a:gd name="connsiteY0" fmla="*/ 180975 h 180975"/>
                <a:gd name="connsiteX1" fmla="*/ 26432 w 180927"/>
                <a:gd name="connsiteY1" fmla="*/ 154496 h 180975"/>
                <a:gd name="connsiteX2" fmla="*/ 26432 w 180927"/>
                <a:gd name="connsiteY2" fmla="*/ 26480 h 180975"/>
                <a:gd name="connsiteX3" fmla="*/ 90440 w 180927"/>
                <a:gd name="connsiteY3" fmla="*/ 0 h 180975"/>
                <a:gd name="connsiteX4" fmla="*/ 154448 w 180927"/>
                <a:gd name="connsiteY4" fmla="*/ 26480 h 180975"/>
                <a:gd name="connsiteX5" fmla="*/ 154448 w 180927"/>
                <a:gd name="connsiteY5" fmla="*/ 26480 h 180975"/>
                <a:gd name="connsiteX6" fmla="*/ 154448 w 180927"/>
                <a:gd name="connsiteY6" fmla="*/ 26480 h 180975"/>
                <a:gd name="connsiteX7" fmla="*/ 180927 w 180927"/>
                <a:gd name="connsiteY7" fmla="*/ 90488 h 180975"/>
                <a:gd name="connsiteX8" fmla="*/ 154448 w 180927"/>
                <a:gd name="connsiteY8" fmla="*/ 154496 h 180975"/>
                <a:gd name="connsiteX9" fmla="*/ 90440 w 180927"/>
                <a:gd name="connsiteY9" fmla="*/ 180975 h 180975"/>
                <a:gd name="connsiteX10" fmla="*/ 90440 w 180927"/>
                <a:gd name="connsiteY10" fmla="*/ 14288 h 180975"/>
                <a:gd name="connsiteX11" fmla="*/ 36528 w 180927"/>
                <a:gd name="connsiteY11" fmla="*/ 36576 h 180975"/>
                <a:gd name="connsiteX12" fmla="*/ 36528 w 180927"/>
                <a:gd name="connsiteY12" fmla="*/ 144304 h 180975"/>
                <a:gd name="connsiteX13" fmla="*/ 144256 w 180927"/>
                <a:gd name="connsiteY13" fmla="*/ 144304 h 180975"/>
                <a:gd name="connsiteX14" fmla="*/ 166545 w 180927"/>
                <a:gd name="connsiteY14" fmla="*/ 90392 h 180975"/>
                <a:gd name="connsiteX15" fmla="*/ 144256 w 180927"/>
                <a:gd name="connsiteY15" fmla="*/ 36481 h 180975"/>
                <a:gd name="connsiteX16" fmla="*/ 144256 w 180927"/>
                <a:gd name="connsiteY16" fmla="*/ 36481 h 180975"/>
                <a:gd name="connsiteX17" fmla="*/ 90440 w 180927"/>
                <a:gd name="connsiteY17" fmla="*/ 1428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927" h="180975">
                  <a:moveTo>
                    <a:pt x="90440" y="180975"/>
                  </a:moveTo>
                  <a:cubicBezTo>
                    <a:pt x="67294" y="180975"/>
                    <a:pt x="44053" y="172117"/>
                    <a:pt x="26432" y="154496"/>
                  </a:cubicBezTo>
                  <a:cubicBezTo>
                    <a:pt x="-8811" y="119158"/>
                    <a:pt x="-8811" y="61817"/>
                    <a:pt x="26432" y="26480"/>
                  </a:cubicBezTo>
                  <a:cubicBezTo>
                    <a:pt x="43482" y="9430"/>
                    <a:pt x="66246" y="0"/>
                    <a:pt x="90440" y="0"/>
                  </a:cubicBezTo>
                  <a:cubicBezTo>
                    <a:pt x="114633" y="0"/>
                    <a:pt x="137303" y="9430"/>
                    <a:pt x="154448" y="26480"/>
                  </a:cubicBezTo>
                  <a:lnTo>
                    <a:pt x="154448" y="26480"/>
                  </a:lnTo>
                  <a:lnTo>
                    <a:pt x="154448" y="26480"/>
                  </a:lnTo>
                  <a:cubicBezTo>
                    <a:pt x="171498" y="43529"/>
                    <a:pt x="180927" y="66294"/>
                    <a:pt x="180927" y="90488"/>
                  </a:cubicBezTo>
                  <a:cubicBezTo>
                    <a:pt x="180927" y="114681"/>
                    <a:pt x="171498" y="137351"/>
                    <a:pt x="154448" y="154496"/>
                  </a:cubicBezTo>
                  <a:cubicBezTo>
                    <a:pt x="136827" y="172117"/>
                    <a:pt x="113586" y="180975"/>
                    <a:pt x="90440" y="180975"/>
                  </a:cubicBezTo>
                  <a:close/>
                  <a:moveTo>
                    <a:pt x="90440" y="14288"/>
                  </a:moveTo>
                  <a:cubicBezTo>
                    <a:pt x="70056" y="14288"/>
                    <a:pt x="50911" y="22193"/>
                    <a:pt x="36528" y="36576"/>
                  </a:cubicBezTo>
                  <a:cubicBezTo>
                    <a:pt x="6810" y="66294"/>
                    <a:pt x="6810" y="114586"/>
                    <a:pt x="36528" y="144304"/>
                  </a:cubicBezTo>
                  <a:cubicBezTo>
                    <a:pt x="66246" y="174022"/>
                    <a:pt x="114633" y="174022"/>
                    <a:pt x="144256" y="144304"/>
                  </a:cubicBezTo>
                  <a:cubicBezTo>
                    <a:pt x="158639" y="129921"/>
                    <a:pt x="166545" y="110776"/>
                    <a:pt x="166545" y="90392"/>
                  </a:cubicBezTo>
                  <a:cubicBezTo>
                    <a:pt x="166545" y="70009"/>
                    <a:pt x="158639" y="50864"/>
                    <a:pt x="144256" y="36481"/>
                  </a:cubicBezTo>
                  <a:lnTo>
                    <a:pt x="144256" y="36481"/>
                  </a:lnTo>
                  <a:cubicBezTo>
                    <a:pt x="129969" y="22289"/>
                    <a:pt x="110823" y="14288"/>
                    <a:pt x="90440" y="14288"/>
                  </a:cubicBezTo>
                  <a:close/>
                </a:path>
              </a:pathLst>
            </a:custGeom>
            <a:grpFill/>
            <a:ln w="9525" cap="flat">
              <a:noFill/>
              <a:prstDash val="solid"/>
              <a:miter/>
            </a:ln>
          </p:spPr>
          <p:txBody>
            <a:bodyPr rtlCol="0" anchor="ctr"/>
            <a:lstStyle/>
            <a:p>
              <a:endParaRPr lang="de-DE"/>
            </a:p>
          </p:txBody>
        </p:sp>
      </p:grpSp>
      <p:grpSp>
        <p:nvGrpSpPr>
          <p:cNvPr id="407" name="Grafik 25">
            <a:extLst>
              <a:ext uri="{FF2B5EF4-FFF2-40B4-BE49-F238E27FC236}">
                <a16:creationId xmlns:a16="http://schemas.microsoft.com/office/drawing/2014/main" id="{493C3C9C-99E9-3FF0-992E-93CAA757F04D}"/>
              </a:ext>
            </a:extLst>
          </p:cNvPr>
          <p:cNvGrpSpPr/>
          <p:nvPr/>
        </p:nvGrpSpPr>
        <p:grpSpPr bwMode="gray">
          <a:xfrm>
            <a:off x="2724271" y="3476660"/>
            <a:ext cx="374400" cy="374400"/>
            <a:chOff x="5843587" y="3176587"/>
            <a:chExt cx="500253" cy="500253"/>
          </a:xfrm>
          <a:solidFill>
            <a:schemeClr val="tx1"/>
          </a:solidFill>
        </p:grpSpPr>
        <p:grpSp>
          <p:nvGrpSpPr>
            <p:cNvPr id="408" name="Grafik 25">
              <a:extLst>
                <a:ext uri="{FF2B5EF4-FFF2-40B4-BE49-F238E27FC236}">
                  <a16:creationId xmlns:a16="http://schemas.microsoft.com/office/drawing/2014/main" id="{D09CE1C9-AF8A-BBBE-E679-EE2CC0E2BDA4}"/>
                </a:ext>
              </a:extLst>
            </p:cNvPr>
            <p:cNvGrpSpPr/>
            <p:nvPr/>
          </p:nvGrpSpPr>
          <p:grpSpPr bwMode="gray">
            <a:xfrm>
              <a:off x="5843587" y="3176587"/>
              <a:ext cx="500253" cy="500253"/>
              <a:chOff x="5843587" y="3176587"/>
              <a:chExt cx="500253" cy="500253"/>
            </a:xfrm>
            <a:grpFill/>
          </p:grpSpPr>
          <p:sp>
            <p:nvSpPr>
              <p:cNvPr id="426" name="Grafik 25">
                <a:extLst>
                  <a:ext uri="{FF2B5EF4-FFF2-40B4-BE49-F238E27FC236}">
                    <a16:creationId xmlns:a16="http://schemas.microsoft.com/office/drawing/2014/main" id="{1AF783B7-CEB0-784B-5026-B6A6E2D87501}"/>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427" name="Grafik 25">
                <a:extLst>
                  <a:ext uri="{FF2B5EF4-FFF2-40B4-BE49-F238E27FC236}">
                    <a16:creationId xmlns:a16="http://schemas.microsoft.com/office/drawing/2014/main" id="{5A868420-AB41-5C64-437D-F087AD011178}"/>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428" name="Grafik 25">
                <a:extLst>
                  <a:ext uri="{FF2B5EF4-FFF2-40B4-BE49-F238E27FC236}">
                    <a16:creationId xmlns:a16="http://schemas.microsoft.com/office/drawing/2014/main" id="{193C8547-D7DD-1D32-695E-04B3AF268FE0}"/>
                  </a:ext>
                </a:extLst>
              </p:cNvPr>
              <p:cNvGrpSpPr/>
              <p:nvPr/>
            </p:nvGrpSpPr>
            <p:grpSpPr bwMode="gray">
              <a:xfrm>
                <a:off x="5951338" y="3239571"/>
                <a:ext cx="284749" cy="131325"/>
                <a:chOff x="5951338" y="3239571"/>
                <a:chExt cx="284749" cy="131325"/>
              </a:xfrm>
              <a:grpFill/>
            </p:grpSpPr>
            <p:grpSp>
              <p:nvGrpSpPr>
                <p:cNvPr id="429" name="Grafik 25">
                  <a:extLst>
                    <a:ext uri="{FF2B5EF4-FFF2-40B4-BE49-F238E27FC236}">
                      <a16:creationId xmlns:a16="http://schemas.microsoft.com/office/drawing/2014/main" id="{2DC61C06-AAA3-26C5-2446-42DDB5342E8A}"/>
                    </a:ext>
                  </a:extLst>
                </p:cNvPr>
                <p:cNvGrpSpPr/>
                <p:nvPr/>
              </p:nvGrpSpPr>
              <p:grpSpPr bwMode="gray">
                <a:xfrm>
                  <a:off x="5963149" y="3239571"/>
                  <a:ext cx="119419" cy="51030"/>
                  <a:chOff x="5963149" y="3239571"/>
                  <a:chExt cx="119419" cy="51030"/>
                </a:xfrm>
                <a:grpFill/>
              </p:grpSpPr>
              <p:sp>
                <p:nvSpPr>
                  <p:cNvPr id="442" name="Grafik 25">
                    <a:extLst>
                      <a:ext uri="{FF2B5EF4-FFF2-40B4-BE49-F238E27FC236}">
                        <a16:creationId xmlns:a16="http://schemas.microsoft.com/office/drawing/2014/main" id="{A0B7DAF2-FC1E-425F-E637-52A226AAA0D7}"/>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443" name="Grafik 25">
                    <a:extLst>
                      <a:ext uri="{FF2B5EF4-FFF2-40B4-BE49-F238E27FC236}">
                        <a16:creationId xmlns:a16="http://schemas.microsoft.com/office/drawing/2014/main" id="{4CE30689-11ED-F8CB-1D8C-C03C81F857D3}"/>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444" name="Grafik 25">
                    <a:extLst>
                      <a:ext uri="{FF2B5EF4-FFF2-40B4-BE49-F238E27FC236}">
                        <a16:creationId xmlns:a16="http://schemas.microsoft.com/office/drawing/2014/main" id="{C572CD6E-00F5-20CC-B617-4B7A0C5F2A6B}"/>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430" name="Grafik 25">
                  <a:extLst>
                    <a:ext uri="{FF2B5EF4-FFF2-40B4-BE49-F238E27FC236}">
                      <a16:creationId xmlns:a16="http://schemas.microsoft.com/office/drawing/2014/main" id="{C1401A18-F202-8AD0-823E-58E767B8AC8E}"/>
                    </a:ext>
                  </a:extLst>
                </p:cNvPr>
                <p:cNvGrpSpPr/>
                <p:nvPr/>
              </p:nvGrpSpPr>
              <p:grpSpPr bwMode="gray">
                <a:xfrm>
                  <a:off x="5951338" y="3319866"/>
                  <a:ext cx="131230" cy="51030"/>
                  <a:chOff x="5951338" y="3319866"/>
                  <a:chExt cx="131230" cy="51030"/>
                </a:xfrm>
                <a:grpFill/>
              </p:grpSpPr>
              <p:sp>
                <p:nvSpPr>
                  <p:cNvPr id="439" name="Grafik 25">
                    <a:extLst>
                      <a:ext uri="{FF2B5EF4-FFF2-40B4-BE49-F238E27FC236}">
                        <a16:creationId xmlns:a16="http://schemas.microsoft.com/office/drawing/2014/main" id="{ED7544DA-889A-9758-11C8-3F34B6F9AEAF}"/>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440" name="Grafik 25">
                    <a:extLst>
                      <a:ext uri="{FF2B5EF4-FFF2-40B4-BE49-F238E27FC236}">
                        <a16:creationId xmlns:a16="http://schemas.microsoft.com/office/drawing/2014/main" id="{5149C819-1512-50B5-F9B1-39B931FECBE4}"/>
                      </a:ext>
                    </a:extLst>
                  </p:cNvPr>
                  <p:cNvSpPr/>
                  <p:nvPr/>
                </p:nvSpPr>
                <p:spPr bwMode="gray">
                  <a:xfrm>
                    <a:off x="5951433"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sp>
                <p:nvSpPr>
                  <p:cNvPr id="441" name="Grafik 25">
                    <a:extLst>
                      <a:ext uri="{FF2B5EF4-FFF2-40B4-BE49-F238E27FC236}">
                        <a16:creationId xmlns:a16="http://schemas.microsoft.com/office/drawing/2014/main" id="{DA171796-86B2-CE4C-5693-5EB6CC5F98A0}"/>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431" name="Grafik 25">
                  <a:extLst>
                    <a:ext uri="{FF2B5EF4-FFF2-40B4-BE49-F238E27FC236}">
                      <a16:creationId xmlns:a16="http://schemas.microsoft.com/office/drawing/2014/main" id="{AE3E0663-26FE-525C-B73C-219E2014C519}"/>
                    </a:ext>
                  </a:extLst>
                </p:cNvPr>
                <p:cNvGrpSpPr/>
                <p:nvPr/>
              </p:nvGrpSpPr>
              <p:grpSpPr bwMode="gray">
                <a:xfrm>
                  <a:off x="6104953" y="3239571"/>
                  <a:ext cx="119514" cy="51030"/>
                  <a:chOff x="6104953" y="3239571"/>
                  <a:chExt cx="119514" cy="51030"/>
                </a:xfrm>
                <a:grpFill/>
              </p:grpSpPr>
              <p:sp>
                <p:nvSpPr>
                  <p:cNvPr id="436" name="Grafik 25">
                    <a:extLst>
                      <a:ext uri="{FF2B5EF4-FFF2-40B4-BE49-F238E27FC236}">
                        <a16:creationId xmlns:a16="http://schemas.microsoft.com/office/drawing/2014/main" id="{CE197225-DCA3-8CE2-507C-6B75DB722DF4}"/>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437" name="Grafik 25">
                    <a:extLst>
                      <a:ext uri="{FF2B5EF4-FFF2-40B4-BE49-F238E27FC236}">
                        <a16:creationId xmlns:a16="http://schemas.microsoft.com/office/drawing/2014/main" id="{99EA585C-BB75-2B56-30FA-125CA16496E7}"/>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438" name="Grafik 25">
                    <a:extLst>
                      <a:ext uri="{FF2B5EF4-FFF2-40B4-BE49-F238E27FC236}">
                        <a16:creationId xmlns:a16="http://schemas.microsoft.com/office/drawing/2014/main" id="{4EFEA2FA-200B-FC19-43DD-76873217093C}"/>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432" name="Grafik 25">
                  <a:extLst>
                    <a:ext uri="{FF2B5EF4-FFF2-40B4-BE49-F238E27FC236}">
                      <a16:creationId xmlns:a16="http://schemas.microsoft.com/office/drawing/2014/main" id="{D9DB84DB-976C-AE99-CA44-BDCC812EB96D}"/>
                    </a:ext>
                  </a:extLst>
                </p:cNvPr>
                <p:cNvGrpSpPr/>
                <p:nvPr/>
              </p:nvGrpSpPr>
              <p:grpSpPr bwMode="gray">
                <a:xfrm>
                  <a:off x="6104953" y="3319866"/>
                  <a:ext cx="131135" cy="51030"/>
                  <a:chOff x="6104953" y="3319866"/>
                  <a:chExt cx="131135" cy="51030"/>
                </a:xfrm>
                <a:grpFill/>
              </p:grpSpPr>
              <p:sp>
                <p:nvSpPr>
                  <p:cNvPr id="433" name="Grafik 25">
                    <a:extLst>
                      <a:ext uri="{FF2B5EF4-FFF2-40B4-BE49-F238E27FC236}">
                        <a16:creationId xmlns:a16="http://schemas.microsoft.com/office/drawing/2014/main" id="{FEA9A51A-9F89-0594-6769-4B7FE80CDEB3}"/>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434" name="Grafik 25">
                    <a:extLst>
                      <a:ext uri="{FF2B5EF4-FFF2-40B4-BE49-F238E27FC236}">
                        <a16:creationId xmlns:a16="http://schemas.microsoft.com/office/drawing/2014/main" id="{24BE51EC-701E-BDAF-E5DA-472F8C3D261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435" name="Grafik 25">
                    <a:extLst>
                      <a:ext uri="{FF2B5EF4-FFF2-40B4-BE49-F238E27FC236}">
                        <a16:creationId xmlns:a16="http://schemas.microsoft.com/office/drawing/2014/main" id="{B997E54D-AC7D-3E4B-5728-E15059277441}"/>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409" name="Grafik 25">
              <a:extLst>
                <a:ext uri="{FF2B5EF4-FFF2-40B4-BE49-F238E27FC236}">
                  <a16:creationId xmlns:a16="http://schemas.microsoft.com/office/drawing/2014/main" id="{55A6BB94-A764-EBF0-B81B-4FB4D2D7B8C3}"/>
                </a:ext>
              </a:extLst>
            </p:cNvPr>
            <p:cNvGrpSpPr/>
            <p:nvPr/>
          </p:nvGrpSpPr>
          <p:grpSpPr bwMode="gray">
            <a:xfrm>
              <a:off x="5951790" y="3467150"/>
              <a:ext cx="276173" cy="162254"/>
              <a:chOff x="5951790" y="3467150"/>
              <a:chExt cx="276173" cy="162254"/>
            </a:xfrm>
            <a:grpFill/>
          </p:grpSpPr>
          <p:grpSp>
            <p:nvGrpSpPr>
              <p:cNvPr id="410" name="Grafik 25">
                <a:extLst>
                  <a:ext uri="{FF2B5EF4-FFF2-40B4-BE49-F238E27FC236}">
                    <a16:creationId xmlns:a16="http://schemas.microsoft.com/office/drawing/2014/main" id="{8055D1E5-FA36-DC6D-0EB2-8A1530CE278C}"/>
                  </a:ext>
                </a:extLst>
              </p:cNvPr>
              <p:cNvGrpSpPr/>
              <p:nvPr/>
            </p:nvGrpSpPr>
            <p:grpSpPr bwMode="gray">
              <a:xfrm>
                <a:off x="5951790" y="3522273"/>
                <a:ext cx="147899" cy="52268"/>
                <a:chOff x="5951790" y="3522273"/>
                <a:chExt cx="147899" cy="52268"/>
              </a:xfrm>
              <a:grpFill/>
            </p:grpSpPr>
            <p:sp>
              <p:nvSpPr>
                <p:cNvPr id="423" name="Grafik 25">
                  <a:extLst>
                    <a:ext uri="{FF2B5EF4-FFF2-40B4-BE49-F238E27FC236}">
                      <a16:creationId xmlns:a16="http://schemas.microsoft.com/office/drawing/2014/main" id="{DE39D48B-8108-2CD6-A05A-2EE2D50D0D2F}"/>
                    </a:ext>
                  </a:extLst>
                </p:cNvPr>
                <p:cNvSpPr/>
                <p:nvPr/>
              </p:nvSpPr>
              <p:spPr bwMode="gray">
                <a:xfrm>
                  <a:off x="5951790" y="3541108"/>
                  <a:ext cx="136778" cy="14287"/>
                </a:xfrm>
                <a:custGeom>
                  <a:avLst/>
                  <a:gdLst>
                    <a:gd name="connsiteX0" fmla="*/ 129635 w 136778"/>
                    <a:gd name="connsiteY0" fmla="*/ 14288 h 14287"/>
                    <a:gd name="connsiteX1" fmla="*/ 7144 w 136778"/>
                    <a:gd name="connsiteY1" fmla="*/ 14288 h 14287"/>
                    <a:gd name="connsiteX2" fmla="*/ 0 w 136778"/>
                    <a:gd name="connsiteY2" fmla="*/ 7144 h 14287"/>
                    <a:gd name="connsiteX3" fmla="*/ 7144 w 136778"/>
                    <a:gd name="connsiteY3" fmla="*/ 0 h 14287"/>
                    <a:gd name="connsiteX4" fmla="*/ 129635 w 136778"/>
                    <a:gd name="connsiteY4" fmla="*/ 0 h 14287"/>
                    <a:gd name="connsiteX5" fmla="*/ 136779 w 136778"/>
                    <a:gd name="connsiteY5" fmla="*/ 7144 h 14287"/>
                    <a:gd name="connsiteX6" fmla="*/ 129635 w 13677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8"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424" name="Grafik 25">
                  <a:extLst>
                    <a:ext uri="{FF2B5EF4-FFF2-40B4-BE49-F238E27FC236}">
                      <a16:creationId xmlns:a16="http://schemas.microsoft.com/office/drawing/2014/main" id="{CED57E4E-46D5-0B27-1C05-C1C3FED55990}"/>
                    </a:ext>
                  </a:extLst>
                </p:cNvPr>
                <p:cNvSpPr/>
                <p:nvPr/>
              </p:nvSpPr>
              <p:spPr bwMode="gray">
                <a:xfrm>
                  <a:off x="606630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075" y="33409"/>
                        <a:pt x="26265" y="33409"/>
                      </a:cubicBezTo>
                      <a:close/>
                    </a:path>
                  </a:pathLst>
                </a:custGeom>
                <a:grpFill/>
                <a:ln w="9525" cap="flat">
                  <a:noFill/>
                  <a:prstDash val="solid"/>
                  <a:miter/>
                </a:ln>
              </p:spPr>
              <p:txBody>
                <a:bodyPr rtlCol="0" anchor="ctr"/>
                <a:lstStyle/>
                <a:p>
                  <a:endParaRPr lang="de-DE"/>
                </a:p>
              </p:txBody>
            </p:sp>
            <p:sp>
              <p:nvSpPr>
                <p:cNvPr id="425" name="Grafik 25">
                  <a:extLst>
                    <a:ext uri="{FF2B5EF4-FFF2-40B4-BE49-F238E27FC236}">
                      <a16:creationId xmlns:a16="http://schemas.microsoft.com/office/drawing/2014/main" id="{5BD7FF63-4BDE-E5A7-3715-D5C3EE9412FF}"/>
                    </a:ext>
                  </a:extLst>
                </p:cNvPr>
                <p:cNvSpPr/>
                <p:nvPr/>
              </p:nvSpPr>
              <p:spPr bwMode="gray">
                <a:xfrm>
                  <a:off x="6066305"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647"/>
                        <a:pt x="9025" y="33409"/>
                        <a:pt x="7120" y="33409"/>
                      </a:cubicBezTo>
                      <a:close/>
                    </a:path>
                  </a:pathLst>
                </a:custGeom>
                <a:grpFill/>
                <a:ln w="9525" cap="flat">
                  <a:noFill/>
                  <a:prstDash val="solid"/>
                  <a:miter/>
                </a:ln>
              </p:spPr>
              <p:txBody>
                <a:bodyPr rtlCol="0" anchor="ctr"/>
                <a:lstStyle/>
                <a:p>
                  <a:endParaRPr lang="de-DE"/>
                </a:p>
              </p:txBody>
            </p:sp>
          </p:grpSp>
          <p:grpSp>
            <p:nvGrpSpPr>
              <p:cNvPr id="411" name="Grafik 25">
                <a:extLst>
                  <a:ext uri="{FF2B5EF4-FFF2-40B4-BE49-F238E27FC236}">
                    <a16:creationId xmlns:a16="http://schemas.microsoft.com/office/drawing/2014/main" id="{C765FC4D-A5E0-5133-972A-C69807924931}"/>
                  </a:ext>
                </a:extLst>
              </p:cNvPr>
              <p:cNvGrpSpPr/>
              <p:nvPr/>
            </p:nvGrpSpPr>
            <p:grpSpPr bwMode="gray">
              <a:xfrm>
                <a:off x="6111004" y="3467150"/>
                <a:ext cx="116886" cy="64718"/>
                <a:chOff x="6111004" y="3467150"/>
                <a:chExt cx="116886" cy="64718"/>
              </a:xfrm>
              <a:grpFill/>
            </p:grpSpPr>
            <p:sp>
              <p:nvSpPr>
                <p:cNvPr id="420" name="Grafik 25">
                  <a:extLst>
                    <a:ext uri="{FF2B5EF4-FFF2-40B4-BE49-F238E27FC236}">
                      <a16:creationId xmlns:a16="http://schemas.microsoft.com/office/drawing/2014/main" id="{60FBC897-242B-329A-BD70-3E883C04FCEC}"/>
                    </a:ext>
                  </a:extLst>
                </p:cNvPr>
                <p:cNvSpPr/>
                <p:nvPr/>
              </p:nvSpPr>
              <p:spPr bwMode="gray">
                <a:xfrm>
                  <a:off x="6111004"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807" y="47860"/>
                        <a:pt x="7950" y="47955"/>
                        <a:pt x="7093" y="47955"/>
                      </a:cubicBezTo>
                      <a:close/>
                    </a:path>
                  </a:pathLst>
                </a:custGeom>
                <a:grpFill/>
                <a:ln w="9525" cap="flat">
                  <a:noFill/>
                  <a:prstDash val="solid"/>
                  <a:miter/>
                </a:ln>
              </p:spPr>
              <p:txBody>
                <a:bodyPr rtlCol="0" anchor="ctr"/>
                <a:lstStyle/>
                <a:p>
                  <a:endParaRPr lang="de-DE"/>
                </a:p>
              </p:txBody>
            </p:sp>
            <p:sp>
              <p:nvSpPr>
                <p:cNvPr id="421" name="Grafik 25">
                  <a:extLst>
                    <a:ext uri="{FF2B5EF4-FFF2-40B4-BE49-F238E27FC236}">
                      <a16:creationId xmlns:a16="http://schemas.microsoft.com/office/drawing/2014/main" id="{7C63ACF9-E447-369A-1D7A-A34DD9B4A997}"/>
                    </a:ext>
                  </a:extLst>
                </p:cNvPr>
                <p:cNvSpPr/>
                <p:nvPr/>
              </p:nvSpPr>
              <p:spPr bwMode="gray">
                <a:xfrm>
                  <a:off x="6188157"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763" y="26047"/>
                        <a:pt x="35286" y="27476"/>
                        <a:pt x="32619" y="27476"/>
                      </a:cubicBezTo>
                      <a:close/>
                    </a:path>
                  </a:pathLst>
                </a:custGeom>
                <a:grpFill/>
                <a:ln w="9525" cap="flat">
                  <a:noFill/>
                  <a:prstDash val="solid"/>
                  <a:miter/>
                </a:ln>
              </p:spPr>
              <p:txBody>
                <a:bodyPr rtlCol="0" anchor="ctr"/>
                <a:lstStyle/>
                <a:p>
                  <a:endParaRPr lang="de-DE"/>
                </a:p>
              </p:txBody>
            </p:sp>
            <p:sp>
              <p:nvSpPr>
                <p:cNvPr id="422" name="Grafik 25">
                  <a:extLst>
                    <a:ext uri="{FF2B5EF4-FFF2-40B4-BE49-F238E27FC236}">
                      <a16:creationId xmlns:a16="http://schemas.microsoft.com/office/drawing/2014/main" id="{99191DE0-0F27-1DC1-E072-E67F3F412698}"/>
                    </a:ext>
                  </a:extLst>
                </p:cNvPr>
                <p:cNvSpPr/>
                <p:nvPr/>
              </p:nvSpPr>
              <p:spPr bwMode="gray">
                <a:xfrm>
                  <a:off x="620270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412" name="Grafik 25">
                <a:extLst>
                  <a:ext uri="{FF2B5EF4-FFF2-40B4-BE49-F238E27FC236}">
                    <a16:creationId xmlns:a16="http://schemas.microsoft.com/office/drawing/2014/main" id="{2898F7B2-AEF5-D975-6BE0-9EA35E8CB079}"/>
                  </a:ext>
                </a:extLst>
              </p:cNvPr>
              <p:cNvGrpSpPr/>
              <p:nvPr/>
            </p:nvGrpSpPr>
            <p:grpSpPr bwMode="gray">
              <a:xfrm>
                <a:off x="6110909" y="3564496"/>
                <a:ext cx="117055" cy="64909"/>
                <a:chOff x="6110909" y="3564496"/>
                <a:chExt cx="117055" cy="64909"/>
              </a:xfrm>
              <a:grpFill/>
            </p:grpSpPr>
            <p:sp>
              <p:nvSpPr>
                <p:cNvPr id="417" name="Grafik 25">
                  <a:extLst>
                    <a:ext uri="{FF2B5EF4-FFF2-40B4-BE49-F238E27FC236}">
                      <a16:creationId xmlns:a16="http://schemas.microsoft.com/office/drawing/2014/main" id="{FABA4CB8-EDA3-0E85-9A67-7E4CE00E7CA4}"/>
                    </a:ext>
                  </a:extLst>
                </p:cNvPr>
                <p:cNvSpPr/>
                <p:nvPr/>
              </p:nvSpPr>
              <p:spPr bwMode="gray">
                <a:xfrm>
                  <a:off x="6110909"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914" y="46240"/>
                        <a:pt x="102152" y="48050"/>
                        <a:pt x="99199" y="48050"/>
                      </a:cubicBezTo>
                      <a:close/>
                    </a:path>
                  </a:pathLst>
                </a:custGeom>
                <a:grpFill/>
                <a:ln w="9525" cap="flat">
                  <a:noFill/>
                  <a:prstDash val="solid"/>
                  <a:miter/>
                </a:ln>
              </p:spPr>
              <p:txBody>
                <a:bodyPr rtlCol="0" anchor="ctr"/>
                <a:lstStyle/>
                <a:p>
                  <a:endParaRPr lang="de-DE"/>
                </a:p>
              </p:txBody>
            </p:sp>
            <p:sp>
              <p:nvSpPr>
                <p:cNvPr id="418" name="Grafik 25">
                  <a:extLst>
                    <a:ext uri="{FF2B5EF4-FFF2-40B4-BE49-F238E27FC236}">
                      <a16:creationId xmlns:a16="http://schemas.microsoft.com/office/drawing/2014/main" id="{69CDDC40-5C4D-6F1F-85C2-160281B491D8}"/>
                    </a:ext>
                  </a:extLst>
                </p:cNvPr>
                <p:cNvSpPr/>
                <p:nvPr/>
              </p:nvSpPr>
              <p:spPr bwMode="gray">
                <a:xfrm>
                  <a:off x="618825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235" y="27476"/>
                        <a:pt x="7188" y="27476"/>
                      </a:cubicBezTo>
                      <a:close/>
                    </a:path>
                  </a:pathLst>
                </a:custGeom>
                <a:grpFill/>
                <a:ln w="9525" cap="flat">
                  <a:noFill/>
                  <a:prstDash val="solid"/>
                  <a:miter/>
                </a:ln>
              </p:spPr>
              <p:txBody>
                <a:bodyPr rtlCol="0" anchor="ctr"/>
                <a:lstStyle/>
                <a:p>
                  <a:endParaRPr lang="de-DE"/>
                </a:p>
              </p:txBody>
            </p:sp>
            <p:sp>
              <p:nvSpPr>
                <p:cNvPr id="419" name="Grafik 25">
                  <a:extLst>
                    <a:ext uri="{FF2B5EF4-FFF2-40B4-BE49-F238E27FC236}">
                      <a16:creationId xmlns:a16="http://schemas.microsoft.com/office/drawing/2014/main" id="{7AFEC46E-D978-01D2-24C1-7B68C421C038}"/>
                    </a:ext>
                  </a:extLst>
                </p:cNvPr>
                <p:cNvSpPr/>
                <p:nvPr/>
              </p:nvSpPr>
              <p:spPr bwMode="gray">
                <a:xfrm>
                  <a:off x="6202708" y="3575618"/>
                  <a:ext cx="25182" cy="40833"/>
                </a:xfrm>
                <a:custGeom>
                  <a:avLst/>
                  <a:gdLst>
                    <a:gd name="connsiteX0" fmla="*/ 17973 w 25182"/>
                    <a:gd name="connsiteY0" fmla="*/ 40833 h 40833"/>
                    <a:gd name="connsiteX1" fmla="*/ 11401 w 25182"/>
                    <a:gd name="connsiteY1" fmla="*/ 36356 h 40833"/>
                    <a:gd name="connsiteX2" fmla="*/ 542 w 25182"/>
                    <a:gd name="connsiteY2" fmla="*/ 9877 h 40833"/>
                    <a:gd name="connsiteX3" fmla="*/ 4448 w 25182"/>
                    <a:gd name="connsiteY3" fmla="*/ 542 h 40833"/>
                    <a:gd name="connsiteX4" fmla="*/ 13782 w 25182"/>
                    <a:gd name="connsiteY4" fmla="*/ 4448 h 40833"/>
                    <a:gd name="connsiteX5" fmla="*/ 24641 w 25182"/>
                    <a:gd name="connsiteY5" fmla="*/ 30927 h 40833"/>
                    <a:gd name="connsiteX6" fmla="*/ 20735 w 25182"/>
                    <a:gd name="connsiteY6" fmla="*/ 40262 h 40833"/>
                    <a:gd name="connsiteX7" fmla="*/ 17973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17973" y="40833"/>
                      </a:moveTo>
                      <a:cubicBezTo>
                        <a:pt x="15116" y="40833"/>
                        <a:pt x="12449" y="39119"/>
                        <a:pt x="11401" y="36356"/>
                      </a:cubicBezTo>
                      <a:lnTo>
                        <a:pt x="542" y="9877"/>
                      </a:lnTo>
                      <a:cubicBezTo>
                        <a:pt x="-982" y="6257"/>
                        <a:pt x="828" y="2066"/>
                        <a:pt x="4448" y="542"/>
                      </a:cubicBezTo>
                      <a:cubicBezTo>
                        <a:pt x="8162" y="-982"/>
                        <a:pt x="12258" y="828"/>
                        <a:pt x="13782" y="4448"/>
                      </a:cubicBezTo>
                      <a:lnTo>
                        <a:pt x="24641" y="30927"/>
                      </a:lnTo>
                      <a:cubicBezTo>
                        <a:pt x="26165" y="34547"/>
                        <a:pt x="24355" y="38738"/>
                        <a:pt x="20735" y="40262"/>
                      </a:cubicBezTo>
                      <a:cubicBezTo>
                        <a:pt x="19878" y="40643"/>
                        <a:pt x="18926" y="40833"/>
                        <a:pt x="17973" y="40833"/>
                      </a:cubicBezTo>
                      <a:close/>
                    </a:path>
                  </a:pathLst>
                </a:custGeom>
                <a:grpFill/>
                <a:ln w="9525" cap="flat">
                  <a:noFill/>
                  <a:prstDash val="solid"/>
                  <a:miter/>
                </a:ln>
              </p:spPr>
              <p:txBody>
                <a:bodyPr rtlCol="0" anchor="ctr"/>
                <a:lstStyle/>
                <a:p>
                  <a:endParaRPr lang="de-DE"/>
                </a:p>
              </p:txBody>
            </p:sp>
          </p:grpSp>
          <p:grpSp>
            <p:nvGrpSpPr>
              <p:cNvPr id="413" name="Grafik 25">
                <a:extLst>
                  <a:ext uri="{FF2B5EF4-FFF2-40B4-BE49-F238E27FC236}">
                    <a16:creationId xmlns:a16="http://schemas.microsoft.com/office/drawing/2014/main" id="{E565003D-7031-58FF-22B7-E4EDAFD5CDBE}"/>
                  </a:ext>
                </a:extLst>
              </p:cNvPr>
              <p:cNvGrpSpPr/>
              <p:nvPr/>
            </p:nvGrpSpPr>
            <p:grpSpPr bwMode="gray">
              <a:xfrm>
                <a:off x="6110953" y="3522082"/>
                <a:ext cx="115228" cy="52268"/>
                <a:chOff x="6110953" y="3522082"/>
                <a:chExt cx="115228" cy="52268"/>
              </a:xfrm>
              <a:grpFill/>
            </p:grpSpPr>
            <p:sp>
              <p:nvSpPr>
                <p:cNvPr id="414" name="Grafik 25">
                  <a:extLst>
                    <a:ext uri="{FF2B5EF4-FFF2-40B4-BE49-F238E27FC236}">
                      <a16:creationId xmlns:a16="http://schemas.microsoft.com/office/drawing/2014/main" id="{B47EE239-FD2B-C563-CD4E-BF3A15794F71}"/>
                    </a:ext>
                  </a:extLst>
                </p:cNvPr>
                <p:cNvSpPr/>
                <p:nvPr/>
              </p:nvSpPr>
              <p:spPr bwMode="gray">
                <a:xfrm>
                  <a:off x="611095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870" y="14288"/>
                        <a:pt x="96965" y="14288"/>
                      </a:cubicBezTo>
                      <a:close/>
                    </a:path>
                  </a:pathLst>
                </a:custGeom>
                <a:grpFill/>
                <a:ln w="9525" cap="flat">
                  <a:noFill/>
                  <a:prstDash val="solid"/>
                  <a:miter/>
                </a:ln>
              </p:spPr>
              <p:txBody>
                <a:bodyPr rtlCol="0" anchor="ctr"/>
                <a:lstStyle/>
                <a:p>
                  <a:endParaRPr lang="de-DE"/>
                </a:p>
              </p:txBody>
            </p:sp>
            <p:sp>
              <p:nvSpPr>
                <p:cNvPr id="415" name="Grafik 25">
                  <a:extLst>
                    <a:ext uri="{FF2B5EF4-FFF2-40B4-BE49-F238E27FC236}">
                      <a16:creationId xmlns:a16="http://schemas.microsoft.com/office/drawing/2014/main" id="{DEFF0317-BA58-E5CE-AAA0-602A9F45CF24}"/>
                    </a:ext>
                  </a:extLst>
                </p:cNvPr>
                <p:cNvSpPr/>
                <p:nvPr/>
              </p:nvSpPr>
              <p:spPr bwMode="gray">
                <a:xfrm>
                  <a:off x="619279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885" y="32742"/>
                        <a:pt x="28075" y="33409"/>
                        <a:pt x="26265" y="33409"/>
                      </a:cubicBezTo>
                      <a:close/>
                    </a:path>
                  </a:pathLst>
                </a:custGeom>
                <a:grpFill/>
                <a:ln w="9525" cap="flat">
                  <a:noFill/>
                  <a:prstDash val="solid"/>
                  <a:miter/>
                </a:ln>
              </p:spPr>
              <p:txBody>
                <a:bodyPr rtlCol="0" anchor="ctr"/>
                <a:lstStyle/>
                <a:p>
                  <a:endParaRPr lang="de-DE"/>
                </a:p>
              </p:txBody>
            </p:sp>
            <p:sp>
              <p:nvSpPr>
                <p:cNvPr id="416" name="Grafik 25">
                  <a:extLst>
                    <a:ext uri="{FF2B5EF4-FFF2-40B4-BE49-F238E27FC236}">
                      <a16:creationId xmlns:a16="http://schemas.microsoft.com/office/drawing/2014/main" id="{DA4D0C3E-BCE3-B2B4-247B-0072FD11310E}"/>
                    </a:ext>
                  </a:extLst>
                </p:cNvPr>
                <p:cNvSpPr/>
                <p:nvPr/>
              </p:nvSpPr>
              <p:spPr bwMode="gray">
                <a:xfrm>
                  <a:off x="619279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742"/>
                        <a:pt x="8930" y="33409"/>
                        <a:pt x="7120" y="33409"/>
                      </a:cubicBezTo>
                      <a:close/>
                    </a:path>
                  </a:pathLst>
                </a:custGeom>
                <a:grpFill/>
                <a:ln w="9525" cap="flat">
                  <a:noFill/>
                  <a:prstDash val="solid"/>
                  <a:miter/>
                </a:ln>
              </p:spPr>
              <p:txBody>
                <a:bodyPr rtlCol="0" anchor="ctr"/>
                <a:lstStyle/>
                <a:p>
                  <a:endParaRPr lang="de-DE"/>
                </a:p>
              </p:txBody>
            </p:sp>
          </p:grpSp>
        </p:grpSp>
      </p:grpSp>
      <p:sp>
        <p:nvSpPr>
          <p:cNvPr id="445" name="Rectangle 444">
            <a:extLst>
              <a:ext uri="{FF2B5EF4-FFF2-40B4-BE49-F238E27FC236}">
                <a16:creationId xmlns:a16="http://schemas.microsoft.com/office/drawing/2014/main" id="{297B14E6-CFD5-EAB9-88BC-2634407F139D}"/>
              </a:ext>
            </a:extLst>
          </p:cNvPr>
          <p:cNvSpPr/>
          <p:nvPr/>
        </p:nvSpPr>
        <p:spPr>
          <a:xfrm>
            <a:off x="5130236"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Complementary - Security</a:t>
            </a:r>
            <a:endParaRPr lang="en-US" sz="1100" dirty="0">
              <a:solidFill>
                <a:schemeClr val="tx1"/>
              </a:solidFill>
            </a:endParaRPr>
          </a:p>
        </p:txBody>
      </p:sp>
      <p:sp>
        <p:nvSpPr>
          <p:cNvPr id="446" name="Text Box 55">
            <a:extLst>
              <a:ext uri="{FF2B5EF4-FFF2-40B4-BE49-F238E27FC236}">
                <a16:creationId xmlns:a16="http://schemas.microsoft.com/office/drawing/2014/main" id="{B8DDAE3A-A2CF-D4CC-4BD1-E1F1C43DA520}"/>
              </a:ext>
            </a:extLst>
          </p:cNvPr>
          <p:cNvSpPr txBox="1">
            <a:spLocks noChangeArrowheads="1"/>
          </p:cNvSpPr>
          <p:nvPr/>
        </p:nvSpPr>
        <p:spPr bwMode="auto">
          <a:xfrm>
            <a:off x="5668571" y="13668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7" name="Text Box 56">
            <a:extLst>
              <a:ext uri="{FF2B5EF4-FFF2-40B4-BE49-F238E27FC236}">
                <a16:creationId xmlns:a16="http://schemas.microsoft.com/office/drawing/2014/main" id="{3E41A1D6-D47F-6C71-FA4B-ABD3905B4684}"/>
              </a:ext>
            </a:extLst>
          </p:cNvPr>
          <p:cNvSpPr txBox="1">
            <a:spLocks noChangeArrowheads="1"/>
          </p:cNvSpPr>
          <p:nvPr/>
        </p:nvSpPr>
        <p:spPr bwMode="auto">
          <a:xfrm>
            <a:off x="5668571" y="19129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8" name="Text Box 57">
            <a:extLst>
              <a:ext uri="{FF2B5EF4-FFF2-40B4-BE49-F238E27FC236}">
                <a16:creationId xmlns:a16="http://schemas.microsoft.com/office/drawing/2014/main" id="{68F5C894-F7E5-99AD-D3F6-EE493636B860}"/>
              </a:ext>
            </a:extLst>
          </p:cNvPr>
          <p:cNvSpPr txBox="1">
            <a:spLocks noChangeArrowheads="1"/>
          </p:cNvSpPr>
          <p:nvPr/>
        </p:nvSpPr>
        <p:spPr bwMode="auto">
          <a:xfrm>
            <a:off x="5668571" y="2459038"/>
            <a:ext cx="131286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 Star</a:t>
            </a:r>
          </a:p>
        </p:txBody>
      </p:sp>
      <p:sp>
        <p:nvSpPr>
          <p:cNvPr id="449" name="Text Box 58">
            <a:extLst>
              <a:ext uri="{FF2B5EF4-FFF2-40B4-BE49-F238E27FC236}">
                <a16:creationId xmlns:a16="http://schemas.microsoft.com/office/drawing/2014/main" id="{49F55978-4305-3999-6AF5-7F56430C70EB}"/>
              </a:ext>
            </a:extLst>
          </p:cNvPr>
          <p:cNvSpPr txBox="1">
            <a:spLocks noChangeArrowheads="1"/>
          </p:cNvSpPr>
          <p:nvPr/>
        </p:nvSpPr>
        <p:spPr bwMode="auto">
          <a:xfrm>
            <a:off x="5668571" y="3005138"/>
            <a:ext cx="5289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a:t>
            </a:r>
          </a:p>
        </p:txBody>
      </p:sp>
      <p:sp>
        <p:nvSpPr>
          <p:cNvPr id="450" name="Text Box 59">
            <a:extLst>
              <a:ext uri="{FF2B5EF4-FFF2-40B4-BE49-F238E27FC236}">
                <a16:creationId xmlns:a16="http://schemas.microsoft.com/office/drawing/2014/main" id="{9BDF6717-967A-AEDB-0D49-E5AE255A899E}"/>
              </a:ext>
            </a:extLst>
          </p:cNvPr>
          <p:cNvSpPr txBox="1">
            <a:spLocks noChangeArrowheads="1"/>
          </p:cNvSpPr>
          <p:nvPr/>
        </p:nvSpPr>
        <p:spPr bwMode="auto">
          <a:xfrm>
            <a:off x="5668571" y="3551238"/>
            <a:ext cx="52738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rewall</a:t>
            </a:r>
          </a:p>
        </p:txBody>
      </p:sp>
      <p:grpSp>
        <p:nvGrpSpPr>
          <p:cNvPr id="451" name="Grafik 2">
            <a:extLst>
              <a:ext uri="{FF2B5EF4-FFF2-40B4-BE49-F238E27FC236}">
                <a16:creationId xmlns:a16="http://schemas.microsoft.com/office/drawing/2014/main" id="{B726AF0F-AC7A-ADB3-5D0D-E7D17A05035F}"/>
              </a:ext>
            </a:extLst>
          </p:cNvPr>
          <p:cNvGrpSpPr>
            <a:grpSpLocks noChangeAspect="1"/>
          </p:cNvGrpSpPr>
          <p:nvPr/>
        </p:nvGrpSpPr>
        <p:grpSpPr bwMode="gray">
          <a:xfrm>
            <a:off x="5130237" y="1333208"/>
            <a:ext cx="374400" cy="374400"/>
            <a:chOff x="5843587" y="3176587"/>
            <a:chExt cx="500253" cy="500253"/>
          </a:xfrm>
          <a:solidFill>
            <a:schemeClr val="tx1"/>
          </a:solidFill>
        </p:grpSpPr>
        <p:grpSp>
          <p:nvGrpSpPr>
            <p:cNvPr id="452" name="Grafik 2">
              <a:extLst>
                <a:ext uri="{FF2B5EF4-FFF2-40B4-BE49-F238E27FC236}">
                  <a16:creationId xmlns:a16="http://schemas.microsoft.com/office/drawing/2014/main" id="{C9107418-41E8-9B62-A990-4A68019FEF53}"/>
                </a:ext>
              </a:extLst>
            </p:cNvPr>
            <p:cNvGrpSpPr/>
            <p:nvPr/>
          </p:nvGrpSpPr>
          <p:grpSpPr bwMode="gray">
            <a:xfrm>
              <a:off x="5914072" y="3335178"/>
              <a:ext cx="294584" cy="247935"/>
              <a:chOff x="5914072" y="3335178"/>
              <a:chExt cx="294584" cy="247935"/>
            </a:xfrm>
            <a:grpFill/>
          </p:grpSpPr>
          <p:grpSp>
            <p:nvGrpSpPr>
              <p:cNvPr id="458" name="Grafik 2">
                <a:extLst>
                  <a:ext uri="{FF2B5EF4-FFF2-40B4-BE49-F238E27FC236}">
                    <a16:creationId xmlns:a16="http://schemas.microsoft.com/office/drawing/2014/main" id="{63AFE9AB-9523-AA05-35A9-DE76167CFEE1}"/>
                  </a:ext>
                </a:extLst>
              </p:cNvPr>
              <p:cNvGrpSpPr/>
              <p:nvPr/>
            </p:nvGrpSpPr>
            <p:grpSpPr bwMode="gray">
              <a:xfrm>
                <a:off x="6051922" y="3335178"/>
                <a:ext cx="76080" cy="76104"/>
                <a:chOff x="6051922" y="3335178"/>
                <a:chExt cx="76080" cy="76104"/>
              </a:xfrm>
              <a:grpFill/>
            </p:grpSpPr>
            <p:sp>
              <p:nvSpPr>
                <p:cNvPr id="471" name="Grafik 2">
                  <a:extLst>
                    <a:ext uri="{FF2B5EF4-FFF2-40B4-BE49-F238E27FC236}">
                      <a16:creationId xmlns:a16="http://schemas.microsoft.com/office/drawing/2014/main" id="{200B3B5E-FD4D-7BF7-816B-D7B44DC8E10A}"/>
                    </a:ext>
                  </a:extLst>
                </p:cNvPr>
                <p:cNvSpPr/>
                <p:nvPr/>
              </p:nvSpPr>
              <p:spPr bwMode="gray">
                <a:xfrm>
                  <a:off x="6051922" y="3335202"/>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lIns="0" tIns="0" rIns="0" bIns="0" rtlCol="0" anchor="ctr"/>
                <a:lstStyle/>
                <a:p>
                  <a:endParaRPr lang="en-US"/>
                </a:p>
              </p:txBody>
            </p:sp>
            <p:sp>
              <p:nvSpPr>
                <p:cNvPr id="472" name="Grafik 2">
                  <a:extLst>
                    <a:ext uri="{FF2B5EF4-FFF2-40B4-BE49-F238E27FC236}">
                      <a16:creationId xmlns:a16="http://schemas.microsoft.com/office/drawing/2014/main" id="{ECA4B629-BF01-9493-8F0A-DA4DB1B699BA}"/>
                    </a:ext>
                  </a:extLst>
                </p:cNvPr>
                <p:cNvSpPr/>
                <p:nvPr/>
              </p:nvSpPr>
              <p:spPr bwMode="gray">
                <a:xfrm>
                  <a:off x="6074854" y="3335178"/>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sp>
              <p:nvSpPr>
                <p:cNvPr id="473" name="Grafik 2">
                  <a:extLst>
                    <a:ext uri="{FF2B5EF4-FFF2-40B4-BE49-F238E27FC236}">
                      <a16:creationId xmlns:a16="http://schemas.microsoft.com/office/drawing/2014/main" id="{06E51633-268A-579A-556F-606313730138}"/>
                    </a:ext>
                  </a:extLst>
                </p:cNvPr>
                <p:cNvSpPr/>
                <p:nvPr/>
              </p:nvSpPr>
              <p:spPr bwMode="gray">
                <a:xfrm>
                  <a:off x="6113716" y="3335178"/>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59" name="Grafik 2">
                <a:extLst>
                  <a:ext uri="{FF2B5EF4-FFF2-40B4-BE49-F238E27FC236}">
                    <a16:creationId xmlns:a16="http://schemas.microsoft.com/office/drawing/2014/main" id="{F6CEF332-4311-001E-7ECD-4B2363457524}"/>
                  </a:ext>
                </a:extLst>
              </p:cNvPr>
              <p:cNvGrpSpPr/>
              <p:nvPr/>
            </p:nvGrpSpPr>
            <p:grpSpPr bwMode="gray">
              <a:xfrm>
                <a:off x="6051922" y="3507033"/>
                <a:ext cx="76080" cy="76080"/>
                <a:chOff x="6051922" y="3507033"/>
                <a:chExt cx="76080" cy="76080"/>
              </a:xfrm>
              <a:grpFill/>
            </p:grpSpPr>
            <p:sp>
              <p:nvSpPr>
                <p:cNvPr id="468" name="Grafik 2">
                  <a:extLst>
                    <a:ext uri="{FF2B5EF4-FFF2-40B4-BE49-F238E27FC236}">
                      <a16:creationId xmlns:a16="http://schemas.microsoft.com/office/drawing/2014/main" id="{A4350715-4AD5-5CF8-7D1F-B690AB534369}"/>
                    </a:ext>
                  </a:extLst>
                </p:cNvPr>
                <p:cNvSpPr/>
                <p:nvPr/>
              </p:nvSpPr>
              <p:spPr bwMode="gray">
                <a:xfrm>
                  <a:off x="6051922" y="3507033"/>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414"/>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69" name="Grafik 2">
                  <a:extLst>
                    <a:ext uri="{FF2B5EF4-FFF2-40B4-BE49-F238E27FC236}">
                      <a16:creationId xmlns:a16="http://schemas.microsoft.com/office/drawing/2014/main" id="{0F4D40A8-CA21-1AA0-5111-E64C41070D10}"/>
                    </a:ext>
                  </a:extLst>
                </p:cNvPr>
                <p:cNvSpPr/>
                <p:nvPr/>
              </p:nvSpPr>
              <p:spPr bwMode="gray">
                <a:xfrm>
                  <a:off x="6113716" y="3529964"/>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sp>
              <p:nvSpPr>
                <p:cNvPr id="470" name="Grafik 2">
                  <a:extLst>
                    <a:ext uri="{FF2B5EF4-FFF2-40B4-BE49-F238E27FC236}">
                      <a16:creationId xmlns:a16="http://schemas.microsoft.com/office/drawing/2014/main" id="{583ED76E-B117-0764-A879-BEA2FB66FA5B}"/>
                    </a:ext>
                  </a:extLst>
                </p:cNvPr>
                <p:cNvSpPr/>
                <p:nvPr/>
              </p:nvSpPr>
              <p:spPr bwMode="gray">
                <a:xfrm>
                  <a:off x="6074854" y="3568826"/>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grpSp>
          <p:grpSp>
            <p:nvGrpSpPr>
              <p:cNvPr id="460" name="Grafik 2">
                <a:extLst>
                  <a:ext uri="{FF2B5EF4-FFF2-40B4-BE49-F238E27FC236}">
                    <a16:creationId xmlns:a16="http://schemas.microsoft.com/office/drawing/2014/main" id="{EB5256F1-EB39-BA6A-0F92-B98D2CA6FB53}"/>
                  </a:ext>
                </a:extLst>
              </p:cNvPr>
              <p:cNvGrpSpPr/>
              <p:nvPr/>
            </p:nvGrpSpPr>
            <p:grpSpPr bwMode="gray">
              <a:xfrm>
                <a:off x="6106857" y="3424451"/>
                <a:ext cx="101798" cy="69318"/>
                <a:chOff x="6106857" y="3424451"/>
                <a:chExt cx="101798" cy="69318"/>
              </a:xfrm>
              <a:grpFill/>
            </p:grpSpPr>
            <p:sp>
              <p:nvSpPr>
                <p:cNvPr id="465" name="Grafik 2">
                  <a:extLst>
                    <a:ext uri="{FF2B5EF4-FFF2-40B4-BE49-F238E27FC236}">
                      <a16:creationId xmlns:a16="http://schemas.microsoft.com/office/drawing/2014/main" id="{55942ECE-ECE6-1EAF-2369-228AC656D6BE}"/>
                    </a:ext>
                  </a:extLst>
                </p:cNvPr>
                <p:cNvSpPr/>
                <p:nvPr/>
              </p:nvSpPr>
              <p:spPr bwMode="gray">
                <a:xfrm>
                  <a:off x="6106857" y="3451954"/>
                  <a:ext cx="101727" cy="14287"/>
                </a:xfrm>
                <a:custGeom>
                  <a:avLst/>
                  <a:gdLst>
                    <a:gd name="connsiteX0" fmla="*/ 94583 w 101727"/>
                    <a:gd name="connsiteY0" fmla="*/ 14288 h 14287"/>
                    <a:gd name="connsiteX1" fmla="*/ 7144 w 101727"/>
                    <a:gd name="connsiteY1" fmla="*/ 14288 h 14287"/>
                    <a:gd name="connsiteX2" fmla="*/ 0 w 101727"/>
                    <a:gd name="connsiteY2" fmla="*/ 7144 h 14287"/>
                    <a:gd name="connsiteX3" fmla="*/ 7144 w 101727"/>
                    <a:gd name="connsiteY3" fmla="*/ 0 h 14287"/>
                    <a:gd name="connsiteX4" fmla="*/ 94583 w 101727"/>
                    <a:gd name="connsiteY4" fmla="*/ 0 h 14287"/>
                    <a:gd name="connsiteX5" fmla="*/ 101727 w 101727"/>
                    <a:gd name="connsiteY5" fmla="*/ 7144 h 14287"/>
                    <a:gd name="connsiteX6" fmla="*/ 94583 w 1017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7" h="14287">
                      <a:moveTo>
                        <a:pt x="94583" y="14288"/>
                      </a:moveTo>
                      <a:lnTo>
                        <a:pt x="7144" y="14288"/>
                      </a:lnTo>
                      <a:cubicBezTo>
                        <a:pt x="3239" y="14288"/>
                        <a:pt x="0" y="11049"/>
                        <a:pt x="0" y="7144"/>
                      </a:cubicBezTo>
                      <a:cubicBezTo>
                        <a:pt x="0" y="3239"/>
                        <a:pt x="3239" y="0"/>
                        <a:pt x="7144" y="0"/>
                      </a:cubicBezTo>
                      <a:lnTo>
                        <a:pt x="94583" y="0"/>
                      </a:lnTo>
                      <a:cubicBezTo>
                        <a:pt x="98489" y="0"/>
                        <a:pt x="101727" y="3239"/>
                        <a:pt x="101727" y="7144"/>
                      </a:cubicBezTo>
                      <a:cubicBezTo>
                        <a:pt x="101727" y="11049"/>
                        <a:pt x="98584" y="14288"/>
                        <a:pt x="94583" y="14288"/>
                      </a:cubicBezTo>
                      <a:close/>
                    </a:path>
                  </a:pathLst>
                </a:custGeom>
                <a:grpFill/>
                <a:ln w="9525" cap="flat">
                  <a:noFill/>
                  <a:prstDash val="solid"/>
                  <a:miter/>
                </a:ln>
              </p:spPr>
              <p:txBody>
                <a:bodyPr lIns="0" tIns="0" rIns="0" bIns="0" rtlCol="0" anchor="ctr"/>
                <a:lstStyle/>
                <a:p>
                  <a:endParaRPr lang="en-US"/>
                </a:p>
              </p:txBody>
            </p:sp>
            <p:sp>
              <p:nvSpPr>
                <p:cNvPr id="466" name="Grafik 2">
                  <a:extLst>
                    <a:ext uri="{FF2B5EF4-FFF2-40B4-BE49-F238E27FC236}">
                      <a16:creationId xmlns:a16="http://schemas.microsoft.com/office/drawing/2014/main" id="{83E80E50-B587-9025-D492-CB3E8CDFE9E2}"/>
                    </a:ext>
                  </a:extLst>
                </p:cNvPr>
                <p:cNvSpPr/>
                <p:nvPr/>
              </p:nvSpPr>
              <p:spPr bwMode="gray">
                <a:xfrm>
                  <a:off x="61667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7" name="Grafik 2">
                  <a:extLst>
                    <a:ext uri="{FF2B5EF4-FFF2-40B4-BE49-F238E27FC236}">
                      <a16:creationId xmlns:a16="http://schemas.microsoft.com/office/drawing/2014/main" id="{9304F43D-29B7-463B-DD4C-3A81322C2E22}"/>
                    </a:ext>
                  </a:extLst>
                </p:cNvPr>
                <p:cNvSpPr/>
                <p:nvPr/>
              </p:nvSpPr>
              <p:spPr bwMode="gray">
                <a:xfrm>
                  <a:off x="6166889"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461" name="Grafik 2">
                <a:extLst>
                  <a:ext uri="{FF2B5EF4-FFF2-40B4-BE49-F238E27FC236}">
                    <a16:creationId xmlns:a16="http://schemas.microsoft.com/office/drawing/2014/main" id="{790428E8-BA74-54A0-FFA2-AD3272066B75}"/>
                  </a:ext>
                </a:extLst>
              </p:cNvPr>
              <p:cNvGrpSpPr/>
              <p:nvPr/>
            </p:nvGrpSpPr>
            <p:grpSpPr bwMode="gray">
              <a:xfrm>
                <a:off x="5914072" y="3424451"/>
                <a:ext cx="101726" cy="69318"/>
                <a:chOff x="5914072" y="3424451"/>
                <a:chExt cx="101726" cy="69318"/>
              </a:xfrm>
              <a:grpFill/>
            </p:grpSpPr>
            <p:sp>
              <p:nvSpPr>
                <p:cNvPr id="462" name="Grafik 2">
                  <a:extLst>
                    <a:ext uri="{FF2B5EF4-FFF2-40B4-BE49-F238E27FC236}">
                      <a16:creationId xmlns:a16="http://schemas.microsoft.com/office/drawing/2014/main" id="{EF058120-CCF5-9D78-54AF-CCC1D339594D}"/>
                    </a:ext>
                  </a:extLst>
                </p:cNvPr>
                <p:cNvSpPr/>
                <p:nvPr/>
              </p:nvSpPr>
              <p:spPr bwMode="gray">
                <a:xfrm>
                  <a:off x="5914072"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8" y="14288"/>
                        <a:pt x="0" y="11049"/>
                        <a:pt x="0" y="7144"/>
                      </a:cubicBezTo>
                      <a:cubicBezTo>
                        <a:pt x="0" y="3239"/>
                        <a:pt x="3238" y="0"/>
                        <a:pt x="7144" y="0"/>
                      </a:cubicBezTo>
                      <a:lnTo>
                        <a:pt x="94583" y="0"/>
                      </a:lnTo>
                      <a:cubicBezTo>
                        <a:pt x="98489" y="0"/>
                        <a:pt x="101727" y="3239"/>
                        <a:pt x="101727" y="7144"/>
                      </a:cubicBezTo>
                      <a:cubicBezTo>
                        <a:pt x="101727" y="11049"/>
                        <a:pt x="98489" y="14288"/>
                        <a:pt x="94583" y="14288"/>
                      </a:cubicBezTo>
                      <a:close/>
                    </a:path>
                  </a:pathLst>
                </a:custGeom>
                <a:grpFill/>
                <a:ln w="9525" cap="flat">
                  <a:noFill/>
                  <a:prstDash val="solid"/>
                  <a:miter/>
                </a:ln>
              </p:spPr>
              <p:txBody>
                <a:bodyPr lIns="0" tIns="0" rIns="0" bIns="0" rtlCol="0" anchor="ctr"/>
                <a:lstStyle/>
                <a:p>
                  <a:endParaRPr lang="en-US"/>
                </a:p>
              </p:txBody>
            </p:sp>
            <p:sp>
              <p:nvSpPr>
                <p:cNvPr id="463" name="Grafik 2">
                  <a:extLst>
                    <a:ext uri="{FF2B5EF4-FFF2-40B4-BE49-F238E27FC236}">
                      <a16:creationId xmlns:a16="http://schemas.microsoft.com/office/drawing/2014/main" id="{3CBD97B0-0883-14C3-F8A8-F8F18585C874}"/>
                    </a:ext>
                  </a:extLst>
                </p:cNvPr>
                <p:cNvSpPr/>
                <p:nvPr/>
              </p:nvSpPr>
              <p:spPr bwMode="gray">
                <a:xfrm>
                  <a:off x="597400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4" name="Grafik 2">
                  <a:extLst>
                    <a:ext uri="{FF2B5EF4-FFF2-40B4-BE49-F238E27FC236}">
                      <a16:creationId xmlns:a16="http://schemas.microsoft.com/office/drawing/2014/main" id="{D002E3E8-2CCF-F467-99CF-779223BE0B6E}"/>
                    </a:ext>
                  </a:extLst>
                </p:cNvPr>
                <p:cNvSpPr/>
                <p:nvPr/>
              </p:nvSpPr>
              <p:spPr bwMode="gray">
                <a:xfrm>
                  <a:off x="5974008"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453" name="Grafik 2">
              <a:extLst>
                <a:ext uri="{FF2B5EF4-FFF2-40B4-BE49-F238E27FC236}">
                  <a16:creationId xmlns:a16="http://schemas.microsoft.com/office/drawing/2014/main" id="{AE00C67F-ED11-1ECF-2AF0-6D76944DC8B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54" name="Grafik 2">
              <a:extLst>
                <a:ext uri="{FF2B5EF4-FFF2-40B4-BE49-F238E27FC236}">
                  <a16:creationId xmlns:a16="http://schemas.microsoft.com/office/drawing/2014/main" id="{D4A8DBEA-0B96-AD91-E7EB-454FA62E1D3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55" name="Grafik 2">
              <a:extLst>
                <a:ext uri="{FF2B5EF4-FFF2-40B4-BE49-F238E27FC236}">
                  <a16:creationId xmlns:a16="http://schemas.microsoft.com/office/drawing/2014/main" id="{560D1927-142C-A248-ADA2-DEF7E61BC38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6" name="Grafik 2">
              <a:extLst>
                <a:ext uri="{FF2B5EF4-FFF2-40B4-BE49-F238E27FC236}">
                  <a16:creationId xmlns:a16="http://schemas.microsoft.com/office/drawing/2014/main" id="{410F2B48-ED58-ECDC-5B84-A9A585678B6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7" name="Grafik 2">
              <a:extLst>
                <a:ext uri="{FF2B5EF4-FFF2-40B4-BE49-F238E27FC236}">
                  <a16:creationId xmlns:a16="http://schemas.microsoft.com/office/drawing/2014/main" id="{80296C07-76DC-B792-FE14-0AFE4DA1B5E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474" name="Grafik 27">
            <a:extLst>
              <a:ext uri="{FF2B5EF4-FFF2-40B4-BE49-F238E27FC236}">
                <a16:creationId xmlns:a16="http://schemas.microsoft.com/office/drawing/2014/main" id="{14C3914F-1E3F-D5BA-9A55-C358D6D32DFF}"/>
              </a:ext>
            </a:extLst>
          </p:cNvPr>
          <p:cNvGrpSpPr/>
          <p:nvPr/>
        </p:nvGrpSpPr>
        <p:grpSpPr bwMode="gray">
          <a:xfrm>
            <a:off x="5130237" y="1869071"/>
            <a:ext cx="374400" cy="374400"/>
            <a:chOff x="5843587" y="3176587"/>
            <a:chExt cx="500253" cy="500253"/>
          </a:xfrm>
          <a:solidFill>
            <a:schemeClr val="tx1"/>
          </a:solidFill>
        </p:grpSpPr>
        <p:grpSp>
          <p:nvGrpSpPr>
            <p:cNvPr id="475" name="Grafik 27">
              <a:extLst>
                <a:ext uri="{FF2B5EF4-FFF2-40B4-BE49-F238E27FC236}">
                  <a16:creationId xmlns:a16="http://schemas.microsoft.com/office/drawing/2014/main" id="{B76A75FC-D8B5-D9D5-9E7F-223D1C545606}"/>
                </a:ext>
              </a:extLst>
            </p:cNvPr>
            <p:cNvGrpSpPr/>
            <p:nvPr/>
          </p:nvGrpSpPr>
          <p:grpSpPr bwMode="gray">
            <a:xfrm>
              <a:off x="5843587" y="3176587"/>
              <a:ext cx="500253" cy="500253"/>
              <a:chOff x="5843587" y="3176587"/>
              <a:chExt cx="500253" cy="500253"/>
            </a:xfrm>
            <a:grpFill/>
          </p:grpSpPr>
          <p:sp>
            <p:nvSpPr>
              <p:cNvPr id="510" name="Grafik 27">
                <a:extLst>
                  <a:ext uri="{FF2B5EF4-FFF2-40B4-BE49-F238E27FC236}">
                    <a16:creationId xmlns:a16="http://schemas.microsoft.com/office/drawing/2014/main" id="{FBAF60F9-C4C1-0C41-B96E-9ED5E39D1E4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1" name="Grafik 27">
                <a:extLst>
                  <a:ext uri="{FF2B5EF4-FFF2-40B4-BE49-F238E27FC236}">
                    <a16:creationId xmlns:a16="http://schemas.microsoft.com/office/drawing/2014/main" id="{B4418F14-D58B-E5A1-D644-8095A48BAC5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2" name="Grafik 27">
                <a:extLst>
                  <a:ext uri="{FF2B5EF4-FFF2-40B4-BE49-F238E27FC236}">
                    <a16:creationId xmlns:a16="http://schemas.microsoft.com/office/drawing/2014/main" id="{EC1254E3-FBBD-04D9-CA92-6D808E826B6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3" name="Grafik 27">
                <a:extLst>
                  <a:ext uri="{FF2B5EF4-FFF2-40B4-BE49-F238E27FC236}">
                    <a16:creationId xmlns:a16="http://schemas.microsoft.com/office/drawing/2014/main" id="{AD411C81-3D93-BAC4-FCF2-E51BB9F76F7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4" name="Grafik 27">
                <a:extLst>
                  <a:ext uri="{FF2B5EF4-FFF2-40B4-BE49-F238E27FC236}">
                    <a16:creationId xmlns:a16="http://schemas.microsoft.com/office/drawing/2014/main" id="{1A1F7CE1-0625-6821-51B6-4F24E754280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76" name="Grafik 27">
              <a:extLst>
                <a:ext uri="{FF2B5EF4-FFF2-40B4-BE49-F238E27FC236}">
                  <a16:creationId xmlns:a16="http://schemas.microsoft.com/office/drawing/2014/main" id="{D284360C-7C9F-445D-CF8F-FAABEC71E5C9}"/>
                </a:ext>
              </a:extLst>
            </p:cNvPr>
            <p:cNvGrpSpPr/>
            <p:nvPr/>
          </p:nvGrpSpPr>
          <p:grpSpPr bwMode="gray">
            <a:xfrm>
              <a:off x="5938956" y="3338821"/>
              <a:ext cx="244744" cy="240672"/>
              <a:chOff x="5938956" y="3338821"/>
              <a:chExt cx="244744" cy="240672"/>
            </a:xfrm>
            <a:grpFill/>
          </p:grpSpPr>
          <p:grpSp>
            <p:nvGrpSpPr>
              <p:cNvPr id="477" name="Grafik 27">
                <a:extLst>
                  <a:ext uri="{FF2B5EF4-FFF2-40B4-BE49-F238E27FC236}">
                    <a16:creationId xmlns:a16="http://schemas.microsoft.com/office/drawing/2014/main" id="{713CE7A7-1990-50E9-79C2-891AA609DE59}"/>
                  </a:ext>
                </a:extLst>
              </p:cNvPr>
              <p:cNvGrpSpPr/>
              <p:nvPr/>
            </p:nvGrpSpPr>
            <p:grpSpPr bwMode="gray">
              <a:xfrm>
                <a:off x="6067638" y="3374040"/>
                <a:ext cx="81795" cy="81057"/>
                <a:chOff x="6067638" y="3374040"/>
                <a:chExt cx="81795" cy="81057"/>
              </a:xfrm>
              <a:grpFill/>
            </p:grpSpPr>
            <p:sp>
              <p:nvSpPr>
                <p:cNvPr id="507" name="Grafik 27">
                  <a:extLst>
                    <a:ext uri="{FF2B5EF4-FFF2-40B4-BE49-F238E27FC236}">
                      <a16:creationId xmlns:a16="http://schemas.microsoft.com/office/drawing/2014/main" id="{2657D771-6CBD-7629-C0A3-767CA33E9A0E}"/>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508" name="Grafik 27">
                  <a:extLst>
                    <a:ext uri="{FF2B5EF4-FFF2-40B4-BE49-F238E27FC236}">
                      <a16:creationId xmlns:a16="http://schemas.microsoft.com/office/drawing/2014/main" id="{589A5194-0D42-E0EB-2377-38C01E45C02F}"/>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9" name="Grafik 27">
                  <a:extLst>
                    <a:ext uri="{FF2B5EF4-FFF2-40B4-BE49-F238E27FC236}">
                      <a16:creationId xmlns:a16="http://schemas.microsoft.com/office/drawing/2014/main" id="{54560EF3-FAEC-1846-FF76-456ED7956626}"/>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78" name="Grafik 27">
                <a:extLst>
                  <a:ext uri="{FF2B5EF4-FFF2-40B4-BE49-F238E27FC236}">
                    <a16:creationId xmlns:a16="http://schemas.microsoft.com/office/drawing/2014/main" id="{4D033957-CDE9-AC29-9F38-F8784AB62FE4}"/>
                  </a:ext>
                </a:extLst>
              </p:cNvPr>
              <p:cNvGrpSpPr/>
              <p:nvPr/>
            </p:nvGrpSpPr>
            <p:grpSpPr bwMode="gray">
              <a:xfrm>
                <a:off x="5973222" y="3374040"/>
                <a:ext cx="81795" cy="81057"/>
                <a:chOff x="5973222" y="3374040"/>
                <a:chExt cx="81795" cy="81057"/>
              </a:xfrm>
              <a:grpFill/>
            </p:grpSpPr>
            <p:sp>
              <p:nvSpPr>
                <p:cNvPr id="504" name="Grafik 27">
                  <a:extLst>
                    <a:ext uri="{FF2B5EF4-FFF2-40B4-BE49-F238E27FC236}">
                      <a16:creationId xmlns:a16="http://schemas.microsoft.com/office/drawing/2014/main" id="{5D266F10-7EFE-66E9-9F13-368C9B9B01AD}"/>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505" name="Grafik 27">
                  <a:extLst>
                    <a:ext uri="{FF2B5EF4-FFF2-40B4-BE49-F238E27FC236}">
                      <a16:creationId xmlns:a16="http://schemas.microsoft.com/office/drawing/2014/main" id="{A8F45AD3-CE15-D753-4DA1-CE92F00C7412}"/>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506" name="Grafik 27">
                  <a:extLst>
                    <a:ext uri="{FF2B5EF4-FFF2-40B4-BE49-F238E27FC236}">
                      <a16:creationId xmlns:a16="http://schemas.microsoft.com/office/drawing/2014/main" id="{82321CF3-BB41-7DDA-89B0-1A6EED53F93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79" name="Grafik 27">
                <a:extLst>
                  <a:ext uri="{FF2B5EF4-FFF2-40B4-BE49-F238E27FC236}">
                    <a16:creationId xmlns:a16="http://schemas.microsoft.com/office/drawing/2014/main" id="{DC0EC1C7-F611-DB9B-9433-9E1C5D12AA9D}"/>
                  </a:ext>
                </a:extLst>
              </p:cNvPr>
              <p:cNvGrpSpPr/>
              <p:nvPr/>
            </p:nvGrpSpPr>
            <p:grpSpPr bwMode="gray">
              <a:xfrm>
                <a:off x="6067638" y="3463218"/>
                <a:ext cx="81795" cy="81033"/>
                <a:chOff x="6067638" y="3463218"/>
                <a:chExt cx="81795" cy="81033"/>
              </a:xfrm>
              <a:grpFill/>
            </p:grpSpPr>
            <p:sp>
              <p:nvSpPr>
                <p:cNvPr id="501" name="Grafik 27">
                  <a:extLst>
                    <a:ext uri="{FF2B5EF4-FFF2-40B4-BE49-F238E27FC236}">
                      <a16:creationId xmlns:a16="http://schemas.microsoft.com/office/drawing/2014/main" id="{B9FB28AF-6EEC-87CB-E077-2915646FF1E5}"/>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502" name="Grafik 27">
                  <a:extLst>
                    <a:ext uri="{FF2B5EF4-FFF2-40B4-BE49-F238E27FC236}">
                      <a16:creationId xmlns:a16="http://schemas.microsoft.com/office/drawing/2014/main" id="{EA26DE99-0ADA-8BC5-7134-6C0CB8D4D508}"/>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3" name="Grafik 27">
                  <a:extLst>
                    <a:ext uri="{FF2B5EF4-FFF2-40B4-BE49-F238E27FC236}">
                      <a16:creationId xmlns:a16="http://schemas.microsoft.com/office/drawing/2014/main" id="{A9047551-4160-9B19-B5EA-78599CF68361}"/>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80" name="Grafik 27">
                <a:extLst>
                  <a:ext uri="{FF2B5EF4-FFF2-40B4-BE49-F238E27FC236}">
                    <a16:creationId xmlns:a16="http://schemas.microsoft.com/office/drawing/2014/main" id="{22D7238A-D118-F685-216F-7E890CD3237B}"/>
                  </a:ext>
                </a:extLst>
              </p:cNvPr>
              <p:cNvGrpSpPr/>
              <p:nvPr/>
            </p:nvGrpSpPr>
            <p:grpSpPr bwMode="gray">
              <a:xfrm>
                <a:off x="6074568" y="3434262"/>
                <a:ext cx="109132" cy="49506"/>
                <a:chOff x="6074568" y="3434262"/>
                <a:chExt cx="109132" cy="49506"/>
              </a:xfrm>
              <a:grpFill/>
            </p:grpSpPr>
            <p:sp>
              <p:nvSpPr>
                <p:cNvPr id="498" name="Grafik 27">
                  <a:extLst>
                    <a:ext uri="{FF2B5EF4-FFF2-40B4-BE49-F238E27FC236}">
                      <a16:creationId xmlns:a16="http://schemas.microsoft.com/office/drawing/2014/main" id="{467649AA-6045-5BF6-BDB9-DE4969EA75D6}"/>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9" name="Grafik 27">
                  <a:extLst>
                    <a:ext uri="{FF2B5EF4-FFF2-40B4-BE49-F238E27FC236}">
                      <a16:creationId xmlns:a16="http://schemas.microsoft.com/office/drawing/2014/main" id="{2F73FBFA-A68F-2B75-1F98-E13D2843414F}"/>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500" name="Grafik 27">
                  <a:extLst>
                    <a:ext uri="{FF2B5EF4-FFF2-40B4-BE49-F238E27FC236}">
                      <a16:creationId xmlns:a16="http://schemas.microsoft.com/office/drawing/2014/main" id="{EE2C7F65-6908-4834-0D59-144F7427B37A}"/>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1" name="Grafik 27">
                <a:extLst>
                  <a:ext uri="{FF2B5EF4-FFF2-40B4-BE49-F238E27FC236}">
                    <a16:creationId xmlns:a16="http://schemas.microsoft.com/office/drawing/2014/main" id="{31EF0E9E-7295-ACE7-024D-41934DFD607C}"/>
                  </a:ext>
                </a:extLst>
              </p:cNvPr>
              <p:cNvGrpSpPr/>
              <p:nvPr/>
            </p:nvGrpSpPr>
            <p:grpSpPr bwMode="gray">
              <a:xfrm>
                <a:off x="5938956" y="3434262"/>
                <a:ext cx="109227" cy="49506"/>
                <a:chOff x="5938956" y="3434262"/>
                <a:chExt cx="109227" cy="49506"/>
              </a:xfrm>
              <a:grpFill/>
            </p:grpSpPr>
            <p:sp>
              <p:nvSpPr>
                <p:cNvPr id="495" name="Grafik 27">
                  <a:extLst>
                    <a:ext uri="{FF2B5EF4-FFF2-40B4-BE49-F238E27FC236}">
                      <a16:creationId xmlns:a16="http://schemas.microsoft.com/office/drawing/2014/main" id="{254BF492-BAF9-F053-CB02-FBE7EBD3EA00}"/>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6" name="Grafik 27">
                  <a:extLst>
                    <a:ext uri="{FF2B5EF4-FFF2-40B4-BE49-F238E27FC236}">
                      <a16:creationId xmlns:a16="http://schemas.microsoft.com/office/drawing/2014/main" id="{FC4EDFE7-B854-ADE8-C80B-9B45540D2C9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7" name="Grafik 27">
                  <a:extLst>
                    <a:ext uri="{FF2B5EF4-FFF2-40B4-BE49-F238E27FC236}">
                      <a16:creationId xmlns:a16="http://schemas.microsoft.com/office/drawing/2014/main" id="{23AEABC9-C774-C2EE-BDC5-78F075A6F725}"/>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82" name="Grafik 27">
                <a:extLst>
                  <a:ext uri="{FF2B5EF4-FFF2-40B4-BE49-F238E27FC236}">
                    <a16:creationId xmlns:a16="http://schemas.microsoft.com/office/drawing/2014/main" id="{6B82A4F8-D816-9EEC-17B0-5F323D905B25}"/>
                  </a:ext>
                </a:extLst>
              </p:cNvPr>
              <p:cNvGrpSpPr/>
              <p:nvPr/>
            </p:nvGrpSpPr>
            <p:grpSpPr bwMode="gray">
              <a:xfrm>
                <a:off x="6034587" y="3470338"/>
                <a:ext cx="49387" cy="109156"/>
                <a:chOff x="6034587" y="3470338"/>
                <a:chExt cx="49387" cy="109156"/>
              </a:xfrm>
              <a:grpFill/>
            </p:grpSpPr>
            <p:sp>
              <p:nvSpPr>
                <p:cNvPr id="492" name="Grafik 27">
                  <a:extLst>
                    <a:ext uri="{FF2B5EF4-FFF2-40B4-BE49-F238E27FC236}">
                      <a16:creationId xmlns:a16="http://schemas.microsoft.com/office/drawing/2014/main" id="{20D82568-0A13-52D1-8A85-93FF36D95B32}"/>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3" name="Grafik 27">
                  <a:extLst>
                    <a:ext uri="{FF2B5EF4-FFF2-40B4-BE49-F238E27FC236}">
                      <a16:creationId xmlns:a16="http://schemas.microsoft.com/office/drawing/2014/main" id="{E8B00A6C-0696-699D-CB44-936CF2A1EF8C}"/>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94" name="Grafik 27">
                  <a:extLst>
                    <a:ext uri="{FF2B5EF4-FFF2-40B4-BE49-F238E27FC236}">
                      <a16:creationId xmlns:a16="http://schemas.microsoft.com/office/drawing/2014/main" id="{257EE06D-465C-4A2C-CD06-8E9B59A25AB3}"/>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3" name="Grafik 27">
                <a:extLst>
                  <a:ext uri="{FF2B5EF4-FFF2-40B4-BE49-F238E27FC236}">
                    <a16:creationId xmlns:a16="http://schemas.microsoft.com/office/drawing/2014/main" id="{8CB74104-D532-6899-3928-87B9944CEF3C}"/>
                  </a:ext>
                </a:extLst>
              </p:cNvPr>
              <p:cNvGrpSpPr/>
              <p:nvPr/>
            </p:nvGrpSpPr>
            <p:grpSpPr bwMode="gray">
              <a:xfrm>
                <a:off x="6034587" y="3338821"/>
                <a:ext cx="49387" cy="109132"/>
                <a:chOff x="6034587" y="3338821"/>
                <a:chExt cx="49387" cy="109132"/>
              </a:xfrm>
              <a:grpFill/>
            </p:grpSpPr>
            <p:sp>
              <p:nvSpPr>
                <p:cNvPr id="489" name="Grafik 27">
                  <a:extLst>
                    <a:ext uri="{FF2B5EF4-FFF2-40B4-BE49-F238E27FC236}">
                      <a16:creationId xmlns:a16="http://schemas.microsoft.com/office/drawing/2014/main" id="{3585D213-C65A-3FE3-30F1-BCAA933B0AA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0" name="Grafik 27">
                  <a:extLst>
                    <a:ext uri="{FF2B5EF4-FFF2-40B4-BE49-F238E27FC236}">
                      <a16:creationId xmlns:a16="http://schemas.microsoft.com/office/drawing/2014/main" id="{1079ABA7-B717-E849-5409-1D1C802B0A57}"/>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1" name="Grafik 27">
                  <a:extLst>
                    <a:ext uri="{FF2B5EF4-FFF2-40B4-BE49-F238E27FC236}">
                      <a16:creationId xmlns:a16="http://schemas.microsoft.com/office/drawing/2014/main" id="{5B727F09-DDAE-4742-B414-987FC893C5A8}"/>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84" name="Grafik 27">
                <a:extLst>
                  <a:ext uri="{FF2B5EF4-FFF2-40B4-BE49-F238E27FC236}">
                    <a16:creationId xmlns:a16="http://schemas.microsoft.com/office/drawing/2014/main" id="{8C85A2F9-EACC-E981-081D-0D5A9BD2E23B}"/>
                  </a:ext>
                </a:extLst>
              </p:cNvPr>
              <p:cNvGrpSpPr/>
              <p:nvPr/>
            </p:nvGrpSpPr>
            <p:grpSpPr bwMode="gray">
              <a:xfrm>
                <a:off x="5973222" y="3463218"/>
                <a:ext cx="81795" cy="81033"/>
                <a:chOff x="5973222" y="3463218"/>
                <a:chExt cx="81795" cy="81033"/>
              </a:xfrm>
              <a:grpFill/>
            </p:grpSpPr>
            <p:sp>
              <p:nvSpPr>
                <p:cNvPr id="486" name="Grafik 27">
                  <a:extLst>
                    <a:ext uri="{FF2B5EF4-FFF2-40B4-BE49-F238E27FC236}">
                      <a16:creationId xmlns:a16="http://schemas.microsoft.com/office/drawing/2014/main" id="{F1F437AA-3753-24B4-D7AB-73489E803329}"/>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87" name="Grafik 27">
                  <a:extLst>
                    <a:ext uri="{FF2B5EF4-FFF2-40B4-BE49-F238E27FC236}">
                      <a16:creationId xmlns:a16="http://schemas.microsoft.com/office/drawing/2014/main" id="{A1A04F76-23C6-44A9-0199-52400727AD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88" name="Grafik 27">
                  <a:extLst>
                    <a:ext uri="{FF2B5EF4-FFF2-40B4-BE49-F238E27FC236}">
                      <a16:creationId xmlns:a16="http://schemas.microsoft.com/office/drawing/2014/main" id="{BE8197FC-613C-2A3E-0C25-547CF229DCF9}"/>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85" name="Grafik 27">
                <a:extLst>
                  <a:ext uri="{FF2B5EF4-FFF2-40B4-BE49-F238E27FC236}">
                    <a16:creationId xmlns:a16="http://schemas.microsoft.com/office/drawing/2014/main" id="{1B01B1FF-855B-B05C-43A1-BCAE1026575B}"/>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515" name="Grafik 29">
            <a:extLst>
              <a:ext uri="{FF2B5EF4-FFF2-40B4-BE49-F238E27FC236}">
                <a16:creationId xmlns:a16="http://schemas.microsoft.com/office/drawing/2014/main" id="{BF2A016F-964B-491C-F517-9C89C9B28C05}"/>
              </a:ext>
            </a:extLst>
          </p:cNvPr>
          <p:cNvGrpSpPr/>
          <p:nvPr/>
        </p:nvGrpSpPr>
        <p:grpSpPr bwMode="gray">
          <a:xfrm>
            <a:off x="5130237" y="2404934"/>
            <a:ext cx="374400" cy="374400"/>
            <a:chOff x="5843587" y="3176587"/>
            <a:chExt cx="500253" cy="500253"/>
          </a:xfrm>
          <a:solidFill>
            <a:schemeClr val="tx1"/>
          </a:solidFill>
        </p:grpSpPr>
        <p:grpSp>
          <p:nvGrpSpPr>
            <p:cNvPr id="516" name="Grafik 29">
              <a:extLst>
                <a:ext uri="{FF2B5EF4-FFF2-40B4-BE49-F238E27FC236}">
                  <a16:creationId xmlns:a16="http://schemas.microsoft.com/office/drawing/2014/main" id="{B8366DEC-9143-388B-84CC-55BE7F9B0C58}"/>
                </a:ext>
              </a:extLst>
            </p:cNvPr>
            <p:cNvGrpSpPr/>
            <p:nvPr/>
          </p:nvGrpSpPr>
          <p:grpSpPr bwMode="gray">
            <a:xfrm>
              <a:off x="5953029" y="3492582"/>
              <a:ext cx="216569" cy="128631"/>
              <a:chOff x="5953029" y="3492582"/>
              <a:chExt cx="216569" cy="128631"/>
            </a:xfrm>
            <a:grpFill/>
          </p:grpSpPr>
          <p:grpSp>
            <p:nvGrpSpPr>
              <p:cNvPr id="557" name="Grafik 29">
                <a:extLst>
                  <a:ext uri="{FF2B5EF4-FFF2-40B4-BE49-F238E27FC236}">
                    <a16:creationId xmlns:a16="http://schemas.microsoft.com/office/drawing/2014/main" id="{87669BA0-D073-F9CD-29DA-04B2A642EA02}"/>
                  </a:ext>
                </a:extLst>
              </p:cNvPr>
              <p:cNvGrpSpPr/>
              <p:nvPr/>
            </p:nvGrpSpPr>
            <p:grpSpPr bwMode="gray">
              <a:xfrm>
                <a:off x="5953029" y="3535131"/>
                <a:ext cx="117514" cy="43695"/>
                <a:chOff x="5953029" y="3535131"/>
                <a:chExt cx="117514" cy="43695"/>
              </a:xfrm>
              <a:grpFill/>
            </p:grpSpPr>
            <p:sp>
              <p:nvSpPr>
                <p:cNvPr id="570" name="Grafik 29">
                  <a:extLst>
                    <a:ext uri="{FF2B5EF4-FFF2-40B4-BE49-F238E27FC236}">
                      <a16:creationId xmlns:a16="http://schemas.microsoft.com/office/drawing/2014/main" id="{0811ACBF-9C6A-0FE7-5E83-19DEA78B5A4E}"/>
                    </a:ext>
                  </a:extLst>
                </p:cNvPr>
                <p:cNvSpPr/>
                <p:nvPr/>
              </p:nvSpPr>
              <p:spPr bwMode="gray">
                <a:xfrm>
                  <a:off x="5953029" y="3549681"/>
                  <a:ext cx="108966" cy="14287"/>
                </a:xfrm>
                <a:custGeom>
                  <a:avLst/>
                  <a:gdLst>
                    <a:gd name="connsiteX0" fmla="*/ 101822 w 108966"/>
                    <a:gd name="connsiteY0" fmla="*/ 14288 h 14287"/>
                    <a:gd name="connsiteX1" fmla="*/ 7144 w 108966"/>
                    <a:gd name="connsiteY1" fmla="*/ 14288 h 14287"/>
                    <a:gd name="connsiteX2" fmla="*/ 0 w 108966"/>
                    <a:gd name="connsiteY2" fmla="*/ 7144 h 14287"/>
                    <a:gd name="connsiteX3" fmla="*/ 7144 w 108966"/>
                    <a:gd name="connsiteY3" fmla="*/ 0 h 14287"/>
                    <a:gd name="connsiteX4" fmla="*/ 101822 w 108966"/>
                    <a:gd name="connsiteY4" fmla="*/ 0 h 14287"/>
                    <a:gd name="connsiteX5" fmla="*/ 108966 w 108966"/>
                    <a:gd name="connsiteY5" fmla="*/ 7144 h 14287"/>
                    <a:gd name="connsiteX6" fmla="*/ 101822 w 1089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 h="14287">
                      <a:moveTo>
                        <a:pt x="101822" y="14288"/>
                      </a:moveTo>
                      <a:lnTo>
                        <a:pt x="7144" y="14288"/>
                      </a:lnTo>
                      <a:cubicBezTo>
                        <a:pt x="3239" y="14288"/>
                        <a:pt x="0" y="11049"/>
                        <a:pt x="0" y="7144"/>
                      </a:cubicBezTo>
                      <a:cubicBezTo>
                        <a:pt x="0" y="3239"/>
                        <a:pt x="3239" y="0"/>
                        <a:pt x="7144" y="0"/>
                      </a:cubicBezTo>
                      <a:lnTo>
                        <a:pt x="101822" y="0"/>
                      </a:lnTo>
                      <a:cubicBezTo>
                        <a:pt x="105728" y="0"/>
                        <a:pt x="108966" y="3239"/>
                        <a:pt x="108966" y="7144"/>
                      </a:cubicBezTo>
                      <a:cubicBezTo>
                        <a:pt x="108966" y="11049"/>
                        <a:pt x="105728" y="14288"/>
                        <a:pt x="101822" y="14288"/>
                      </a:cubicBezTo>
                      <a:close/>
                    </a:path>
                  </a:pathLst>
                </a:custGeom>
                <a:grpFill/>
                <a:ln w="9525" cap="flat">
                  <a:noFill/>
                  <a:prstDash val="solid"/>
                  <a:miter/>
                </a:ln>
              </p:spPr>
              <p:txBody>
                <a:bodyPr rtlCol="0" anchor="ctr"/>
                <a:lstStyle/>
                <a:p>
                  <a:endParaRPr lang="de-DE"/>
                </a:p>
              </p:txBody>
            </p:sp>
            <p:sp>
              <p:nvSpPr>
                <p:cNvPr id="571" name="Grafik 29">
                  <a:extLst>
                    <a:ext uri="{FF2B5EF4-FFF2-40B4-BE49-F238E27FC236}">
                      <a16:creationId xmlns:a16="http://schemas.microsoft.com/office/drawing/2014/main" id="{E7B96625-4FA7-ED7B-AFD5-2C339AA4EC0C}"/>
                    </a:ext>
                  </a:extLst>
                </p:cNvPr>
                <p:cNvSpPr/>
                <p:nvPr/>
              </p:nvSpPr>
              <p:spPr bwMode="gray">
                <a:xfrm>
                  <a:off x="6041540" y="3535131"/>
                  <a:ext cx="29003" cy="29122"/>
                </a:xfrm>
                <a:custGeom>
                  <a:avLst/>
                  <a:gdLst>
                    <a:gd name="connsiteX0" fmla="*/ 21884 w 29003"/>
                    <a:gd name="connsiteY0" fmla="*/ 29123 h 29122"/>
                    <a:gd name="connsiteX1" fmla="*/ 16835 w 29003"/>
                    <a:gd name="connsiteY1" fmla="*/ 27027 h 29122"/>
                    <a:gd name="connsiteX2" fmla="*/ 2072 w 29003"/>
                    <a:gd name="connsiteY2" fmla="*/ 12168 h 29122"/>
                    <a:gd name="connsiteX3" fmla="*/ 2072 w 29003"/>
                    <a:gd name="connsiteY3" fmla="*/ 2072 h 29122"/>
                    <a:gd name="connsiteX4" fmla="*/ 12168 w 29003"/>
                    <a:gd name="connsiteY4" fmla="*/ 2072 h 29122"/>
                    <a:gd name="connsiteX5" fmla="*/ 26932 w 29003"/>
                    <a:gd name="connsiteY5" fmla="*/ 16835 h 29122"/>
                    <a:gd name="connsiteX6" fmla="*/ 26932 w 29003"/>
                    <a:gd name="connsiteY6" fmla="*/ 26932 h 29122"/>
                    <a:gd name="connsiteX7" fmla="*/ 21884 w 29003"/>
                    <a:gd name="connsiteY7" fmla="*/ 29123 h 2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122">
                      <a:moveTo>
                        <a:pt x="21884" y="29123"/>
                      </a:moveTo>
                      <a:cubicBezTo>
                        <a:pt x="20074" y="29123"/>
                        <a:pt x="18264" y="28456"/>
                        <a:pt x="16835" y="27027"/>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123"/>
                        <a:pt x="21884" y="29123"/>
                      </a:cubicBezTo>
                      <a:close/>
                    </a:path>
                  </a:pathLst>
                </a:custGeom>
                <a:grpFill/>
                <a:ln w="9525" cap="flat">
                  <a:noFill/>
                  <a:prstDash val="solid"/>
                  <a:miter/>
                </a:ln>
              </p:spPr>
              <p:txBody>
                <a:bodyPr rtlCol="0" anchor="ctr"/>
                <a:lstStyle/>
                <a:p>
                  <a:endParaRPr lang="de-DE"/>
                </a:p>
              </p:txBody>
            </p:sp>
            <p:sp>
              <p:nvSpPr>
                <p:cNvPr id="572" name="Grafik 29">
                  <a:extLst>
                    <a:ext uri="{FF2B5EF4-FFF2-40B4-BE49-F238E27FC236}">
                      <a16:creationId xmlns:a16="http://schemas.microsoft.com/office/drawing/2014/main" id="{19CD998F-8FAC-B32A-0A42-C0093377BBAA}"/>
                    </a:ext>
                  </a:extLst>
                </p:cNvPr>
                <p:cNvSpPr/>
                <p:nvPr/>
              </p:nvSpPr>
              <p:spPr bwMode="gray">
                <a:xfrm>
                  <a:off x="6041540" y="3549800"/>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265"/>
                        <a:pt x="8930" y="29027"/>
                        <a:pt x="7120" y="29027"/>
                      </a:cubicBezTo>
                      <a:close/>
                    </a:path>
                  </a:pathLst>
                </a:custGeom>
                <a:grpFill/>
                <a:ln w="9525" cap="flat">
                  <a:noFill/>
                  <a:prstDash val="solid"/>
                  <a:miter/>
                </a:ln>
              </p:spPr>
              <p:txBody>
                <a:bodyPr rtlCol="0" anchor="ctr"/>
                <a:lstStyle/>
                <a:p>
                  <a:endParaRPr lang="de-DE"/>
                </a:p>
              </p:txBody>
            </p:sp>
          </p:grpSp>
          <p:grpSp>
            <p:nvGrpSpPr>
              <p:cNvPr id="558" name="Grafik 29">
                <a:extLst>
                  <a:ext uri="{FF2B5EF4-FFF2-40B4-BE49-F238E27FC236}">
                    <a16:creationId xmlns:a16="http://schemas.microsoft.com/office/drawing/2014/main" id="{2828F1EF-F8CF-E5FC-1FAE-2F4A69109D36}"/>
                  </a:ext>
                </a:extLst>
              </p:cNvPr>
              <p:cNvGrpSpPr/>
              <p:nvPr/>
            </p:nvGrpSpPr>
            <p:grpSpPr bwMode="gray">
              <a:xfrm>
                <a:off x="6076048" y="3492582"/>
                <a:ext cx="93550" cy="53288"/>
                <a:chOff x="6076048" y="3492582"/>
                <a:chExt cx="93550" cy="53288"/>
              </a:xfrm>
              <a:grpFill/>
            </p:grpSpPr>
            <p:sp>
              <p:nvSpPr>
                <p:cNvPr id="567" name="Grafik 29">
                  <a:extLst>
                    <a:ext uri="{FF2B5EF4-FFF2-40B4-BE49-F238E27FC236}">
                      <a16:creationId xmlns:a16="http://schemas.microsoft.com/office/drawing/2014/main" id="{16987009-972A-A655-B73E-B7A3FADF8FA7}"/>
                    </a:ext>
                  </a:extLst>
                </p:cNvPr>
                <p:cNvSpPr/>
                <p:nvPr/>
              </p:nvSpPr>
              <p:spPr bwMode="gray">
                <a:xfrm>
                  <a:off x="6076048" y="3505631"/>
                  <a:ext cx="85337" cy="40239"/>
                </a:xfrm>
                <a:custGeom>
                  <a:avLst/>
                  <a:gdLst>
                    <a:gd name="connsiteX0" fmla="*/ 7093 w 85337"/>
                    <a:gd name="connsiteY0" fmla="*/ 40240 h 40239"/>
                    <a:gd name="connsiteX1" fmla="*/ 425 w 85337"/>
                    <a:gd name="connsiteY1" fmla="*/ 35572 h 40239"/>
                    <a:gd name="connsiteX2" fmla="*/ 4711 w 85337"/>
                    <a:gd name="connsiteY2" fmla="*/ 26428 h 40239"/>
                    <a:gd name="connsiteX3" fmla="*/ 75768 w 85337"/>
                    <a:gd name="connsiteY3" fmla="*/ 425 h 40239"/>
                    <a:gd name="connsiteX4" fmla="*/ 84912 w 85337"/>
                    <a:gd name="connsiteY4" fmla="*/ 4711 h 40239"/>
                    <a:gd name="connsiteX5" fmla="*/ 80626 w 85337"/>
                    <a:gd name="connsiteY5" fmla="*/ 13855 h 40239"/>
                    <a:gd name="connsiteX6" fmla="*/ 9569 w 85337"/>
                    <a:gd name="connsiteY6" fmla="*/ 39859 h 40239"/>
                    <a:gd name="connsiteX7" fmla="*/ 7093 w 85337"/>
                    <a:gd name="connsiteY7" fmla="*/ 40240 h 4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239">
                      <a:moveTo>
                        <a:pt x="7093" y="40240"/>
                      </a:moveTo>
                      <a:cubicBezTo>
                        <a:pt x="4140" y="40240"/>
                        <a:pt x="1473" y="38430"/>
                        <a:pt x="425" y="35572"/>
                      </a:cubicBezTo>
                      <a:cubicBezTo>
                        <a:pt x="-908" y="31858"/>
                        <a:pt x="997" y="27762"/>
                        <a:pt x="4711" y="26428"/>
                      </a:cubicBezTo>
                      <a:lnTo>
                        <a:pt x="75768" y="425"/>
                      </a:lnTo>
                      <a:cubicBezTo>
                        <a:pt x="79483" y="-908"/>
                        <a:pt x="83578" y="997"/>
                        <a:pt x="84912" y="4711"/>
                      </a:cubicBezTo>
                      <a:cubicBezTo>
                        <a:pt x="86245" y="8426"/>
                        <a:pt x="84340" y="12522"/>
                        <a:pt x="80626" y="13855"/>
                      </a:cubicBezTo>
                      <a:lnTo>
                        <a:pt x="9569" y="39859"/>
                      </a:lnTo>
                      <a:cubicBezTo>
                        <a:pt x="8712" y="40049"/>
                        <a:pt x="7950" y="40240"/>
                        <a:pt x="7093" y="40240"/>
                      </a:cubicBezTo>
                      <a:close/>
                    </a:path>
                  </a:pathLst>
                </a:custGeom>
                <a:grpFill/>
                <a:ln w="9525" cap="flat">
                  <a:noFill/>
                  <a:prstDash val="solid"/>
                  <a:miter/>
                </a:ln>
              </p:spPr>
              <p:txBody>
                <a:bodyPr rtlCol="0" anchor="ctr"/>
                <a:lstStyle/>
                <a:p>
                  <a:endParaRPr lang="de-DE"/>
                </a:p>
              </p:txBody>
            </p:sp>
            <p:sp>
              <p:nvSpPr>
                <p:cNvPr id="568" name="Grafik 29">
                  <a:extLst>
                    <a:ext uri="{FF2B5EF4-FFF2-40B4-BE49-F238E27FC236}">
                      <a16:creationId xmlns:a16="http://schemas.microsoft.com/office/drawing/2014/main" id="{BB344DA5-6E58-E81C-1159-907A478655AD}"/>
                    </a:ext>
                  </a:extLst>
                </p:cNvPr>
                <p:cNvSpPr/>
                <p:nvPr/>
              </p:nvSpPr>
              <p:spPr bwMode="gray">
                <a:xfrm>
                  <a:off x="6135674" y="3492582"/>
                  <a:ext cx="33901" cy="24427"/>
                </a:xfrm>
                <a:custGeom>
                  <a:avLst/>
                  <a:gdLst>
                    <a:gd name="connsiteX0" fmla="*/ 26809 w 33901"/>
                    <a:gd name="connsiteY0" fmla="*/ 24428 h 24427"/>
                    <a:gd name="connsiteX1" fmla="*/ 23475 w 33901"/>
                    <a:gd name="connsiteY1" fmla="*/ 23666 h 24427"/>
                    <a:gd name="connsiteX2" fmla="*/ 3854 w 33901"/>
                    <a:gd name="connsiteY2" fmla="*/ 13474 h 24427"/>
                    <a:gd name="connsiteX3" fmla="*/ 806 w 33901"/>
                    <a:gd name="connsiteY3" fmla="*/ 3854 h 24427"/>
                    <a:gd name="connsiteX4" fmla="*/ 10426 w 33901"/>
                    <a:gd name="connsiteY4" fmla="*/ 806 h 24427"/>
                    <a:gd name="connsiteX5" fmla="*/ 30048 w 33901"/>
                    <a:gd name="connsiteY5" fmla="*/ 10998 h 24427"/>
                    <a:gd name="connsiteX6" fmla="*/ 33096 w 33901"/>
                    <a:gd name="connsiteY6" fmla="*/ 20618 h 24427"/>
                    <a:gd name="connsiteX7" fmla="*/ 26809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26809" y="24428"/>
                      </a:moveTo>
                      <a:cubicBezTo>
                        <a:pt x="25666" y="24428"/>
                        <a:pt x="24523" y="24142"/>
                        <a:pt x="23475" y="23666"/>
                      </a:cubicBezTo>
                      <a:lnTo>
                        <a:pt x="3854" y="13474"/>
                      </a:lnTo>
                      <a:cubicBezTo>
                        <a:pt x="330" y="11664"/>
                        <a:pt x="-1004" y="7378"/>
                        <a:pt x="806" y="3854"/>
                      </a:cubicBezTo>
                      <a:cubicBezTo>
                        <a:pt x="2616" y="330"/>
                        <a:pt x="6997" y="-1004"/>
                        <a:pt x="10426" y="806"/>
                      </a:cubicBezTo>
                      <a:lnTo>
                        <a:pt x="30048" y="10998"/>
                      </a:lnTo>
                      <a:cubicBezTo>
                        <a:pt x="33572" y="12807"/>
                        <a:pt x="34905" y="17094"/>
                        <a:pt x="33096" y="20618"/>
                      </a:cubicBezTo>
                      <a:cubicBezTo>
                        <a:pt x="31857" y="23094"/>
                        <a:pt x="29381" y="24428"/>
                        <a:pt x="26809" y="24428"/>
                      </a:cubicBezTo>
                      <a:close/>
                    </a:path>
                  </a:pathLst>
                </a:custGeom>
                <a:grpFill/>
                <a:ln w="9525" cap="flat">
                  <a:noFill/>
                  <a:prstDash val="solid"/>
                  <a:miter/>
                </a:ln>
              </p:spPr>
              <p:txBody>
                <a:bodyPr rtlCol="0" anchor="ctr"/>
                <a:lstStyle/>
                <a:p>
                  <a:endParaRPr lang="de-DE"/>
                </a:p>
              </p:txBody>
            </p:sp>
            <p:sp>
              <p:nvSpPr>
                <p:cNvPr id="569" name="Grafik 29">
                  <a:extLst>
                    <a:ext uri="{FF2B5EF4-FFF2-40B4-BE49-F238E27FC236}">
                      <a16:creationId xmlns:a16="http://schemas.microsoft.com/office/drawing/2014/main" id="{809326C7-087C-9BB8-1D78-8DD47532EB60}"/>
                    </a:ext>
                  </a:extLst>
                </p:cNvPr>
                <p:cNvSpPr/>
                <p:nvPr/>
              </p:nvSpPr>
              <p:spPr bwMode="gray">
                <a:xfrm>
                  <a:off x="6146892" y="3502466"/>
                  <a:ext cx="22706" cy="34832"/>
                </a:xfrm>
                <a:custGeom>
                  <a:avLst/>
                  <a:gdLst>
                    <a:gd name="connsiteX0" fmla="*/ 7115 w 22706"/>
                    <a:gd name="connsiteY0" fmla="*/ 34832 h 34832"/>
                    <a:gd name="connsiteX1" fmla="*/ 4448 w 22706"/>
                    <a:gd name="connsiteY1" fmla="*/ 34261 h 34832"/>
                    <a:gd name="connsiteX2" fmla="*/ 542 w 22706"/>
                    <a:gd name="connsiteY2" fmla="*/ 24926 h 34832"/>
                    <a:gd name="connsiteX3" fmla="*/ 8924 w 22706"/>
                    <a:gd name="connsiteY3" fmla="*/ 4448 h 34832"/>
                    <a:gd name="connsiteX4" fmla="*/ 18259 w 22706"/>
                    <a:gd name="connsiteY4" fmla="*/ 542 h 34832"/>
                    <a:gd name="connsiteX5" fmla="*/ 22164 w 22706"/>
                    <a:gd name="connsiteY5" fmla="*/ 9877 h 34832"/>
                    <a:gd name="connsiteX6" fmla="*/ 13782 w 22706"/>
                    <a:gd name="connsiteY6" fmla="*/ 30356 h 34832"/>
                    <a:gd name="connsiteX7" fmla="*/ 7115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7115" y="34832"/>
                      </a:moveTo>
                      <a:cubicBezTo>
                        <a:pt x="6257" y="34832"/>
                        <a:pt x="5305" y="34642"/>
                        <a:pt x="4448" y="34261"/>
                      </a:cubicBezTo>
                      <a:cubicBezTo>
                        <a:pt x="828" y="32737"/>
                        <a:pt x="-982" y="28641"/>
                        <a:pt x="542" y="24926"/>
                      </a:cubicBezTo>
                      <a:lnTo>
                        <a:pt x="8924" y="4448"/>
                      </a:lnTo>
                      <a:cubicBezTo>
                        <a:pt x="10448" y="828"/>
                        <a:pt x="14544" y="-982"/>
                        <a:pt x="18259" y="542"/>
                      </a:cubicBezTo>
                      <a:cubicBezTo>
                        <a:pt x="21878" y="2066"/>
                        <a:pt x="23688" y="6162"/>
                        <a:pt x="22164" y="9877"/>
                      </a:cubicBezTo>
                      <a:lnTo>
                        <a:pt x="13782" y="30356"/>
                      </a:lnTo>
                      <a:cubicBezTo>
                        <a:pt x="12639" y="33118"/>
                        <a:pt x="9972" y="34832"/>
                        <a:pt x="7115" y="34832"/>
                      </a:cubicBezTo>
                      <a:close/>
                    </a:path>
                  </a:pathLst>
                </a:custGeom>
                <a:grpFill/>
                <a:ln w="9525" cap="flat">
                  <a:noFill/>
                  <a:prstDash val="solid"/>
                  <a:miter/>
                </a:ln>
              </p:spPr>
              <p:txBody>
                <a:bodyPr rtlCol="0" anchor="ctr"/>
                <a:lstStyle/>
                <a:p>
                  <a:endParaRPr lang="de-DE"/>
                </a:p>
              </p:txBody>
            </p:sp>
          </p:grpSp>
          <p:grpSp>
            <p:nvGrpSpPr>
              <p:cNvPr id="559" name="Grafik 29">
                <a:extLst>
                  <a:ext uri="{FF2B5EF4-FFF2-40B4-BE49-F238E27FC236}">
                    <a16:creationId xmlns:a16="http://schemas.microsoft.com/office/drawing/2014/main" id="{CA9B2F49-306B-084C-66A9-2E4477A392A5}"/>
                  </a:ext>
                </a:extLst>
              </p:cNvPr>
              <p:cNvGrpSpPr/>
              <p:nvPr/>
            </p:nvGrpSpPr>
            <p:grpSpPr bwMode="gray">
              <a:xfrm>
                <a:off x="6076048" y="3567829"/>
                <a:ext cx="93550" cy="53384"/>
                <a:chOff x="6076048" y="3567829"/>
                <a:chExt cx="93550" cy="53384"/>
              </a:xfrm>
              <a:grpFill/>
            </p:grpSpPr>
            <p:sp>
              <p:nvSpPr>
                <p:cNvPr id="564" name="Grafik 29">
                  <a:extLst>
                    <a:ext uri="{FF2B5EF4-FFF2-40B4-BE49-F238E27FC236}">
                      <a16:creationId xmlns:a16="http://schemas.microsoft.com/office/drawing/2014/main" id="{4E46396B-3986-D36C-D870-7B7FDFC4C49B}"/>
                    </a:ext>
                  </a:extLst>
                </p:cNvPr>
                <p:cNvSpPr/>
                <p:nvPr/>
              </p:nvSpPr>
              <p:spPr bwMode="gray">
                <a:xfrm>
                  <a:off x="6076048" y="3567829"/>
                  <a:ext cx="85337" cy="40334"/>
                </a:xfrm>
                <a:custGeom>
                  <a:avLst/>
                  <a:gdLst>
                    <a:gd name="connsiteX0" fmla="*/ 78244 w 85337"/>
                    <a:gd name="connsiteY0" fmla="*/ 40335 h 40334"/>
                    <a:gd name="connsiteX1" fmla="*/ 75768 w 85337"/>
                    <a:gd name="connsiteY1" fmla="*/ 39859 h 40334"/>
                    <a:gd name="connsiteX2" fmla="*/ 4711 w 85337"/>
                    <a:gd name="connsiteY2" fmla="*/ 13855 h 40334"/>
                    <a:gd name="connsiteX3" fmla="*/ 425 w 85337"/>
                    <a:gd name="connsiteY3" fmla="*/ 4711 h 40334"/>
                    <a:gd name="connsiteX4" fmla="*/ 9569 w 85337"/>
                    <a:gd name="connsiteY4" fmla="*/ 425 h 40334"/>
                    <a:gd name="connsiteX5" fmla="*/ 80626 w 85337"/>
                    <a:gd name="connsiteY5" fmla="*/ 26428 h 40334"/>
                    <a:gd name="connsiteX6" fmla="*/ 84912 w 85337"/>
                    <a:gd name="connsiteY6" fmla="*/ 35572 h 40334"/>
                    <a:gd name="connsiteX7" fmla="*/ 78244 w 85337"/>
                    <a:gd name="connsiteY7" fmla="*/ 40335 h 4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334">
                      <a:moveTo>
                        <a:pt x="78244" y="40335"/>
                      </a:moveTo>
                      <a:cubicBezTo>
                        <a:pt x="77387" y="40335"/>
                        <a:pt x="76625" y="40240"/>
                        <a:pt x="75768" y="39859"/>
                      </a:cubicBezTo>
                      <a:lnTo>
                        <a:pt x="4711" y="13855"/>
                      </a:lnTo>
                      <a:cubicBezTo>
                        <a:pt x="997" y="12522"/>
                        <a:pt x="-908" y="8426"/>
                        <a:pt x="425" y="4711"/>
                      </a:cubicBezTo>
                      <a:cubicBezTo>
                        <a:pt x="1759" y="997"/>
                        <a:pt x="5854" y="-908"/>
                        <a:pt x="9569" y="425"/>
                      </a:cubicBezTo>
                      <a:lnTo>
                        <a:pt x="80626" y="26428"/>
                      </a:lnTo>
                      <a:cubicBezTo>
                        <a:pt x="84340" y="27762"/>
                        <a:pt x="86245" y="31858"/>
                        <a:pt x="84912" y="35572"/>
                      </a:cubicBezTo>
                      <a:cubicBezTo>
                        <a:pt x="83864" y="38525"/>
                        <a:pt x="81102" y="40335"/>
                        <a:pt x="78244" y="40335"/>
                      </a:cubicBezTo>
                      <a:close/>
                    </a:path>
                  </a:pathLst>
                </a:custGeom>
                <a:grpFill/>
                <a:ln w="9525" cap="flat">
                  <a:noFill/>
                  <a:prstDash val="solid"/>
                  <a:miter/>
                </a:ln>
              </p:spPr>
              <p:txBody>
                <a:bodyPr rtlCol="0" anchor="ctr"/>
                <a:lstStyle/>
                <a:p>
                  <a:endParaRPr lang="de-DE"/>
                </a:p>
              </p:txBody>
            </p:sp>
            <p:sp>
              <p:nvSpPr>
                <p:cNvPr id="565" name="Grafik 29">
                  <a:extLst>
                    <a:ext uri="{FF2B5EF4-FFF2-40B4-BE49-F238E27FC236}">
                      <a16:creationId xmlns:a16="http://schemas.microsoft.com/office/drawing/2014/main" id="{144281C2-1156-02AE-21AA-4E601E214CD3}"/>
                    </a:ext>
                  </a:extLst>
                </p:cNvPr>
                <p:cNvSpPr/>
                <p:nvPr/>
              </p:nvSpPr>
              <p:spPr bwMode="gray">
                <a:xfrm>
                  <a:off x="6135674" y="3596786"/>
                  <a:ext cx="33901" cy="24427"/>
                </a:xfrm>
                <a:custGeom>
                  <a:avLst/>
                  <a:gdLst>
                    <a:gd name="connsiteX0" fmla="*/ 7188 w 33901"/>
                    <a:gd name="connsiteY0" fmla="*/ 24428 h 24427"/>
                    <a:gd name="connsiteX1" fmla="*/ 806 w 33901"/>
                    <a:gd name="connsiteY1" fmla="*/ 20618 h 24427"/>
                    <a:gd name="connsiteX2" fmla="*/ 3854 w 33901"/>
                    <a:gd name="connsiteY2" fmla="*/ 10998 h 24427"/>
                    <a:gd name="connsiteX3" fmla="*/ 23475 w 33901"/>
                    <a:gd name="connsiteY3" fmla="*/ 806 h 24427"/>
                    <a:gd name="connsiteX4" fmla="*/ 33096 w 33901"/>
                    <a:gd name="connsiteY4" fmla="*/ 3854 h 24427"/>
                    <a:gd name="connsiteX5" fmla="*/ 30048 w 33901"/>
                    <a:gd name="connsiteY5" fmla="*/ 13474 h 24427"/>
                    <a:gd name="connsiteX6" fmla="*/ 10426 w 33901"/>
                    <a:gd name="connsiteY6" fmla="*/ 23666 h 24427"/>
                    <a:gd name="connsiteX7" fmla="*/ 7188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7188" y="24428"/>
                      </a:moveTo>
                      <a:cubicBezTo>
                        <a:pt x="4616" y="24428"/>
                        <a:pt x="2139" y="22999"/>
                        <a:pt x="806" y="20618"/>
                      </a:cubicBezTo>
                      <a:cubicBezTo>
                        <a:pt x="-1004" y="17094"/>
                        <a:pt x="330" y="12807"/>
                        <a:pt x="3854" y="10998"/>
                      </a:cubicBezTo>
                      <a:lnTo>
                        <a:pt x="23475" y="806"/>
                      </a:lnTo>
                      <a:cubicBezTo>
                        <a:pt x="27000" y="-1004"/>
                        <a:pt x="31286" y="330"/>
                        <a:pt x="33096" y="3854"/>
                      </a:cubicBezTo>
                      <a:cubicBezTo>
                        <a:pt x="34905" y="7378"/>
                        <a:pt x="33572" y="11664"/>
                        <a:pt x="30048" y="13474"/>
                      </a:cubicBezTo>
                      <a:lnTo>
                        <a:pt x="10426" y="23666"/>
                      </a:lnTo>
                      <a:cubicBezTo>
                        <a:pt x="9378" y="24142"/>
                        <a:pt x="8331" y="24428"/>
                        <a:pt x="7188" y="24428"/>
                      </a:cubicBezTo>
                      <a:close/>
                    </a:path>
                  </a:pathLst>
                </a:custGeom>
                <a:grpFill/>
                <a:ln w="9525" cap="flat">
                  <a:noFill/>
                  <a:prstDash val="solid"/>
                  <a:miter/>
                </a:ln>
              </p:spPr>
              <p:txBody>
                <a:bodyPr rtlCol="0" anchor="ctr"/>
                <a:lstStyle/>
                <a:p>
                  <a:endParaRPr lang="de-DE"/>
                </a:p>
              </p:txBody>
            </p:sp>
            <p:sp>
              <p:nvSpPr>
                <p:cNvPr id="566" name="Grafik 29">
                  <a:extLst>
                    <a:ext uri="{FF2B5EF4-FFF2-40B4-BE49-F238E27FC236}">
                      <a16:creationId xmlns:a16="http://schemas.microsoft.com/office/drawing/2014/main" id="{1B82104D-93CD-8C3C-6CB2-DBAD905EDBF9}"/>
                    </a:ext>
                  </a:extLst>
                </p:cNvPr>
                <p:cNvSpPr/>
                <p:nvPr/>
              </p:nvSpPr>
              <p:spPr bwMode="gray">
                <a:xfrm>
                  <a:off x="6146892" y="3576380"/>
                  <a:ext cx="22706" cy="34832"/>
                </a:xfrm>
                <a:custGeom>
                  <a:avLst/>
                  <a:gdLst>
                    <a:gd name="connsiteX0" fmla="*/ 15497 w 22706"/>
                    <a:gd name="connsiteY0" fmla="*/ 34832 h 34832"/>
                    <a:gd name="connsiteX1" fmla="*/ 8924 w 22706"/>
                    <a:gd name="connsiteY1" fmla="*/ 30356 h 34832"/>
                    <a:gd name="connsiteX2" fmla="*/ 542 w 22706"/>
                    <a:gd name="connsiteY2" fmla="*/ 9877 h 34832"/>
                    <a:gd name="connsiteX3" fmla="*/ 4448 w 22706"/>
                    <a:gd name="connsiteY3" fmla="*/ 542 h 34832"/>
                    <a:gd name="connsiteX4" fmla="*/ 13782 w 22706"/>
                    <a:gd name="connsiteY4" fmla="*/ 4448 h 34832"/>
                    <a:gd name="connsiteX5" fmla="*/ 22164 w 22706"/>
                    <a:gd name="connsiteY5" fmla="*/ 24926 h 34832"/>
                    <a:gd name="connsiteX6" fmla="*/ 18259 w 22706"/>
                    <a:gd name="connsiteY6" fmla="*/ 34261 h 34832"/>
                    <a:gd name="connsiteX7" fmla="*/ 15497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15497" y="34832"/>
                      </a:moveTo>
                      <a:cubicBezTo>
                        <a:pt x="12639" y="34832"/>
                        <a:pt x="9972" y="33118"/>
                        <a:pt x="8924" y="30356"/>
                      </a:cubicBezTo>
                      <a:lnTo>
                        <a:pt x="542" y="9877"/>
                      </a:lnTo>
                      <a:cubicBezTo>
                        <a:pt x="-982" y="6257"/>
                        <a:pt x="828" y="2066"/>
                        <a:pt x="4448" y="542"/>
                      </a:cubicBezTo>
                      <a:cubicBezTo>
                        <a:pt x="8162" y="-982"/>
                        <a:pt x="12258" y="828"/>
                        <a:pt x="13782" y="4448"/>
                      </a:cubicBezTo>
                      <a:lnTo>
                        <a:pt x="22164" y="24926"/>
                      </a:lnTo>
                      <a:cubicBezTo>
                        <a:pt x="23688" y="28546"/>
                        <a:pt x="21878" y="32737"/>
                        <a:pt x="18259" y="34261"/>
                      </a:cubicBezTo>
                      <a:cubicBezTo>
                        <a:pt x="17306" y="34642"/>
                        <a:pt x="16449" y="34832"/>
                        <a:pt x="15497" y="34832"/>
                      </a:cubicBezTo>
                      <a:close/>
                    </a:path>
                  </a:pathLst>
                </a:custGeom>
                <a:grpFill/>
                <a:ln w="9525" cap="flat">
                  <a:noFill/>
                  <a:prstDash val="solid"/>
                  <a:miter/>
                </a:ln>
              </p:spPr>
              <p:txBody>
                <a:bodyPr rtlCol="0" anchor="ctr"/>
                <a:lstStyle/>
                <a:p>
                  <a:endParaRPr lang="de-DE"/>
                </a:p>
              </p:txBody>
            </p:sp>
          </p:grpSp>
          <p:grpSp>
            <p:nvGrpSpPr>
              <p:cNvPr id="560" name="Grafik 29">
                <a:extLst>
                  <a:ext uri="{FF2B5EF4-FFF2-40B4-BE49-F238E27FC236}">
                    <a16:creationId xmlns:a16="http://schemas.microsoft.com/office/drawing/2014/main" id="{59260D1C-02F0-BE50-C761-A86A341E15CB}"/>
                  </a:ext>
                </a:extLst>
              </p:cNvPr>
              <p:cNvGrpSpPr/>
              <p:nvPr/>
            </p:nvGrpSpPr>
            <p:grpSpPr bwMode="gray">
              <a:xfrm>
                <a:off x="6075996" y="3535036"/>
                <a:ext cx="92273" cy="43600"/>
                <a:chOff x="6075996" y="3535036"/>
                <a:chExt cx="92273" cy="43600"/>
              </a:xfrm>
              <a:grpFill/>
            </p:grpSpPr>
            <p:sp>
              <p:nvSpPr>
                <p:cNvPr id="561" name="Grafik 29">
                  <a:extLst>
                    <a:ext uri="{FF2B5EF4-FFF2-40B4-BE49-F238E27FC236}">
                      <a16:creationId xmlns:a16="http://schemas.microsoft.com/office/drawing/2014/main" id="{95A532CC-D2C2-FED5-F31E-29DC32DA40A8}"/>
                    </a:ext>
                  </a:extLst>
                </p:cNvPr>
                <p:cNvSpPr/>
                <p:nvPr/>
              </p:nvSpPr>
              <p:spPr bwMode="gray">
                <a:xfrm>
                  <a:off x="6075996" y="3549585"/>
                  <a:ext cx="83629" cy="14287"/>
                </a:xfrm>
                <a:custGeom>
                  <a:avLst/>
                  <a:gdLst>
                    <a:gd name="connsiteX0" fmla="*/ 76486 w 83629"/>
                    <a:gd name="connsiteY0" fmla="*/ 14288 h 14287"/>
                    <a:gd name="connsiteX1" fmla="*/ 7144 w 83629"/>
                    <a:gd name="connsiteY1" fmla="*/ 14288 h 14287"/>
                    <a:gd name="connsiteX2" fmla="*/ 0 w 83629"/>
                    <a:gd name="connsiteY2" fmla="*/ 7144 h 14287"/>
                    <a:gd name="connsiteX3" fmla="*/ 7144 w 83629"/>
                    <a:gd name="connsiteY3" fmla="*/ 0 h 14287"/>
                    <a:gd name="connsiteX4" fmla="*/ 76486 w 83629"/>
                    <a:gd name="connsiteY4" fmla="*/ 0 h 14287"/>
                    <a:gd name="connsiteX5" fmla="*/ 83630 w 83629"/>
                    <a:gd name="connsiteY5" fmla="*/ 7144 h 14287"/>
                    <a:gd name="connsiteX6" fmla="*/ 76486 w 836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29" h="14287">
                      <a:moveTo>
                        <a:pt x="76486" y="14288"/>
                      </a:moveTo>
                      <a:lnTo>
                        <a:pt x="7144" y="14288"/>
                      </a:lnTo>
                      <a:cubicBezTo>
                        <a:pt x="3239" y="14288"/>
                        <a:pt x="0" y="11049"/>
                        <a:pt x="0" y="7144"/>
                      </a:cubicBezTo>
                      <a:cubicBezTo>
                        <a:pt x="0" y="3239"/>
                        <a:pt x="3239" y="0"/>
                        <a:pt x="7144" y="0"/>
                      </a:cubicBezTo>
                      <a:lnTo>
                        <a:pt x="76486" y="0"/>
                      </a:lnTo>
                      <a:cubicBezTo>
                        <a:pt x="80391" y="0"/>
                        <a:pt x="83630" y="3239"/>
                        <a:pt x="83630" y="7144"/>
                      </a:cubicBezTo>
                      <a:cubicBezTo>
                        <a:pt x="83630" y="11049"/>
                        <a:pt x="80486" y="14288"/>
                        <a:pt x="76486" y="14288"/>
                      </a:cubicBezTo>
                      <a:close/>
                    </a:path>
                  </a:pathLst>
                </a:custGeom>
                <a:grpFill/>
                <a:ln w="9525" cap="flat">
                  <a:noFill/>
                  <a:prstDash val="solid"/>
                  <a:miter/>
                </a:ln>
              </p:spPr>
              <p:txBody>
                <a:bodyPr rtlCol="0" anchor="ctr"/>
                <a:lstStyle/>
                <a:p>
                  <a:endParaRPr lang="de-DE"/>
                </a:p>
              </p:txBody>
            </p:sp>
            <p:sp>
              <p:nvSpPr>
                <p:cNvPr id="562" name="Grafik 29">
                  <a:extLst>
                    <a:ext uri="{FF2B5EF4-FFF2-40B4-BE49-F238E27FC236}">
                      <a16:creationId xmlns:a16="http://schemas.microsoft.com/office/drawing/2014/main" id="{494D93ED-06E1-8FAC-7B78-7F377F7337CE}"/>
                    </a:ext>
                  </a:extLst>
                </p:cNvPr>
                <p:cNvSpPr/>
                <p:nvPr/>
              </p:nvSpPr>
              <p:spPr bwMode="gray">
                <a:xfrm>
                  <a:off x="6139266" y="3535036"/>
                  <a:ext cx="29003" cy="29027"/>
                </a:xfrm>
                <a:custGeom>
                  <a:avLst/>
                  <a:gdLst>
                    <a:gd name="connsiteX0" fmla="*/ 21884 w 29003"/>
                    <a:gd name="connsiteY0" fmla="*/ 29027 h 29027"/>
                    <a:gd name="connsiteX1" fmla="*/ 16835 w 29003"/>
                    <a:gd name="connsiteY1" fmla="*/ 26932 h 29027"/>
                    <a:gd name="connsiteX2" fmla="*/ 2072 w 29003"/>
                    <a:gd name="connsiteY2" fmla="*/ 12168 h 29027"/>
                    <a:gd name="connsiteX3" fmla="*/ 2072 w 29003"/>
                    <a:gd name="connsiteY3" fmla="*/ 2072 h 29027"/>
                    <a:gd name="connsiteX4" fmla="*/ 12168 w 29003"/>
                    <a:gd name="connsiteY4" fmla="*/ 2072 h 29027"/>
                    <a:gd name="connsiteX5" fmla="*/ 26932 w 29003"/>
                    <a:gd name="connsiteY5" fmla="*/ 16835 h 29027"/>
                    <a:gd name="connsiteX6" fmla="*/ 26932 w 29003"/>
                    <a:gd name="connsiteY6" fmla="*/ 26932 h 29027"/>
                    <a:gd name="connsiteX7" fmla="*/ 21884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21884" y="29027"/>
                      </a:moveTo>
                      <a:cubicBezTo>
                        <a:pt x="20074" y="29027"/>
                        <a:pt x="18264" y="28361"/>
                        <a:pt x="16835" y="26932"/>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027"/>
                        <a:pt x="21884" y="29027"/>
                      </a:cubicBezTo>
                      <a:close/>
                    </a:path>
                  </a:pathLst>
                </a:custGeom>
                <a:grpFill/>
                <a:ln w="9525" cap="flat">
                  <a:noFill/>
                  <a:prstDash val="solid"/>
                  <a:miter/>
                </a:ln>
              </p:spPr>
              <p:txBody>
                <a:bodyPr rtlCol="0" anchor="ctr"/>
                <a:lstStyle/>
                <a:p>
                  <a:endParaRPr lang="de-DE"/>
                </a:p>
              </p:txBody>
            </p:sp>
            <p:sp>
              <p:nvSpPr>
                <p:cNvPr id="563" name="Grafik 29">
                  <a:extLst>
                    <a:ext uri="{FF2B5EF4-FFF2-40B4-BE49-F238E27FC236}">
                      <a16:creationId xmlns:a16="http://schemas.microsoft.com/office/drawing/2014/main" id="{B4256B03-B2E2-AB10-AEF7-1C25DC12A27C}"/>
                    </a:ext>
                  </a:extLst>
                </p:cNvPr>
                <p:cNvSpPr/>
                <p:nvPr/>
              </p:nvSpPr>
              <p:spPr bwMode="gray">
                <a:xfrm>
                  <a:off x="6139266" y="3549609"/>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361"/>
                        <a:pt x="8930" y="29027"/>
                        <a:pt x="7120" y="29027"/>
                      </a:cubicBezTo>
                      <a:close/>
                    </a:path>
                  </a:pathLst>
                </a:custGeom>
                <a:grpFill/>
                <a:ln w="9525" cap="flat">
                  <a:noFill/>
                  <a:prstDash val="solid"/>
                  <a:miter/>
                </a:ln>
              </p:spPr>
              <p:txBody>
                <a:bodyPr rtlCol="0" anchor="ctr"/>
                <a:lstStyle/>
                <a:p>
                  <a:endParaRPr lang="de-DE"/>
                </a:p>
              </p:txBody>
            </p:sp>
          </p:grpSp>
        </p:grpSp>
        <p:grpSp>
          <p:nvGrpSpPr>
            <p:cNvPr id="517" name="Grafik 29">
              <a:extLst>
                <a:ext uri="{FF2B5EF4-FFF2-40B4-BE49-F238E27FC236}">
                  <a16:creationId xmlns:a16="http://schemas.microsoft.com/office/drawing/2014/main" id="{91F47510-434A-E89C-0643-437C0E225F43}"/>
                </a:ext>
              </a:extLst>
            </p:cNvPr>
            <p:cNvGrpSpPr/>
            <p:nvPr/>
          </p:nvGrpSpPr>
          <p:grpSpPr bwMode="gray">
            <a:xfrm>
              <a:off x="5843587" y="3176587"/>
              <a:ext cx="500253" cy="500253"/>
              <a:chOff x="5843587" y="3176587"/>
              <a:chExt cx="500253" cy="500253"/>
            </a:xfrm>
            <a:grpFill/>
          </p:grpSpPr>
          <p:sp>
            <p:nvSpPr>
              <p:cNvPr id="552" name="Grafik 29">
                <a:extLst>
                  <a:ext uri="{FF2B5EF4-FFF2-40B4-BE49-F238E27FC236}">
                    <a16:creationId xmlns:a16="http://schemas.microsoft.com/office/drawing/2014/main" id="{38AEE085-A97A-61DA-409E-E77CFAB2632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53" name="Grafik 29">
                <a:extLst>
                  <a:ext uri="{FF2B5EF4-FFF2-40B4-BE49-F238E27FC236}">
                    <a16:creationId xmlns:a16="http://schemas.microsoft.com/office/drawing/2014/main" id="{771E45AC-E014-7ED8-C18D-E8FD2043607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4" name="Grafik 29">
                <a:extLst>
                  <a:ext uri="{FF2B5EF4-FFF2-40B4-BE49-F238E27FC236}">
                    <a16:creationId xmlns:a16="http://schemas.microsoft.com/office/drawing/2014/main" id="{EB4985C6-8FEA-5D39-E779-7E021EECF2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5" name="Grafik 29">
                <a:extLst>
                  <a:ext uri="{FF2B5EF4-FFF2-40B4-BE49-F238E27FC236}">
                    <a16:creationId xmlns:a16="http://schemas.microsoft.com/office/drawing/2014/main" id="{4853E291-97F6-6ADE-3A0F-434BE050F76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6" name="Grafik 29">
                <a:extLst>
                  <a:ext uri="{FF2B5EF4-FFF2-40B4-BE49-F238E27FC236}">
                    <a16:creationId xmlns:a16="http://schemas.microsoft.com/office/drawing/2014/main" id="{AA7F8CDE-9AAA-5B3F-A73E-35070D042CB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8" name="Grafik 29">
              <a:extLst>
                <a:ext uri="{FF2B5EF4-FFF2-40B4-BE49-F238E27FC236}">
                  <a16:creationId xmlns:a16="http://schemas.microsoft.com/office/drawing/2014/main" id="{21DC36FC-6934-DDAE-A22F-3B9D2E1787F4}"/>
                </a:ext>
              </a:extLst>
            </p:cNvPr>
            <p:cNvGrpSpPr/>
            <p:nvPr/>
          </p:nvGrpSpPr>
          <p:grpSpPr bwMode="gray">
            <a:xfrm>
              <a:off x="5969340" y="3299197"/>
              <a:ext cx="183975" cy="181046"/>
              <a:chOff x="5969340" y="3299197"/>
              <a:chExt cx="183975" cy="181046"/>
            </a:xfrm>
            <a:grpFill/>
          </p:grpSpPr>
          <p:grpSp>
            <p:nvGrpSpPr>
              <p:cNvPr id="519" name="Grafik 29">
                <a:extLst>
                  <a:ext uri="{FF2B5EF4-FFF2-40B4-BE49-F238E27FC236}">
                    <a16:creationId xmlns:a16="http://schemas.microsoft.com/office/drawing/2014/main" id="{93CC8091-9CC3-EF9F-F518-600A87FD9CD7}"/>
                  </a:ext>
                </a:extLst>
              </p:cNvPr>
              <p:cNvGrpSpPr/>
              <p:nvPr/>
            </p:nvGrpSpPr>
            <p:grpSpPr bwMode="gray">
              <a:xfrm>
                <a:off x="6064114" y="3325081"/>
                <a:ext cx="63984" cy="63436"/>
                <a:chOff x="6064114" y="3325081"/>
                <a:chExt cx="63984" cy="63436"/>
              </a:xfrm>
              <a:grpFill/>
            </p:grpSpPr>
            <p:sp>
              <p:nvSpPr>
                <p:cNvPr id="549" name="Grafik 29">
                  <a:extLst>
                    <a:ext uri="{FF2B5EF4-FFF2-40B4-BE49-F238E27FC236}">
                      <a16:creationId xmlns:a16="http://schemas.microsoft.com/office/drawing/2014/main" id="{2FE4BAD9-D3DF-2370-9A73-5E734AEF7408}"/>
                    </a:ext>
                  </a:extLst>
                </p:cNvPr>
                <p:cNvSpPr/>
                <p:nvPr/>
              </p:nvSpPr>
              <p:spPr bwMode="gray">
                <a:xfrm>
                  <a:off x="6064114" y="3325105"/>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835" y="62746"/>
                        <a:pt x="8930" y="63413"/>
                        <a:pt x="7120" y="63413"/>
                      </a:cubicBezTo>
                      <a:close/>
                    </a:path>
                  </a:pathLst>
                </a:custGeom>
                <a:grpFill/>
                <a:ln w="9525" cap="flat">
                  <a:noFill/>
                  <a:prstDash val="solid"/>
                  <a:miter/>
                </a:ln>
              </p:spPr>
              <p:txBody>
                <a:bodyPr rtlCol="0" anchor="ctr"/>
                <a:lstStyle/>
                <a:p>
                  <a:endParaRPr lang="de-DE"/>
                </a:p>
              </p:txBody>
            </p:sp>
            <p:sp>
              <p:nvSpPr>
                <p:cNvPr id="550" name="Grafik 29">
                  <a:extLst>
                    <a:ext uri="{FF2B5EF4-FFF2-40B4-BE49-F238E27FC236}">
                      <a16:creationId xmlns:a16="http://schemas.microsoft.com/office/drawing/2014/main" id="{3B620F66-F082-A693-25C3-3179F8AD8973}"/>
                    </a:ext>
                  </a:extLst>
                </p:cNvPr>
                <p:cNvSpPr/>
                <p:nvPr/>
              </p:nvSpPr>
              <p:spPr bwMode="gray">
                <a:xfrm>
                  <a:off x="6095142"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51" name="Grafik 29">
                  <a:extLst>
                    <a:ext uri="{FF2B5EF4-FFF2-40B4-BE49-F238E27FC236}">
                      <a16:creationId xmlns:a16="http://schemas.microsoft.com/office/drawing/2014/main" id="{4D45811F-3BFB-C9F1-E9C4-898838A6A361}"/>
                    </a:ext>
                  </a:extLst>
                </p:cNvPr>
                <p:cNvSpPr/>
                <p:nvPr/>
              </p:nvSpPr>
              <p:spPr bwMode="gray">
                <a:xfrm>
                  <a:off x="6113811"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0" name="Grafik 29">
                <a:extLst>
                  <a:ext uri="{FF2B5EF4-FFF2-40B4-BE49-F238E27FC236}">
                    <a16:creationId xmlns:a16="http://schemas.microsoft.com/office/drawing/2014/main" id="{680DE06D-4362-7DA1-C671-DD20A3886459}"/>
                  </a:ext>
                </a:extLst>
              </p:cNvPr>
              <p:cNvGrpSpPr/>
              <p:nvPr/>
            </p:nvGrpSpPr>
            <p:grpSpPr bwMode="gray">
              <a:xfrm>
                <a:off x="5994558" y="3325081"/>
                <a:ext cx="63984" cy="63436"/>
                <a:chOff x="5994558" y="3325081"/>
                <a:chExt cx="63984" cy="63436"/>
              </a:xfrm>
              <a:grpFill/>
            </p:grpSpPr>
            <p:sp>
              <p:nvSpPr>
                <p:cNvPr id="546" name="Grafik 29">
                  <a:extLst>
                    <a:ext uri="{FF2B5EF4-FFF2-40B4-BE49-F238E27FC236}">
                      <a16:creationId xmlns:a16="http://schemas.microsoft.com/office/drawing/2014/main" id="{494BB5BA-D692-72A5-3386-55E473F413B4}"/>
                    </a:ext>
                  </a:extLst>
                </p:cNvPr>
                <p:cNvSpPr/>
                <p:nvPr/>
              </p:nvSpPr>
              <p:spPr bwMode="gray">
                <a:xfrm>
                  <a:off x="5995153" y="3325105"/>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888" y="62746"/>
                        <a:pt x="58079" y="63413"/>
                        <a:pt x="56269" y="63413"/>
                      </a:cubicBezTo>
                      <a:close/>
                    </a:path>
                  </a:pathLst>
                </a:custGeom>
                <a:grpFill/>
                <a:ln w="9525" cap="flat">
                  <a:noFill/>
                  <a:prstDash val="solid"/>
                  <a:miter/>
                </a:ln>
              </p:spPr>
              <p:txBody>
                <a:bodyPr rtlCol="0" anchor="ctr"/>
                <a:lstStyle/>
                <a:p>
                  <a:endParaRPr lang="de-DE"/>
                </a:p>
              </p:txBody>
            </p:sp>
            <p:sp>
              <p:nvSpPr>
                <p:cNvPr id="547" name="Grafik 29">
                  <a:extLst>
                    <a:ext uri="{FF2B5EF4-FFF2-40B4-BE49-F238E27FC236}">
                      <a16:creationId xmlns:a16="http://schemas.microsoft.com/office/drawing/2014/main" id="{C0C3D734-D08B-DF85-07CB-4B48ADD51EB8}"/>
                    </a:ext>
                  </a:extLst>
                </p:cNvPr>
                <p:cNvSpPr/>
                <p:nvPr/>
              </p:nvSpPr>
              <p:spPr bwMode="gray">
                <a:xfrm>
                  <a:off x="5995225"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48" name="Grafik 29">
                  <a:extLst>
                    <a:ext uri="{FF2B5EF4-FFF2-40B4-BE49-F238E27FC236}">
                      <a16:creationId xmlns:a16="http://schemas.microsoft.com/office/drawing/2014/main" id="{14BC4F5A-BA6A-1B4B-7B61-C8C6BA0CC0EC}"/>
                    </a:ext>
                  </a:extLst>
                </p:cNvPr>
                <p:cNvSpPr/>
                <p:nvPr/>
              </p:nvSpPr>
              <p:spPr bwMode="gray">
                <a:xfrm>
                  <a:off x="5994558"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1" name="Grafik 29">
                <a:extLst>
                  <a:ext uri="{FF2B5EF4-FFF2-40B4-BE49-F238E27FC236}">
                    <a16:creationId xmlns:a16="http://schemas.microsoft.com/office/drawing/2014/main" id="{D36D042C-5637-EDAB-E33A-872C45852AB4}"/>
                  </a:ext>
                </a:extLst>
              </p:cNvPr>
              <p:cNvGrpSpPr/>
              <p:nvPr/>
            </p:nvGrpSpPr>
            <p:grpSpPr bwMode="gray">
              <a:xfrm>
                <a:off x="6064114" y="3390828"/>
                <a:ext cx="63984" cy="63412"/>
                <a:chOff x="6064114" y="3390828"/>
                <a:chExt cx="63984" cy="63412"/>
              </a:xfrm>
              <a:grpFill/>
            </p:grpSpPr>
            <p:sp>
              <p:nvSpPr>
                <p:cNvPr id="543" name="Grafik 29">
                  <a:extLst>
                    <a:ext uri="{FF2B5EF4-FFF2-40B4-BE49-F238E27FC236}">
                      <a16:creationId xmlns:a16="http://schemas.microsoft.com/office/drawing/2014/main" id="{0E88EB87-EAE9-7695-81E4-91F17B31873C}"/>
                    </a:ext>
                  </a:extLst>
                </p:cNvPr>
                <p:cNvSpPr/>
                <p:nvPr/>
              </p:nvSpPr>
              <p:spPr bwMode="gray">
                <a:xfrm>
                  <a:off x="6064114" y="3390828"/>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984" y="62746"/>
                        <a:pt x="58174" y="63413"/>
                        <a:pt x="56269" y="63413"/>
                      </a:cubicBezTo>
                      <a:close/>
                    </a:path>
                  </a:pathLst>
                </a:custGeom>
                <a:grpFill/>
                <a:ln w="9525" cap="flat">
                  <a:noFill/>
                  <a:prstDash val="solid"/>
                  <a:miter/>
                </a:ln>
              </p:spPr>
              <p:txBody>
                <a:bodyPr rtlCol="0" anchor="ctr"/>
                <a:lstStyle/>
                <a:p>
                  <a:endParaRPr lang="de-DE"/>
                </a:p>
              </p:txBody>
            </p:sp>
            <p:sp>
              <p:nvSpPr>
                <p:cNvPr id="544" name="Grafik 29">
                  <a:extLst>
                    <a:ext uri="{FF2B5EF4-FFF2-40B4-BE49-F238E27FC236}">
                      <a16:creationId xmlns:a16="http://schemas.microsoft.com/office/drawing/2014/main" id="{E68CB63D-7B47-7626-F614-BB69C8651C47}"/>
                    </a:ext>
                  </a:extLst>
                </p:cNvPr>
                <p:cNvSpPr/>
                <p:nvPr/>
              </p:nvSpPr>
              <p:spPr bwMode="gray">
                <a:xfrm>
                  <a:off x="6095142"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45" name="Grafik 29">
                  <a:extLst>
                    <a:ext uri="{FF2B5EF4-FFF2-40B4-BE49-F238E27FC236}">
                      <a16:creationId xmlns:a16="http://schemas.microsoft.com/office/drawing/2014/main" id="{4938BFC1-FF0A-79BE-CEC9-C9CDC28AC62B}"/>
                    </a:ext>
                  </a:extLst>
                </p:cNvPr>
                <p:cNvSpPr/>
                <p:nvPr/>
              </p:nvSpPr>
              <p:spPr bwMode="gray">
                <a:xfrm>
                  <a:off x="6113811"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2" name="Grafik 29">
                <a:extLst>
                  <a:ext uri="{FF2B5EF4-FFF2-40B4-BE49-F238E27FC236}">
                    <a16:creationId xmlns:a16="http://schemas.microsoft.com/office/drawing/2014/main" id="{94E3A644-F343-587C-A039-98F97C1FE517}"/>
                  </a:ext>
                </a:extLst>
              </p:cNvPr>
              <p:cNvGrpSpPr/>
              <p:nvPr/>
            </p:nvGrpSpPr>
            <p:grpSpPr bwMode="gray">
              <a:xfrm>
                <a:off x="6069139" y="3369492"/>
                <a:ext cx="84177" cy="40171"/>
                <a:chOff x="6069139" y="3369492"/>
                <a:chExt cx="84177" cy="40171"/>
              </a:xfrm>
              <a:grpFill/>
            </p:grpSpPr>
            <p:sp>
              <p:nvSpPr>
                <p:cNvPr id="540" name="Grafik 29">
                  <a:extLst>
                    <a:ext uri="{FF2B5EF4-FFF2-40B4-BE49-F238E27FC236}">
                      <a16:creationId xmlns:a16="http://schemas.microsoft.com/office/drawing/2014/main" id="{B48FB009-338A-B780-440F-EA04DB21D8EA}"/>
                    </a:ext>
                  </a:extLst>
                </p:cNvPr>
                <p:cNvSpPr/>
                <p:nvPr/>
              </p:nvSpPr>
              <p:spPr bwMode="gray">
                <a:xfrm>
                  <a:off x="6069139" y="3382517"/>
                  <a:ext cx="83819" cy="14287"/>
                </a:xfrm>
                <a:custGeom>
                  <a:avLst/>
                  <a:gdLst>
                    <a:gd name="connsiteX0" fmla="*/ 76676 w 83819"/>
                    <a:gd name="connsiteY0" fmla="*/ 14288 h 14287"/>
                    <a:gd name="connsiteX1" fmla="*/ 7144 w 83819"/>
                    <a:gd name="connsiteY1" fmla="*/ 14288 h 14287"/>
                    <a:gd name="connsiteX2" fmla="*/ 0 w 83819"/>
                    <a:gd name="connsiteY2" fmla="*/ 7144 h 14287"/>
                    <a:gd name="connsiteX3" fmla="*/ 7144 w 83819"/>
                    <a:gd name="connsiteY3" fmla="*/ 0 h 14287"/>
                    <a:gd name="connsiteX4" fmla="*/ 76676 w 83819"/>
                    <a:gd name="connsiteY4" fmla="*/ 0 h 14287"/>
                    <a:gd name="connsiteX5" fmla="*/ 83820 w 83819"/>
                    <a:gd name="connsiteY5" fmla="*/ 7144 h 14287"/>
                    <a:gd name="connsiteX6" fmla="*/ 76676 w 83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19" h="14287">
                      <a:moveTo>
                        <a:pt x="76676" y="14288"/>
                      </a:moveTo>
                      <a:lnTo>
                        <a:pt x="7144" y="14288"/>
                      </a:lnTo>
                      <a:cubicBezTo>
                        <a:pt x="3239" y="14288"/>
                        <a:pt x="0" y="11049"/>
                        <a:pt x="0" y="7144"/>
                      </a:cubicBezTo>
                      <a:cubicBezTo>
                        <a:pt x="0" y="3238"/>
                        <a:pt x="3239" y="0"/>
                        <a:pt x="7144" y="0"/>
                      </a:cubicBezTo>
                      <a:lnTo>
                        <a:pt x="76676" y="0"/>
                      </a:lnTo>
                      <a:cubicBezTo>
                        <a:pt x="80581" y="0"/>
                        <a:pt x="83820" y="3238"/>
                        <a:pt x="83820" y="7144"/>
                      </a:cubicBezTo>
                      <a:cubicBezTo>
                        <a:pt x="83820" y="11049"/>
                        <a:pt x="80677" y="14288"/>
                        <a:pt x="76676" y="14288"/>
                      </a:cubicBezTo>
                      <a:close/>
                    </a:path>
                  </a:pathLst>
                </a:custGeom>
                <a:grpFill/>
                <a:ln w="9525" cap="flat">
                  <a:noFill/>
                  <a:prstDash val="solid"/>
                  <a:miter/>
                </a:ln>
              </p:spPr>
              <p:txBody>
                <a:bodyPr rtlCol="0" anchor="ctr"/>
                <a:lstStyle/>
                <a:p>
                  <a:endParaRPr lang="de-DE"/>
                </a:p>
              </p:txBody>
            </p:sp>
            <p:sp>
              <p:nvSpPr>
                <p:cNvPr id="541" name="Grafik 29">
                  <a:extLst>
                    <a:ext uri="{FF2B5EF4-FFF2-40B4-BE49-F238E27FC236}">
                      <a16:creationId xmlns:a16="http://schemas.microsoft.com/office/drawing/2014/main" id="{D903DBFD-0DF0-9DF9-87B7-3862F7E59733}"/>
                    </a:ext>
                  </a:extLst>
                </p:cNvPr>
                <p:cNvSpPr/>
                <p:nvPr/>
              </p:nvSpPr>
              <p:spPr bwMode="gray">
                <a:xfrm>
                  <a:off x="6125931" y="3382731"/>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sp>
              <p:nvSpPr>
                <p:cNvPr id="542" name="Grafik 29">
                  <a:extLst>
                    <a:ext uri="{FF2B5EF4-FFF2-40B4-BE49-F238E27FC236}">
                      <a16:creationId xmlns:a16="http://schemas.microsoft.com/office/drawing/2014/main" id="{B1FA1429-DCE1-4B2C-9EBB-39C597487890}"/>
                    </a:ext>
                  </a:extLst>
                </p:cNvPr>
                <p:cNvSpPr/>
                <p:nvPr/>
              </p:nvSpPr>
              <p:spPr bwMode="gray">
                <a:xfrm>
                  <a:off x="6126408" y="336949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grpSp>
          <p:grpSp>
            <p:nvGrpSpPr>
              <p:cNvPr id="523" name="Grafik 29">
                <a:extLst>
                  <a:ext uri="{FF2B5EF4-FFF2-40B4-BE49-F238E27FC236}">
                    <a16:creationId xmlns:a16="http://schemas.microsoft.com/office/drawing/2014/main" id="{9938BA8B-1D50-4857-A8BC-DF757E616B90}"/>
                  </a:ext>
                </a:extLst>
              </p:cNvPr>
              <p:cNvGrpSpPr/>
              <p:nvPr/>
            </p:nvGrpSpPr>
            <p:grpSpPr bwMode="gray">
              <a:xfrm>
                <a:off x="5969340" y="3369492"/>
                <a:ext cx="84177" cy="40171"/>
                <a:chOff x="5969340" y="3369492"/>
                <a:chExt cx="84177" cy="40171"/>
              </a:xfrm>
              <a:grpFill/>
            </p:grpSpPr>
            <p:sp>
              <p:nvSpPr>
                <p:cNvPr id="537" name="Grafik 29">
                  <a:extLst>
                    <a:ext uri="{FF2B5EF4-FFF2-40B4-BE49-F238E27FC236}">
                      <a16:creationId xmlns:a16="http://schemas.microsoft.com/office/drawing/2014/main" id="{1AA28672-2951-C7A9-BF0F-F50D1272EF84}"/>
                    </a:ext>
                  </a:extLst>
                </p:cNvPr>
                <p:cNvSpPr/>
                <p:nvPr/>
              </p:nvSpPr>
              <p:spPr bwMode="gray">
                <a:xfrm>
                  <a:off x="5969697" y="3382517"/>
                  <a:ext cx="83820" cy="14287"/>
                </a:xfrm>
                <a:custGeom>
                  <a:avLst/>
                  <a:gdLst>
                    <a:gd name="connsiteX0" fmla="*/ 76676 w 83820"/>
                    <a:gd name="connsiteY0" fmla="*/ 14288 h 14287"/>
                    <a:gd name="connsiteX1" fmla="*/ 7144 w 83820"/>
                    <a:gd name="connsiteY1" fmla="*/ 14288 h 14287"/>
                    <a:gd name="connsiteX2" fmla="*/ 0 w 83820"/>
                    <a:gd name="connsiteY2" fmla="*/ 7144 h 14287"/>
                    <a:gd name="connsiteX3" fmla="*/ 7144 w 83820"/>
                    <a:gd name="connsiteY3" fmla="*/ 0 h 14287"/>
                    <a:gd name="connsiteX4" fmla="*/ 76676 w 83820"/>
                    <a:gd name="connsiteY4" fmla="*/ 0 h 14287"/>
                    <a:gd name="connsiteX5" fmla="*/ 83820 w 83820"/>
                    <a:gd name="connsiteY5" fmla="*/ 7144 h 14287"/>
                    <a:gd name="connsiteX6" fmla="*/ 76676 w 8382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 h="14287">
                      <a:moveTo>
                        <a:pt x="76676" y="14288"/>
                      </a:moveTo>
                      <a:lnTo>
                        <a:pt x="7144" y="14288"/>
                      </a:lnTo>
                      <a:cubicBezTo>
                        <a:pt x="3239" y="14288"/>
                        <a:pt x="0" y="11049"/>
                        <a:pt x="0" y="7144"/>
                      </a:cubicBezTo>
                      <a:cubicBezTo>
                        <a:pt x="0" y="3238"/>
                        <a:pt x="3239" y="0"/>
                        <a:pt x="7144" y="0"/>
                      </a:cubicBezTo>
                      <a:lnTo>
                        <a:pt x="76676" y="0"/>
                      </a:lnTo>
                      <a:cubicBezTo>
                        <a:pt x="80582" y="0"/>
                        <a:pt x="83820" y="3238"/>
                        <a:pt x="83820" y="7144"/>
                      </a:cubicBezTo>
                      <a:cubicBezTo>
                        <a:pt x="83820" y="11049"/>
                        <a:pt x="80582" y="14288"/>
                        <a:pt x="76676" y="14288"/>
                      </a:cubicBezTo>
                      <a:close/>
                    </a:path>
                  </a:pathLst>
                </a:custGeom>
                <a:grpFill/>
                <a:ln w="9525" cap="flat">
                  <a:noFill/>
                  <a:prstDash val="solid"/>
                  <a:miter/>
                </a:ln>
              </p:spPr>
              <p:txBody>
                <a:bodyPr rtlCol="0" anchor="ctr"/>
                <a:lstStyle/>
                <a:p>
                  <a:endParaRPr lang="de-DE"/>
                </a:p>
              </p:txBody>
            </p:sp>
            <p:sp>
              <p:nvSpPr>
                <p:cNvPr id="538" name="Grafik 29">
                  <a:extLst>
                    <a:ext uri="{FF2B5EF4-FFF2-40B4-BE49-F238E27FC236}">
                      <a16:creationId xmlns:a16="http://schemas.microsoft.com/office/drawing/2014/main" id="{AB855BF5-42E0-8A10-C60F-E96DC7F39ECD}"/>
                    </a:ext>
                  </a:extLst>
                </p:cNvPr>
                <p:cNvSpPr/>
                <p:nvPr/>
              </p:nvSpPr>
              <p:spPr bwMode="gray">
                <a:xfrm>
                  <a:off x="5969817" y="3382731"/>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693" y="26932"/>
                        <a:pt x="19788" y="26932"/>
                      </a:cubicBezTo>
                      <a:close/>
                    </a:path>
                  </a:pathLst>
                </a:custGeom>
                <a:grpFill/>
                <a:ln w="9525" cap="flat">
                  <a:noFill/>
                  <a:prstDash val="solid"/>
                  <a:miter/>
                </a:ln>
              </p:spPr>
              <p:txBody>
                <a:bodyPr rtlCol="0" anchor="ctr"/>
                <a:lstStyle/>
                <a:p>
                  <a:endParaRPr lang="de-DE"/>
                </a:p>
              </p:txBody>
            </p:sp>
            <p:sp>
              <p:nvSpPr>
                <p:cNvPr id="539" name="Grafik 29">
                  <a:extLst>
                    <a:ext uri="{FF2B5EF4-FFF2-40B4-BE49-F238E27FC236}">
                      <a16:creationId xmlns:a16="http://schemas.microsoft.com/office/drawing/2014/main" id="{D763E15A-633B-0C55-280A-A96429C1344C}"/>
                    </a:ext>
                  </a:extLst>
                </p:cNvPr>
                <p:cNvSpPr/>
                <p:nvPr/>
              </p:nvSpPr>
              <p:spPr bwMode="gray">
                <a:xfrm>
                  <a:off x="5969340" y="3369492"/>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grpSp>
          <p:grpSp>
            <p:nvGrpSpPr>
              <p:cNvPr id="524" name="Grafik 29">
                <a:extLst>
                  <a:ext uri="{FF2B5EF4-FFF2-40B4-BE49-F238E27FC236}">
                    <a16:creationId xmlns:a16="http://schemas.microsoft.com/office/drawing/2014/main" id="{671EAE71-77B6-A562-C9B4-D52F6E3A51B8}"/>
                  </a:ext>
                </a:extLst>
              </p:cNvPr>
              <p:cNvGrpSpPr/>
              <p:nvPr/>
            </p:nvGrpSpPr>
            <p:grpSpPr bwMode="gray">
              <a:xfrm>
                <a:off x="6039825" y="3396043"/>
                <a:ext cx="40052" cy="84200"/>
                <a:chOff x="6039825" y="3396043"/>
                <a:chExt cx="40052" cy="84200"/>
              </a:xfrm>
              <a:grpFill/>
            </p:grpSpPr>
            <p:sp>
              <p:nvSpPr>
                <p:cNvPr id="534" name="Grafik 29">
                  <a:extLst>
                    <a:ext uri="{FF2B5EF4-FFF2-40B4-BE49-F238E27FC236}">
                      <a16:creationId xmlns:a16="http://schemas.microsoft.com/office/drawing/2014/main" id="{6F6E338E-B446-49B5-2111-DD3BC85AFE4C}"/>
                    </a:ext>
                  </a:extLst>
                </p:cNvPr>
                <p:cNvSpPr/>
                <p:nvPr/>
              </p:nvSpPr>
              <p:spPr bwMode="gray">
                <a:xfrm>
                  <a:off x="6052755" y="3396043"/>
                  <a:ext cx="14287" cy="83819"/>
                </a:xfrm>
                <a:custGeom>
                  <a:avLst/>
                  <a:gdLst>
                    <a:gd name="connsiteX0" fmla="*/ 7144 w 14287"/>
                    <a:gd name="connsiteY0" fmla="*/ 83820 h 83819"/>
                    <a:gd name="connsiteX1" fmla="*/ 0 w 14287"/>
                    <a:gd name="connsiteY1" fmla="*/ 76676 h 83819"/>
                    <a:gd name="connsiteX2" fmla="*/ 0 w 14287"/>
                    <a:gd name="connsiteY2" fmla="*/ 7144 h 83819"/>
                    <a:gd name="connsiteX3" fmla="*/ 7144 w 14287"/>
                    <a:gd name="connsiteY3" fmla="*/ 0 h 83819"/>
                    <a:gd name="connsiteX4" fmla="*/ 14288 w 14287"/>
                    <a:gd name="connsiteY4" fmla="*/ 7144 h 83819"/>
                    <a:gd name="connsiteX5" fmla="*/ 14288 w 14287"/>
                    <a:gd name="connsiteY5" fmla="*/ 76676 h 83819"/>
                    <a:gd name="connsiteX6" fmla="*/ 7144 w 14287"/>
                    <a:gd name="connsiteY6" fmla="*/ 83820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19">
                      <a:moveTo>
                        <a:pt x="7144" y="83820"/>
                      </a:moveTo>
                      <a:cubicBezTo>
                        <a:pt x="3239" y="83820"/>
                        <a:pt x="0" y="80581"/>
                        <a:pt x="0" y="76676"/>
                      </a:cubicBezTo>
                      <a:lnTo>
                        <a:pt x="0" y="7144"/>
                      </a:lnTo>
                      <a:cubicBezTo>
                        <a:pt x="0" y="3238"/>
                        <a:pt x="3239" y="0"/>
                        <a:pt x="7144" y="0"/>
                      </a:cubicBezTo>
                      <a:cubicBezTo>
                        <a:pt x="11049" y="0"/>
                        <a:pt x="14288" y="3238"/>
                        <a:pt x="14288" y="7144"/>
                      </a:cubicBezTo>
                      <a:lnTo>
                        <a:pt x="14288" y="76676"/>
                      </a:lnTo>
                      <a:cubicBezTo>
                        <a:pt x="14288" y="80581"/>
                        <a:pt x="11144" y="83820"/>
                        <a:pt x="7144" y="83820"/>
                      </a:cubicBezTo>
                      <a:close/>
                    </a:path>
                  </a:pathLst>
                </a:custGeom>
                <a:grpFill/>
                <a:ln w="9525" cap="flat">
                  <a:noFill/>
                  <a:prstDash val="solid"/>
                  <a:miter/>
                </a:ln>
              </p:spPr>
              <p:txBody>
                <a:bodyPr rtlCol="0" anchor="ctr"/>
                <a:lstStyle/>
                <a:p>
                  <a:endParaRPr lang="de-DE"/>
                </a:p>
              </p:txBody>
            </p:sp>
            <p:sp>
              <p:nvSpPr>
                <p:cNvPr id="535" name="Grafik 29">
                  <a:extLst>
                    <a:ext uri="{FF2B5EF4-FFF2-40B4-BE49-F238E27FC236}">
                      <a16:creationId xmlns:a16="http://schemas.microsoft.com/office/drawing/2014/main" id="{99EC2B58-5702-52B9-7C58-B6C5F17ACF2B}"/>
                    </a:ext>
                  </a:extLst>
                </p:cNvPr>
                <p:cNvSpPr/>
                <p:nvPr/>
              </p:nvSpPr>
              <p:spPr bwMode="gray">
                <a:xfrm>
                  <a:off x="6052970" y="3452835"/>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sp>
              <p:nvSpPr>
                <p:cNvPr id="536" name="Grafik 29">
                  <a:extLst>
                    <a:ext uri="{FF2B5EF4-FFF2-40B4-BE49-F238E27FC236}">
                      <a16:creationId xmlns:a16="http://schemas.microsoft.com/office/drawing/2014/main" id="{5E1CFBB0-8096-283D-D1F1-0DBE68FE0424}"/>
                    </a:ext>
                  </a:extLst>
                </p:cNvPr>
                <p:cNvSpPr/>
                <p:nvPr/>
              </p:nvSpPr>
              <p:spPr bwMode="gray">
                <a:xfrm>
                  <a:off x="6039825" y="345331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408" y="26170"/>
                        <a:pt x="21598" y="26932"/>
                        <a:pt x="19788" y="26932"/>
                      </a:cubicBezTo>
                      <a:close/>
                    </a:path>
                  </a:pathLst>
                </a:custGeom>
                <a:grpFill/>
                <a:ln w="9525" cap="flat">
                  <a:noFill/>
                  <a:prstDash val="solid"/>
                  <a:miter/>
                </a:ln>
              </p:spPr>
              <p:txBody>
                <a:bodyPr rtlCol="0" anchor="ctr"/>
                <a:lstStyle/>
                <a:p>
                  <a:endParaRPr lang="de-DE"/>
                </a:p>
              </p:txBody>
            </p:sp>
          </p:grpSp>
          <p:grpSp>
            <p:nvGrpSpPr>
              <p:cNvPr id="525" name="Grafik 29">
                <a:extLst>
                  <a:ext uri="{FF2B5EF4-FFF2-40B4-BE49-F238E27FC236}">
                    <a16:creationId xmlns:a16="http://schemas.microsoft.com/office/drawing/2014/main" id="{616BE693-32BC-D960-2D9D-0B4C762E0922}"/>
                  </a:ext>
                </a:extLst>
              </p:cNvPr>
              <p:cNvGrpSpPr/>
              <p:nvPr/>
            </p:nvGrpSpPr>
            <p:grpSpPr bwMode="gray">
              <a:xfrm>
                <a:off x="6039730" y="3299197"/>
                <a:ext cx="40147" cy="84081"/>
                <a:chOff x="6039730" y="3299197"/>
                <a:chExt cx="40147" cy="84081"/>
              </a:xfrm>
              <a:grpFill/>
            </p:grpSpPr>
            <p:sp>
              <p:nvSpPr>
                <p:cNvPr id="531" name="Grafik 29">
                  <a:extLst>
                    <a:ext uri="{FF2B5EF4-FFF2-40B4-BE49-F238E27FC236}">
                      <a16:creationId xmlns:a16="http://schemas.microsoft.com/office/drawing/2014/main" id="{7B9E8054-8811-C51B-9797-EC2155BAD24A}"/>
                    </a:ext>
                  </a:extLst>
                </p:cNvPr>
                <p:cNvSpPr/>
                <p:nvPr/>
              </p:nvSpPr>
              <p:spPr bwMode="gray">
                <a:xfrm>
                  <a:off x="6052755" y="3299459"/>
                  <a:ext cx="14287" cy="83820"/>
                </a:xfrm>
                <a:custGeom>
                  <a:avLst/>
                  <a:gdLst>
                    <a:gd name="connsiteX0" fmla="*/ 7144 w 14287"/>
                    <a:gd name="connsiteY0" fmla="*/ 83820 h 83820"/>
                    <a:gd name="connsiteX1" fmla="*/ 0 w 14287"/>
                    <a:gd name="connsiteY1" fmla="*/ 76676 h 83820"/>
                    <a:gd name="connsiteX2" fmla="*/ 0 w 14287"/>
                    <a:gd name="connsiteY2" fmla="*/ 7144 h 83820"/>
                    <a:gd name="connsiteX3" fmla="*/ 7144 w 14287"/>
                    <a:gd name="connsiteY3" fmla="*/ 0 h 83820"/>
                    <a:gd name="connsiteX4" fmla="*/ 14288 w 14287"/>
                    <a:gd name="connsiteY4" fmla="*/ 7144 h 83820"/>
                    <a:gd name="connsiteX5" fmla="*/ 14288 w 14287"/>
                    <a:gd name="connsiteY5" fmla="*/ 76676 h 83820"/>
                    <a:gd name="connsiteX6" fmla="*/ 7144 w 14287"/>
                    <a:gd name="connsiteY6"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20">
                      <a:moveTo>
                        <a:pt x="7144" y="83820"/>
                      </a:moveTo>
                      <a:cubicBezTo>
                        <a:pt x="3239" y="83820"/>
                        <a:pt x="0" y="80582"/>
                        <a:pt x="0" y="76676"/>
                      </a:cubicBezTo>
                      <a:lnTo>
                        <a:pt x="0" y="7144"/>
                      </a:lnTo>
                      <a:cubicBezTo>
                        <a:pt x="0" y="3239"/>
                        <a:pt x="3239" y="0"/>
                        <a:pt x="7144" y="0"/>
                      </a:cubicBezTo>
                      <a:cubicBezTo>
                        <a:pt x="11049" y="0"/>
                        <a:pt x="14288" y="3239"/>
                        <a:pt x="14288" y="7144"/>
                      </a:cubicBezTo>
                      <a:lnTo>
                        <a:pt x="14288" y="76676"/>
                      </a:lnTo>
                      <a:cubicBezTo>
                        <a:pt x="14288" y="80677"/>
                        <a:pt x="11144" y="83820"/>
                        <a:pt x="7144" y="83820"/>
                      </a:cubicBezTo>
                      <a:close/>
                    </a:path>
                  </a:pathLst>
                </a:custGeom>
                <a:grpFill/>
                <a:ln w="9525" cap="flat">
                  <a:noFill/>
                  <a:prstDash val="solid"/>
                  <a:miter/>
                </a:ln>
              </p:spPr>
              <p:txBody>
                <a:bodyPr rtlCol="0" anchor="ctr"/>
                <a:lstStyle/>
                <a:p>
                  <a:endParaRPr lang="de-DE"/>
                </a:p>
              </p:txBody>
            </p:sp>
            <p:sp>
              <p:nvSpPr>
                <p:cNvPr id="532" name="Grafik 29">
                  <a:extLst>
                    <a:ext uri="{FF2B5EF4-FFF2-40B4-BE49-F238E27FC236}">
                      <a16:creationId xmlns:a16="http://schemas.microsoft.com/office/drawing/2014/main" id="{E95CE6A6-0D4E-AC3E-E3CA-EEB6771C0B50}"/>
                    </a:ext>
                  </a:extLst>
                </p:cNvPr>
                <p:cNvSpPr/>
                <p:nvPr/>
              </p:nvSpPr>
              <p:spPr bwMode="gray">
                <a:xfrm>
                  <a:off x="6052970" y="3299673"/>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sp>
              <p:nvSpPr>
                <p:cNvPr id="533" name="Grafik 29">
                  <a:extLst>
                    <a:ext uri="{FF2B5EF4-FFF2-40B4-BE49-F238E27FC236}">
                      <a16:creationId xmlns:a16="http://schemas.microsoft.com/office/drawing/2014/main" id="{07DC7889-B7B8-495E-68E8-ED403836F208}"/>
                    </a:ext>
                  </a:extLst>
                </p:cNvPr>
                <p:cNvSpPr/>
                <p:nvPr/>
              </p:nvSpPr>
              <p:spPr bwMode="gray">
                <a:xfrm>
                  <a:off x="6039730" y="3299197"/>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grpSp>
          <p:grpSp>
            <p:nvGrpSpPr>
              <p:cNvPr id="526" name="Grafik 29">
                <a:extLst>
                  <a:ext uri="{FF2B5EF4-FFF2-40B4-BE49-F238E27FC236}">
                    <a16:creationId xmlns:a16="http://schemas.microsoft.com/office/drawing/2014/main" id="{52AB106E-7B3D-BDFF-4BD5-AC158275E27F}"/>
                  </a:ext>
                </a:extLst>
              </p:cNvPr>
              <p:cNvGrpSpPr/>
              <p:nvPr/>
            </p:nvGrpSpPr>
            <p:grpSpPr bwMode="gray">
              <a:xfrm>
                <a:off x="5994558" y="3390828"/>
                <a:ext cx="63984" cy="63412"/>
                <a:chOff x="5994558" y="3390828"/>
                <a:chExt cx="63984" cy="63412"/>
              </a:xfrm>
              <a:grpFill/>
            </p:grpSpPr>
            <p:sp>
              <p:nvSpPr>
                <p:cNvPr id="528" name="Grafik 29">
                  <a:extLst>
                    <a:ext uri="{FF2B5EF4-FFF2-40B4-BE49-F238E27FC236}">
                      <a16:creationId xmlns:a16="http://schemas.microsoft.com/office/drawing/2014/main" id="{CD6598EB-19D1-0211-1691-5A2A1A21C917}"/>
                    </a:ext>
                  </a:extLst>
                </p:cNvPr>
                <p:cNvSpPr/>
                <p:nvPr/>
              </p:nvSpPr>
              <p:spPr bwMode="gray">
                <a:xfrm>
                  <a:off x="5995153" y="3390828"/>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739" y="62746"/>
                        <a:pt x="8930" y="63413"/>
                        <a:pt x="7120" y="63413"/>
                      </a:cubicBezTo>
                      <a:close/>
                    </a:path>
                  </a:pathLst>
                </a:custGeom>
                <a:grpFill/>
                <a:ln w="9525" cap="flat">
                  <a:noFill/>
                  <a:prstDash val="solid"/>
                  <a:miter/>
                </a:ln>
              </p:spPr>
              <p:txBody>
                <a:bodyPr rtlCol="0" anchor="ctr"/>
                <a:lstStyle/>
                <a:p>
                  <a:endParaRPr lang="de-DE"/>
                </a:p>
              </p:txBody>
            </p:sp>
            <p:sp>
              <p:nvSpPr>
                <p:cNvPr id="529" name="Grafik 29">
                  <a:extLst>
                    <a:ext uri="{FF2B5EF4-FFF2-40B4-BE49-F238E27FC236}">
                      <a16:creationId xmlns:a16="http://schemas.microsoft.com/office/drawing/2014/main" id="{CE555982-3190-ADDC-8C9B-E7A61833EA53}"/>
                    </a:ext>
                  </a:extLst>
                </p:cNvPr>
                <p:cNvSpPr/>
                <p:nvPr/>
              </p:nvSpPr>
              <p:spPr bwMode="gray">
                <a:xfrm>
                  <a:off x="5995225"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30" name="Grafik 29">
                  <a:extLst>
                    <a:ext uri="{FF2B5EF4-FFF2-40B4-BE49-F238E27FC236}">
                      <a16:creationId xmlns:a16="http://schemas.microsoft.com/office/drawing/2014/main" id="{383F230C-4057-D72B-BED1-AA9E7A52F8A1}"/>
                    </a:ext>
                  </a:extLst>
                </p:cNvPr>
                <p:cNvSpPr/>
                <p:nvPr/>
              </p:nvSpPr>
              <p:spPr bwMode="gray">
                <a:xfrm>
                  <a:off x="5994558"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sp>
            <p:nvSpPr>
              <p:cNvPr id="527" name="Grafik 29">
                <a:extLst>
                  <a:ext uri="{FF2B5EF4-FFF2-40B4-BE49-F238E27FC236}">
                    <a16:creationId xmlns:a16="http://schemas.microsoft.com/office/drawing/2014/main" id="{B733562E-4CBD-BA3E-8DD7-06A71D2AF965}"/>
                  </a:ext>
                </a:extLst>
              </p:cNvPr>
              <p:cNvSpPr/>
              <p:nvPr/>
            </p:nvSpPr>
            <p:spPr bwMode="gray">
              <a:xfrm>
                <a:off x="6042278" y="3370516"/>
                <a:ext cx="38100" cy="38100"/>
              </a:xfrm>
              <a:custGeom>
                <a:avLst/>
                <a:gdLst>
                  <a:gd name="connsiteX0" fmla="*/ 19050 w 38100"/>
                  <a:gd name="connsiteY0" fmla="*/ 38100 h 38100"/>
                  <a:gd name="connsiteX1" fmla="*/ 0 w 38100"/>
                  <a:gd name="connsiteY1" fmla="*/ 19050 h 38100"/>
                  <a:gd name="connsiteX2" fmla="*/ 19050 w 38100"/>
                  <a:gd name="connsiteY2" fmla="*/ 0 h 38100"/>
                  <a:gd name="connsiteX3" fmla="*/ 38100 w 38100"/>
                  <a:gd name="connsiteY3" fmla="*/ 19050 h 38100"/>
                  <a:gd name="connsiteX4" fmla="*/ 19050 w 38100"/>
                  <a:gd name="connsiteY4" fmla="*/ 38100 h 38100"/>
                  <a:gd name="connsiteX5" fmla="*/ 19050 w 38100"/>
                  <a:gd name="connsiteY5" fmla="*/ 14288 h 38100"/>
                  <a:gd name="connsiteX6" fmla="*/ 14288 w 38100"/>
                  <a:gd name="connsiteY6" fmla="*/ 19050 h 38100"/>
                  <a:gd name="connsiteX7" fmla="*/ 19050 w 38100"/>
                  <a:gd name="connsiteY7" fmla="*/ 23813 h 38100"/>
                  <a:gd name="connsiteX8" fmla="*/ 23813 w 38100"/>
                  <a:gd name="connsiteY8" fmla="*/ 19050 h 38100"/>
                  <a:gd name="connsiteX9" fmla="*/ 19050 w 38100"/>
                  <a:gd name="connsiteY9"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38100"/>
                    </a:moveTo>
                    <a:cubicBezTo>
                      <a:pt x="8572" y="38100"/>
                      <a:pt x="0" y="29527"/>
                      <a:pt x="0" y="19050"/>
                    </a:cubicBezTo>
                    <a:cubicBezTo>
                      <a:pt x="0" y="8572"/>
                      <a:pt x="8572" y="0"/>
                      <a:pt x="19050" y="0"/>
                    </a:cubicBezTo>
                    <a:cubicBezTo>
                      <a:pt x="29527" y="0"/>
                      <a:pt x="38100" y="8572"/>
                      <a:pt x="38100" y="19050"/>
                    </a:cubicBezTo>
                    <a:cubicBezTo>
                      <a:pt x="38100" y="29527"/>
                      <a:pt x="29527" y="38100"/>
                      <a:pt x="19050" y="38100"/>
                    </a:cubicBezTo>
                    <a:close/>
                    <a:moveTo>
                      <a:pt x="19050" y="14288"/>
                    </a:moveTo>
                    <a:cubicBezTo>
                      <a:pt x="16383" y="14288"/>
                      <a:pt x="14288" y="16478"/>
                      <a:pt x="14288" y="19050"/>
                    </a:cubicBezTo>
                    <a:cubicBezTo>
                      <a:pt x="14288" y="21622"/>
                      <a:pt x="16478" y="23813"/>
                      <a:pt x="19050" y="23813"/>
                    </a:cubicBezTo>
                    <a:cubicBezTo>
                      <a:pt x="21622" y="23813"/>
                      <a:pt x="23813" y="21622"/>
                      <a:pt x="23813" y="19050"/>
                    </a:cubicBezTo>
                    <a:cubicBezTo>
                      <a:pt x="23813" y="16478"/>
                      <a:pt x="21717" y="14288"/>
                      <a:pt x="19050" y="14288"/>
                    </a:cubicBezTo>
                    <a:close/>
                  </a:path>
                </a:pathLst>
              </a:custGeom>
              <a:grpFill/>
              <a:ln w="9525" cap="flat">
                <a:noFill/>
                <a:prstDash val="solid"/>
                <a:miter/>
              </a:ln>
            </p:spPr>
            <p:txBody>
              <a:bodyPr rtlCol="0" anchor="ctr"/>
              <a:lstStyle/>
              <a:p>
                <a:endParaRPr lang="de-DE"/>
              </a:p>
            </p:txBody>
          </p:sp>
        </p:grpSp>
      </p:grpSp>
      <p:grpSp>
        <p:nvGrpSpPr>
          <p:cNvPr id="573" name="Grafik 31">
            <a:extLst>
              <a:ext uri="{FF2B5EF4-FFF2-40B4-BE49-F238E27FC236}">
                <a16:creationId xmlns:a16="http://schemas.microsoft.com/office/drawing/2014/main" id="{17257D79-DEAA-A593-8862-ABEA2FC34D76}"/>
              </a:ext>
            </a:extLst>
          </p:cNvPr>
          <p:cNvGrpSpPr/>
          <p:nvPr/>
        </p:nvGrpSpPr>
        <p:grpSpPr bwMode="gray">
          <a:xfrm>
            <a:off x="5130237" y="2940797"/>
            <a:ext cx="374400" cy="374400"/>
            <a:chOff x="5843587" y="3176587"/>
            <a:chExt cx="500253" cy="500253"/>
          </a:xfrm>
          <a:solidFill>
            <a:schemeClr val="tx1"/>
          </a:solidFill>
        </p:grpSpPr>
        <p:sp>
          <p:nvSpPr>
            <p:cNvPr id="574" name="Grafik 31">
              <a:extLst>
                <a:ext uri="{FF2B5EF4-FFF2-40B4-BE49-F238E27FC236}">
                  <a16:creationId xmlns:a16="http://schemas.microsoft.com/office/drawing/2014/main" id="{649D28A7-3588-160C-61E5-5BACC585BB79}"/>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sp>
          <p:nvSpPr>
            <p:cNvPr id="575" name="Grafik 31">
              <a:extLst>
                <a:ext uri="{FF2B5EF4-FFF2-40B4-BE49-F238E27FC236}">
                  <a16:creationId xmlns:a16="http://schemas.microsoft.com/office/drawing/2014/main" id="{E83261B1-39E6-CD80-E631-35BD77022990}"/>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grpSp>
          <p:nvGrpSpPr>
            <p:cNvPr id="576" name="Grafik 31">
              <a:extLst>
                <a:ext uri="{FF2B5EF4-FFF2-40B4-BE49-F238E27FC236}">
                  <a16:creationId xmlns:a16="http://schemas.microsoft.com/office/drawing/2014/main" id="{0CD0F5E0-6679-D63A-7E06-CF5942D4AB3B}"/>
                </a:ext>
              </a:extLst>
            </p:cNvPr>
            <p:cNvGrpSpPr/>
            <p:nvPr/>
          </p:nvGrpSpPr>
          <p:grpSpPr bwMode="gray">
            <a:xfrm>
              <a:off x="5989890" y="3228688"/>
              <a:ext cx="202177" cy="153066"/>
              <a:chOff x="5989890" y="3228688"/>
              <a:chExt cx="202177" cy="153066"/>
            </a:xfrm>
            <a:grpFill/>
          </p:grpSpPr>
          <p:grpSp>
            <p:nvGrpSpPr>
              <p:cNvPr id="577" name="Grafik 31">
                <a:extLst>
                  <a:ext uri="{FF2B5EF4-FFF2-40B4-BE49-F238E27FC236}">
                    <a16:creationId xmlns:a16="http://schemas.microsoft.com/office/drawing/2014/main" id="{635B18D4-076B-29A4-051C-67BE565381A0}"/>
                  </a:ext>
                </a:extLst>
              </p:cNvPr>
              <p:cNvGrpSpPr/>
              <p:nvPr/>
            </p:nvGrpSpPr>
            <p:grpSpPr bwMode="gray">
              <a:xfrm>
                <a:off x="5989890" y="3280147"/>
                <a:ext cx="196762" cy="51030"/>
                <a:chOff x="5989890" y="3280147"/>
                <a:chExt cx="196762" cy="51030"/>
              </a:xfrm>
              <a:grpFill/>
            </p:grpSpPr>
            <p:sp>
              <p:nvSpPr>
                <p:cNvPr id="588" name="Grafik 31">
                  <a:extLst>
                    <a:ext uri="{FF2B5EF4-FFF2-40B4-BE49-F238E27FC236}">
                      <a16:creationId xmlns:a16="http://schemas.microsoft.com/office/drawing/2014/main" id="{87A56783-7041-EF67-4478-549A272A0A66}"/>
                    </a:ext>
                  </a:extLst>
                </p:cNvPr>
                <p:cNvSpPr/>
                <p:nvPr/>
              </p:nvSpPr>
              <p:spPr bwMode="gray">
                <a:xfrm>
                  <a:off x="5989890" y="3298507"/>
                  <a:ext cx="186594" cy="14287"/>
                </a:xfrm>
                <a:custGeom>
                  <a:avLst/>
                  <a:gdLst>
                    <a:gd name="connsiteX0" fmla="*/ 179451 w 186594"/>
                    <a:gd name="connsiteY0" fmla="*/ 14288 h 14287"/>
                    <a:gd name="connsiteX1" fmla="*/ 7144 w 186594"/>
                    <a:gd name="connsiteY1" fmla="*/ 14288 h 14287"/>
                    <a:gd name="connsiteX2" fmla="*/ 0 w 186594"/>
                    <a:gd name="connsiteY2" fmla="*/ 7144 h 14287"/>
                    <a:gd name="connsiteX3" fmla="*/ 7144 w 186594"/>
                    <a:gd name="connsiteY3" fmla="*/ 0 h 14287"/>
                    <a:gd name="connsiteX4" fmla="*/ 179451 w 186594"/>
                    <a:gd name="connsiteY4" fmla="*/ 0 h 14287"/>
                    <a:gd name="connsiteX5" fmla="*/ 186595 w 186594"/>
                    <a:gd name="connsiteY5" fmla="*/ 7144 h 14287"/>
                    <a:gd name="connsiteX6" fmla="*/ 179451 w 1865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594" h="14287">
                      <a:moveTo>
                        <a:pt x="179451" y="14288"/>
                      </a:moveTo>
                      <a:lnTo>
                        <a:pt x="7144" y="14288"/>
                      </a:lnTo>
                      <a:cubicBezTo>
                        <a:pt x="3239" y="14288"/>
                        <a:pt x="0" y="11049"/>
                        <a:pt x="0" y="7144"/>
                      </a:cubicBezTo>
                      <a:cubicBezTo>
                        <a:pt x="0" y="3239"/>
                        <a:pt x="3239" y="0"/>
                        <a:pt x="7144" y="0"/>
                      </a:cubicBezTo>
                      <a:lnTo>
                        <a:pt x="179451" y="0"/>
                      </a:lnTo>
                      <a:cubicBezTo>
                        <a:pt x="183356" y="0"/>
                        <a:pt x="186595" y="3239"/>
                        <a:pt x="186595" y="7144"/>
                      </a:cubicBezTo>
                      <a:cubicBezTo>
                        <a:pt x="186595" y="11049"/>
                        <a:pt x="183452" y="14288"/>
                        <a:pt x="179451" y="14288"/>
                      </a:cubicBezTo>
                      <a:close/>
                    </a:path>
                  </a:pathLst>
                </a:custGeom>
                <a:grpFill/>
                <a:ln w="9525" cap="flat">
                  <a:noFill/>
                  <a:prstDash val="solid"/>
                  <a:miter/>
                </a:ln>
              </p:spPr>
              <p:txBody>
                <a:bodyPr rtlCol="0" anchor="ctr"/>
                <a:lstStyle/>
                <a:p>
                  <a:endParaRPr lang="de-DE"/>
                </a:p>
              </p:txBody>
            </p:sp>
            <p:sp>
              <p:nvSpPr>
                <p:cNvPr id="589" name="Grafik 31">
                  <a:extLst>
                    <a:ext uri="{FF2B5EF4-FFF2-40B4-BE49-F238E27FC236}">
                      <a16:creationId xmlns:a16="http://schemas.microsoft.com/office/drawing/2014/main" id="{896BE292-0056-9016-0699-C4803D38CE5A}"/>
                    </a:ext>
                  </a:extLst>
                </p:cNvPr>
                <p:cNvSpPr/>
                <p:nvPr/>
              </p:nvSpPr>
              <p:spPr bwMode="gray">
                <a:xfrm>
                  <a:off x="6154030" y="3280147"/>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590" name="Grafik 31">
                  <a:extLst>
                    <a:ext uri="{FF2B5EF4-FFF2-40B4-BE49-F238E27FC236}">
                      <a16:creationId xmlns:a16="http://schemas.microsoft.com/office/drawing/2014/main" id="{E1C74BD8-D4BE-012F-DAE6-E6011BDD1E95}"/>
                    </a:ext>
                  </a:extLst>
                </p:cNvPr>
                <p:cNvSpPr/>
                <p:nvPr/>
              </p:nvSpPr>
              <p:spPr bwMode="gray">
                <a:xfrm>
                  <a:off x="6154030" y="329853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578" name="Grafik 31">
                <a:extLst>
                  <a:ext uri="{FF2B5EF4-FFF2-40B4-BE49-F238E27FC236}">
                    <a16:creationId xmlns:a16="http://schemas.microsoft.com/office/drawing/2014/main" id="{E64216AC-ECC6-F2A5-30C2-FE14F1A7DD27}"/>
                  </a:ext>
                </a:extLst>
              </p:cNvPr>
              <p:cNvGrpSpPr/>
              <p:nvPr/>
            </p:nvGrpSpPr>
            <p:grpSpPr bwMode="gray">
              <a:xfrm>
                <a:off x="5989986" y="3228688"/>
                <a:ext cx="202082" cy="49434"/>
                <a:chOff x="5989986" y="3228688"/>
                <a:chExt cx="202082" cy="49434"/>
              </a:xfrm>
              <a:grpFill/>
            </p:grpSpPr>
            <p:sp>
              <p:nvSpPr>
                <p:cNvPr id="584" name="Grafik 31">
                  <a:extLst>
                    <a:ext uri="{FF2B5EF4-FFF2-40B4-BE49-F238E27FC236}">
                      <a16:creationId xmlns:a16="http://schemas.microsoft.com/office/drawing/2014/main" id="{9ED0AF5C-D873-B591-EF41-4CB5AC4323E9}"/>
                    </a:ext>
                  </a:extLst>
                </p:cNvPr>
                <p:cNvSpPr/>
                <p:nvPr/>
              </p:nvSpPr>
              <p:spPr bwMode="gray">
                <a:xfrm>
                  <a:off x="5989986" y="322868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9"/>
                        <a:pt x="3239" y="0"/>
                        <a:pt x="7144" y="0"/>
                      </a:cubicBezTo>
                      <a:lnTo>
                        <a:pt x="74676" y="0"/>
                      </a:lnTo>
                      <a:cubicBezTo>
                        <a:pt x="78581" y="0"/>
                        <a:pt x="81820" y="3239"/>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5" name="Grafik 31">
                  <a:extLst>
                    <a:ext uri="{FF2B5EF4-FFF2-40B4-BE49-F238E27FC236}">
                      <a16:creationId xmlns:a16="http://schemas.microsoft.com/office/drawing/2014/main" id="{40F2B676-2098-8F0F-8263-1D41C7D80904}"/>
                    </a:ext>
                  </a:extLst>
                </p:cNvPr>
                <p:cNvSpPr/>
                <p:nvPr/>
              </p:nvSpPr>
              <p:spPr bwMode="gray">
                <a:xfrm>
                  <a:off x="6061509" y="3229464"/>
                  <a:ext cx="128988" cy="33990"/>
                </a:xfrm>
                <a:custGeom>
                  <a:avLst/>
                  <a:gdLst>
                    <a:gd name="connsiteX0" fmla="*/ 121835 w 128988"/>
                    <a:gd name="connsiteY0" fmla="*/ 33991 h 33990"/>
                    <a:gd name="connsiteX1" fmla="*/ 120596 w 128988"/>
                    <a:gd name="connsiteY1" fmla="*/ 33896 h 33990"/>
                    <a:gd name="connsiteX2" fmla="*/ 5915 w 128988"/>
                    <a:gd name="connsiteY2" fmla="*/ 14179 h 33990"/>
                    <a:gd name="connsiteX3" fmla="*/ 105 w 128988"/>
                    <a:gd name="connsiteY3" fmla="*/ 5892 h 33990"/>
                    <a:gd name="connsiteX4" fmla="*/ 8392 w 128988"/>
                    <a:gd name="connsiteY4" fmla="*/ 82 h 33990"/>
                    <a:gd name="connsiteX5" fmla="*/ 123073 w 128988"/>
                    <a:gd name="connsiteY5" fmla="*/ 19799 h 33990"/>
                    <a:gd name="connsiteX6" fmla="*/ 128883 w 128988"/>
                    <a:gd name="connsiteY6" fmla="*/ 28085 h 33990"/>
                    <a:gd name="connsiteX7" fmla="*/ 121835 w 128988"/>
                    <a:gd name="connsiteY7" fmla="*/ 33991 h 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88" h="33990">
                      <a:moveTo>
                        <a:pt x="121835" y="33991"/>
                      </a:moveTo>
                      <a:cubicBezTo>
                        <a:pt x="121454" y="33991"/>
                        <a:pt x="121073" y="33991"/>
                        <a:pt x="120596" y="33896"/>
                      </a:cubicBezTo>
                      <a:lnTo>
                        <a:pt x="5915" y="14179"/>
                      </a:lnTo>
                      <a:cubicBezTo>
                        <a:pt x="2010" y="13512"/>
                        <a:pt x="-562" y="9797"/>
                        <a:pt x="105" y="5892"/>
                      </a:cubicBezTo>
                      <a:cubicBezTo>
                        <a:pt x="772" y="1987"/>
                        <a:pt x="4487" y="-490"/>
                        <a:pt x="8392" y="82"/>
                      </a:cubicBezTo>
                      <a:lnTo>
                        <a:pt x="123073" y="19799"/>
                      </a:lnTo>
                      <a:cubicBezTo>
                        <a:pt x="126978" y="20465"/>
                        <a:pt x="129550" y="24180"/>
                        <a:pt x="128883" y="28085"/>
                      </a:cubicBezTo>
                      <a:cubicBezTo>
                        <a:pt x="128312" y="31514"/>
                        <a:pt x="125264" y="33991"/>
                        <a:pt x="121835" y="33991"/>
                      </a:cubicBezTo>
                      <a:close/>
                    </a:path>
                  </a:pathLst>
                </a:custGeom>
                <a:grpFill/>
                <a:ln w="9525" cap="flat">
                  <a:noFill/>
                  <a:prstDash val="solid"/>
                  <a:miter/>
                </a:ln>
              </p:spPr>
              <p:txBody>
                <a:bodyPr rtlCol="0" anchor="ctr"/>
                <a:lstStyle/>
                <a:p>
                  <a:endParaRPr lang="de-DE"/>
                </a:p>
              </p:txBody>
            </p:sp>
            <p:sp>
              <p:nvSpPr>
                <p:cNvPr id="586" name="Grafik 31">
                  <a:extLst>
                    <a:ext uri="{FF2B5EF4-FFF2-40B4-BE49-F238E27FC236}">
                      <a16:creationId xmlns:a16="http://schemas.microsoft.com/office/drawing/2014/main" id="{38F434B9-AB0D-4FBE-7E16-058A5001096E}"/>
                    </a:ext>
                  </a:extLst>
                </p:cNvPr>
                <p:cNvSpPr/>
                <p:nvPr/>
              </p:nvSpPr>
              <p:spPr bwMode="gray">
                <a:xfrm>
                  <a:off x="6166331" y="3229012"/>
                  <a:ext cx="25737" cy="37585"/>
                </a:xfrm>
                <a:custGeom>
                  <a:avLst/>
                  <a:gdLst>
                    <a:gd name="connsiteX0" fmla="*/ 18631 w 25737"/>
                    <a:gd name="connsiteY0" fmla="*/ 37586 h 37585"/>
                    <a:gd name="connsiteX1" fmla="*/ 12249 w 25737"/>
                    <a:gd name="connsiteY1" fmla="*/ 33585 h 37585"/>
                    <a:gd name="connsiteX2" fmla="*/ 724 w 25737"/>
                    <a:gd name="connsiteY2" fmla="*/ 10249 h 37585"/>
                    <a:gd name="connsiteX3" fmla="*/ 3963 w 25737"/>
                    <a:gd name="connsiteY3" fmla="*/ 724 h 37585"/>
                    <a:gd name="connsiteX4" fmla="*/ 13488 w 25737"/>
                    <a:gd name="connsiteY4" fmla="*/ 3963 h 37585"/>
                    <a:gd name="connsiteX5" fmla="*/ 25013 w 25737"/>
                    <a:gd name="connsiteY5" fmla="*/ 27299 h 37585"/>
                    <a:gd name="connsiteX6" fmla="*/ 21774 w 25737"/>
                    <a:gd name="connsiteY6" fmla="*/ 36824 h 37585"/>
                    <a:gd name="connsiteX7" fmla="*/ 18631 w 25737"/>
                    <a:gd name="connsiteY7" fmla="*/ 37586 h 3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585">
                      <a:moveTo>
                        <a:pt x="18631" y="37586"/>
                      </a:moveTo>
                      <a:cubicBezTo>
                        <a:pt x="15964" y="37586"/>
                        <a:pt x="13488" y="36157"/>
                        <a:pt x="12249" y="33585"/>
                      </a:cubicBezTo>
                      <a:lnTo>
                        <a:pt x="724" y="10249"/>
                      </a:lnTo>
                      <a:cubicBezTo>
                        <a:pt x="-990" y="6725"/>
                        <a:pt x="438" y="2439"/>
                        <a:pt x="3963" y="724"/>
                      </a:cubicBezTo>
                      <a:cubicBezTo>
                        <a:pt x="7487" y="-990"/>
                        <a:pt x="11773" y="438"/>
                        <a:pt x="13488" y="3963"/>
                      </a:cubicBezTo>
                      <a:lnTo>
                        <a:pt x="25013" y="27299"/>
                      </a:lnTo>
                      <a:cubicBezTo>
                        <a:pt x="26727" y="30823"/>
                        <a:pt x="25299" y="35109"/>
                        <a:pt x="21774" y="36824"/>
                      </a:cubicBezTo>
                      <a:cubicBezTo>
                        <a:pt x="20727" y="37395"/>
                        <a:pt x="19679" y="37586"/>
                        <a:pt x="18631" y="37586"/>
                      </a:cubicBezTo>
                      <a:close/>
                    </a:path>
                  </a:pathLst>
                </a:custGeom>
                <a:grpFill/>
                <a:ln w="9525" cap="flat">
                  <a:noFill/>
                  <a:prstDash val="solid"/>
                  <a:miter/>
                </a:ln>
              </p:spPr>
              <p:txBody>
                <a:bodyPr rtlCol="0" anchor="ctr"/>
                <a:lstStyle/>
                <a:p>
                  <a:endParaRPr lang="de-DE"/>
                </a:p>
              </p:txBody>
            </p:sp>
            <p:sp>
              <p:nvSpPr>
                <p:cNvPr id="587" name="Grafik 31">
                  <a:extLst>
                    <a:ext uri="{FF2B5EF4-FFF2-40B4-BE49-F238E27FC236}">
                      <a16:creationId xmlns:a16="http://schemas.microsoft.com/office/drawing/2014/main" id="{6A10F834-8075-5C2A-FF04-CD290A5BC0DD}"/>
                    </a:ext>
                  </a:extLst>
                </p:cNvPr>
                <p:cNvSpPr/>
                <p:nvPr/>
              </p:nvSpPr>
              <p:spPr bwMode="gray">
                <a:xfrm>
                  <a:off x="6154520" y="3252348"/>
                  <a:ext cx="37548" cy="25774"/>
                </a:xfrm>
                <a:custGeom>
                  <a:avLst/>
                  <a:gdLst>
                    <a:gd name="connsiteX0" fmla="*/ 7106 w 37548"/>
                    <a:gd name="connsiteY0" fmla="*/ 25775 h 25774"/>
                    <a:gd name="connsiteX1" fmla="*/ 724 w 37548"/>
                    <a:gd name="connsiteY1" fmla="*/ 21774 h 25774"/>
                    <a:gd name="connsiteX2" fmla="*/ 3963 w 37548"/>
                    <a:gd name="connsiteY2" fmla="*/ 12249 h 25774"/>
                    <a:gd name="connsiteX3" fmla="*/ 27299 w 37548"/>
                    <a:gd name="connsiteY3" fmla="*/ 724 h 25774"/>
                    <a:gd name="connsiteX4" fmla="*/ 36824 w 37548"/>
                    <a:gd name="connsiteY4" fmla="*/ 3963 h 25774"/>
                    <a:gd name="connsiteX5" fmla="*/ 33585 w 37548"/>
                    <a:gd name="connsiteY5" fmla="*/ 13488 h 25774"/>
                    <a:gd name="connsiteX6" fmla="*/ 10249 w 37548"/>
                    <a:gd name="connsiteY6" fmla="*/ 25013 h 25774"/>
                    <a:gd name="connsiteX7" fmla="*/ 7106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7106" y="25775"/>
                      </a:moveTo>
                      <a:cubicBezTo>
                        <a:pt x="4439" y="25775"/>
                        <a:pt x="1962" y="24346"/>
                        <a:pt x="724" y="21774"/>
                      </a:cubicBezTo>
                      <a:cubicBezTo>
                        <a:pt x="-990" y="18250"/>
                        <a:pt x="438" y="13964"/>
                        <a:pt x="3963" y="12249"/>
                      </a:cubicBezTo>
                      <a:lnTo>
                        <a:pt x="27299" y="724"/>
                      </a:lnTo>
                      <a:cubicBezTo>
                        <a:pt x="30823" y="-990"/>
                        <a:pt x="35110" y="438"/>
                        <a:pt x="36824" y="3963"/>
                      </a:cubicBezTo>
                      <a:cubicBezTo>
                        <a:pt x="38538" y="7487"/>
                        <a:pt x="37110" y="11773"/>
                        <a:pt x="33585" y="13488"/>
                      </a:cubicBezTo>
                      <a:lnTo>
                        <a:pt x="10249" y="25013"/>
                      </a:lnTo>
                      <a:cubicBezTo>
                        <a:pt x="9297" y="25584"/>
                        <a:pt x="8154" y="25775"/>
                        <a:pt x="7106" y="25775"/>
                      </a:cubicBezTo>
                      <a:close/>
                    </a:path>
                  </a:pathLst>
                </a:custGeom>
                <a:grpFill/>
                <a:ln w="9525" cap="flat">
                  <a:noFill/>
                  <a:prstDash val="solid"/>
                  <a:miter/>
                </a:ln>
              </p:spPr>
              <p:txBody>
                <a:bodyPr rtlCol="0" anchor="ctr"/>
                <a:lstStyle/>
                <a:p>
                  <a:endParaRPr lang="de-DE"/>
                </a:p>
              </p:txBody>
            </p:sp>
          </p:grpSp>
          <p:grpSp>
            <p:nvGrpSpPr>
              <p:cNvPr id="579" name="Grafik 31">
                <a:extLst>
                  <a:ext uri="{FF2B5EF4-FFF2-40B4-BE49-F238E27FC236}">
                    <a16:creationId xmlns:a16="http://schemas.microsoft.com/office/drawing/2014/main" id="{E3C2D2C4-5D5E-C772-C841-F1F5041C0BC4}"/>
                  </a:ext>
                </a:extLst>
              </p:cNvPr>
              <p:cNvGrpSpPr/>
              <p:nvPr/>
            </p:nvGrpSpPr>
            <p:grpSpPr bwMode="gray">
              <a:xfrm>
                <a:off x="5989986" y="3332358"/>
                <a:ext cx="202082" cy="49396"/>
                <a:chOff x="5989986" y="3332358"/>
                <a:chExt cx="202082" cy="49396"/>
              </a:xfrm>
              <a:grpFill/>
            </p:grpSpPr>
            <p:sp>
              <p:nvSpPr>
                <p:cNvPr id="580" name="Grafik 31">
                  <a:extLst>
                    <a:ext uri="{FF2B5EF4-FFF2-40B4-BE49-F238E27FC236}">
                      <a16:creationId xmlns:a16="http://schemas.microsoft.com/office/drawing/2014/main" id="{FF9930BD-1D62-3C2D-A0A5-C4A6469FE16B}"/>
                    </a:ext>
                  </a:extLst>
                </p:cNvPr>
                <p:cNvSpPr/>
                <p:nvPr/>
              </p:nvSpPr>
              <p:spPr bwMode="gray">
                <a:xfrm>
                  <a:off x="5989986" y="336746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8"/>
                        <a:pt x="3239" y="0"/>
                        <a:pt x="7144" y="0"/>
                      </a:cubicBezTo>
                      <a:lnTo>
                        <a:pt x="74676" y="0"/>
                      </a:lnTo>
                      <a:cubicBezTo>
                        <a:pt x="78581" y="0"/>
                        <a:pt x="81820" y="3238"/>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1" name="Grafik 31">
                  <a:extLst>
                    <a:ext uri="{FF2B5EF4-FFF2-40B4-BE49-F238E27FC236}">
                      <a16:creationId xmlns:a16="http://schemas.microsoft.com/office/drawing/2014/main" id="{4E0D7F09-8BAC-1417-8A93-549B22B500EB}"/>
                    </a:ext>
                  </a:extLst>
                </p:cNvPr>
                <p:cNvSpPr/>
                <p:nvPr/>
              </p:nvSpPr>
              <p:spPr bwMode="gray">
                <a:xfrm>
                  <a:off x="6061413" y="3347005"/>
                  <a:ext cx="129083" cy="33988"/>
                </a:xfrm>
                <a:custGeom>
                  <a:avLst/>
                  <a:gdLst>
                    <a:gd name="connsiteX0" fmla="*/ 7154 w 129083"/>
                    <a:gd name="connsiteY0" fmla="*/ 33988 h 33988"/>
                    <a:gd name="connsiteX1" fmla="*/ 105 w 129083"/>
                    <a:gd name="connsiteY1" fmla="*/ 28083 h 33988"/>
                    <a:gd name="connsiteX2" fmla="*/ 5915 w 129083"/>
                    <a:gd name="connsiteY2" fmla="*/ 19796 h 33988"/>
                    <a:gd name="connsiteX3" fmla="*/ 120692 w 129083"/>
                    <a:gd name="connsiteY3" fmla="*/ 79 h 33988"/>
                    <a:gd name="connsiteX4" fmla="*/ 128978 w 129083"/>
                    <a:gd name="connsiteY4" fmla="*/ 5890 h 33988"/>
                    <a:gd name="connsiteX5" fmla="*/ 123168 w 129083"/>
                    <a:gd name="connsiteY5" fmla="*/ 14176 h 33988"/>
                    <a:gd name="connsiteX6" fmla="*/ 8392 w 129083"/>
                    <a:gd name="connsiteY6" fmla="*/ 33893 h 33988"/>
                    <a:gd name="connsiteX7" fmla="*/ 7154 w 129083"/>
                    <a:gd name="connsiteY7" fmla="*/ 33988 h 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83" h="33988">
                      <a:moveTo>
                        <a:pt x="7154" y="33988"/>
                      </a:moveTo>
                      <a:cubicBezTo>
                        <a:pt x="3725" y="33988"/>
                        <a:pt x="677" y="31512"/>
                        <a:pt x="105" y="28083"/>
                      </a:cubicBezTo>
                      <a:cubicBezTo>
                        <a:pt x="-562" y="24178"/>
                        <a:pt x="2010" y="20463"/>
                        <a:pt x="5915" y="19796"/>
                      </a:cubicBezTo>
                      <a:lnTo>
                        <a:pt x="120692" y="79"/>
                      </a:lnTo>
                      <a:cubicBezTo>
                        <a:pt x="124597" y="-492"/>
                        <a:pt x="128312" y="2080"/>
                        <a:pt x="128978" y="5890"/>
                      </a:cubicBezTo>
                      <a:cubicBezTo>
                        <a:pt x="129645" y="9795"/>
                        <a:pt x="127073" y="13510"/>
                        <a:pt x="123168" y="14176"/>
                      </a:cubicBezTo>
                      <a:lnTo>
                        <a:pt x="8392" y="33893"/>
                      </a:lnTo>
                      <a:cubicBezTo>
                        <a:pt x="8011" y="33988"/>
                        <a:pt x="7535" y="33988"/>
                        <a:pt x="7154" y="33988"/>
                      </a:cubicBezTo>
                      <a:close/>
                    </a:path>
                  </a:pathLst>
                </a:custGeom>
                <a:grpFill/>
                <a:ln w="9525" cap="flat">
                  <a:noFill/>
                  <a:prstDash val="solid"/>
                  <a:miter/>
                </a:ln>
              </p:spPr>
              <p:txBody>
                <a:bodyPr rtlCol="0" anchor="ctr"/>
                <a:lstStyle/>
                <a:p>
                  <a:endParaRPr lang="de-DE"/>
                </a:p>
              </p:txBody>
            </p:sp>
            <p:sp>
              <p:nvSpPr>
                <p:cNvPr id="582" name="Grafik 31">
                  <a:extLst>
                    <a:ext uri="{FF2B5EF4-FFF2-40B4-BE49-F238E27FC236}">
                      <a16:creationId xmlns:a16="http://schemas.microsoft.com/office/drawing/2014/main" id="{38D33FDA-47C5-CCE6-3846-8040A4964292}"/>
                    </a:ext>
                  </a:extLst>
                </p:cNvPr>
                <p:cNvSpPr/>
                <p:nvPr/>
              </p:nvSpPr>
              <p:spPr bwMode="gray">
                <a:xfrm>
                  <a:off x="6166331" y="3343746"/>
                  <a:ext cx="25737" cy="37627"/>
                </a:xfrm>
                <a:custGeom>
                  <a:avLst/>
                  <a:gdLst>
                    <a:gd name="connsiteX0" fmla="*/ 7106 w 25737"/>
                    <a:gd name="connsiteY0" fmla="*/ 37628 h 37627"/>
                    <a:gd name="connsiteX1" fmla="*/ 3963 w 25737"/>
                    <a:gd name="connsiteY1" fmla="*/ 36866 h 37627"/>
                    <a:gd name="connsiteX2" fmla="*/ 724 w 25737"/>
                    <a:gd name="connsiteY2" fmla="*/ 27341 h 37627"/>
                    <a:gd name="connsiteX3" fmla="*/ 12249 w 25737"/>
                    <a:gd name="connsiteY3" fmla="*/ 4004 h 37627"/>
                    <a:gd name="connsiteX4" fmla="*/ 21774 w 25737"/>
                    <a:gd name="connsiteY4" fmla="*/ 766 h 37627"/>
                    <a:gd name="connsiteX5" fmla="*/ 25013 w 25737"/>
                    <a:gd name="connsiteY5" fmla="*/ 10291 h 37627"/>
                    <a:gd name="connsiteX6" fmla="*/ 13488 w 25737"/>
                    <a:gd name="connsiteY6" fmla="*/ 33627 h 37627"/>
                    <a:gd name="connsiteX7" fmla="*/ 7106 w 25737"/>
                    <a:gd name="connsiteY7" fmla="*/ 37628 h 3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627">
                      <a:moveTo>
                        <a:pt x="7106" y="37628"/>
                      </a:moveTo>
                      <a:cubicBezTo>
                        <a:pt x="6058" y="37628"/>
                        <a:pt x="4915" y="37437"/>
                        <a:pt x="3963" y="36866"/>
                      </a:cubicBezTo>
                      <a:cubicBezTo>
                        <a:pt x="438" y="35151"/>
                        <a:pt x="-990" y="30865"/>
                        <a:pt x="724" y="27341"/>
                      </a:cubicBezTo>
                      <a:lnTo>
                        <a:pt x="12249" y="4004"/>
                      </a:lnTo>
                      <a:cubicBezTo>
                        <a:pt x="13964" y="480"/>
                        <a:pt x="18250" y="-1044"/>
                        <a:pt x="21774" y="766"/>
                      </a:cubicBezTo>
                      <a:cubicBezTo>
                        <a:pt x="25299" y="2480"/>
                        <a:pt x="26727" y="6767"/>
                        <a:pt x="25013" y="10291"/>
                      </a:cubicBezTo>
                      <a:lnTo>
                        <a:pt x="13488" y="33627"/>
                      </a:lnTo>
                      <a:cubicBezTo>
                        <a:pt x="12249" y="36199"/>
                        <a:pt x="9678" y="37628"/>
                        <a:pt x="7106" y="37628"/>
                      </a:cubicBezTo>
                      <a:close/>
                    </a:path>
                  </a:pathLst>
                </a:custGeom>
                <a:grpFill/>
                <a:ln w="9525" cap="flat">
                  <a:noFill/>
                  <a:prstDash val="solid"/>
                  <a:miter/>
                </a:ln>
              </p:spPr>
              <p:txBody>
                <a:bodyPr rtlCol="0" anchor="ctr"/>
                <a:lstStyle/>
                <a:p>
                  <a:endParaRPr lang="de-DE"/>
                </a:p>
              </p:txBody>
            </p:sp>
            <p:sp>
              <p:nvSpPr>
                <p:cNvPr id="583" name="Grafik 31">
                  <a:extLst>
                    <a:ext uri="{FF2B5EF4-FFF2-40B4-BE49-F238E27FC236}">
                      <a16:creationId xmlns:a16="http://schemas.microsoft.com/office/drawing/2014/main" id="{6E0A5508-0895-038F-6C17-2860D699BEB5}"/>
                    </a:ext>
                  </a:extLst>
                </p:cNvPr>
                <p:cNvSpPr/>
                <p:nvPr/>
              </p:nvSpPr>
              <p:spPr bwMode="gray">
                <a:xfrm>
                  <a:off x="6154520" y="3332358"/>
                  <a:ext cx="37548" cy="25774"/>
                </a:xfrm>
                <a:custGeom>
                  <a:avLst/>
                  <a:gdLst>
                    <a:gd name="connsiteX0" fmla="*/ 30442 w 37548"/>
                    <a:gd name="connsiteY0" fmla="*/ 25775 h 25774"/>
                    <a:gd name="connsiteX1" fmla="*/ 27299 w 37548"/>
                    <a:gd name="connsiteY1" fmla="*/ 25013 h 25774"/>
                    <a:gd name="connsiteX2" fmla="*/ 3963 w 37548"/>
                    <a:gd name="connsiteY2" fmla="*/ 13488 h 25774"/>
                    <a:gd name="connsiteX3" fmla="*/ 724 w 37548"/>
                    <a:gd name="connsiteY3" fmla="*/ 3963 h 25774"/>
                    <a:gd name="connsiteX4" fmla="*/ 10249 w 37548"/>
                    <a:gd name="connsiteY4" fmla="*/ 724 h 25774"/>
                    <a:gd name="connsiteX5" fmla="*/ 33585 w 37548"/>
                    <a:gd name="connsiteY5" fmla="*/ 12249 h 25774"/>
                    <a:gd name="connsiteX6" fmla="*/ 36824 w 37548"/>
                    <a:gd name="connsiteY6" fmla="*/ 21774 h 25774"/>
                    <a:gd name="connsiteX7" fmla="*/ 30442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30442" y="25775"/>
                      </a:moveTo>
                      <a:cubicBezTo>
                        <a:pt x="29394" y="25775"/>
                        <a:pt x="28251" y="25584"/>
                        <a:pt x="27299" y="25013"/>
                      </a:cubicBezTo>
                      <a:lnTo>
                        <a:pt x="3963" y="13488"/>
                      </a:lnTo>
                      <a:cubicBezTo>
                        <a:pt x="438" y="11773"/>
                        <a:pt x="-990" y="7487"/>
                        <a:pt x="724" y="3963"/>
                      </a:cubicBezTo>
                      <a:cubicBezTo>
                        <a:pt x="2439" y="438"/>
                        <a:pt x="6725" y="-990"/>
                        <a:pt x="10249" y="724"/>
                      </a:cubicBezTo>
                      <a:lnTo>
                        <a:pt x="33585" y="12249"/>
                      </a:lnTo>
                      <a:cubicBezTo>
                        <a:pt x="37110" y="13964"/>
                        <a:pt x="38538" y="18250"/>
                        <a:pt x="36824" y="21774"/>
                      </a:cubicBezTo>
                      <a:cubicBezTo>
                        <a:pt x="35586" y="24251"/>
                        <a:pt x="33014" y="25775"/>
                        <a:pt x="30442" y="25775"/>
                      </a:cubicBezTo>
                      <a:close/>
                    </a:path>
                  </a:pathLst>
                </a:custGeom>
                <a:grpFill/>
                <a:ln w="9525" cap="flat">
                  <a:noFill/>
                  <a:prstDash val="solid"/>
                  <a:miter/>
                </a:ln>
              </p:spPr>
              <p:txBody>
                <a:bodyPr rtlCol="0" anchor="ctr"/>
                <a:lstStyle/>
                <a:p>
                  <a:endParaRPr lang="de-DE"/>
                </a:p>
              </p:txBody>
            </p:sp>
          </p:grpSp>
        </p:grpSp>
      </p:grpSp>
      <p:sp>
        <p:nvSpPr>
          <p:cNvPr id="591" name="Rectangle 590">
            <a:extLst>
              <a:ext uri="{FF2B5EF4-FFF2-40B4-BE49-F238E27FC236}">
                <a16:creationId xmlns:a16="http://schemas.microsoft.com/office/drawing/2014/main" id="{833B5D09-4A08-045B-6118-670AE6304C88}"/>
              </a:ext>
            </a:extLst>
          </p:cNvPr>
          <p:cNvSpPr/>
          <p:nvPr/>
        </p:nvSpPr>
        <p:spPr>
          <a:xfrm>
            <a:off x="7536202"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ATM</a:t>
            </a:r>
          </a:p>
        </p:txBody>
      </p:sp>
      <p:sp>
        <p:nvSpPr>
          <p:cNvPr id="592" name="Text Box 55">
            <a:extLst>
              <a:ext uri="{FF2B5EF4-FFF2-40B4-BE49-F238E27FC236}">
                <a16:creationId xmlns:a16="http://schemas.microsoft.com/office/drawing/2014/main" id="{41C34BCD-3161-226B-45B7-D593E9F9BD91}"/>
              </a:ext>
            </a:extLst>
          </p:cNvPr>
          <p:cNvSpPr txBox="1">
            <a:spLocks noChangeArrowheads="1"/>
          </p:cNvSpPr>
          <p:nvPr/>
        </p:nvSpPr>
        <p:spPr bwMode="auto">
          <a:xfrm>
            <a:off x="8119972" y="1366838"/>
            <a:ext cx="112466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 with ATM</a:t>
            </a:r>
          </a:p>
        </p:txBody>
      </p:sp>
      <p:sp>
        <p:nvSpPr>
          <p:cNvPr id="593" name="Text Box 56">
            <a:extLst>
              <a:ext uri="{FF2B5EF4-FFF2-40B4-BE49-F238E27FC236}">
                <a16:creationId xmlns:a16="http://schemas.microsoft.com/office/drawing/2014/main" id="{59B9A7FD-AAD0-B5E9-728B-415F429FDDEB}"/>
              </a:ext>
            </a:extLst>
          </p:cNvPr>
          <p:cNvSpPr txBox="1">
            <a:spLocks noChangeArrowheads="1"/>
          </p:cNvSpPr>
          <p:nvPr/>
        </p:nvSpPr>
        <p:spPr bwMode="auto">
          <a:xfrm>
            <a:off x="8119972" y="1912938"/>
            <a:ext cx="80932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TM Switch</a:t>
            </a:r>
          </a:p>
        </p:txBody>
      </p:sp>
      <p:sp>
        <p:nvSpPr>
          <p:cNvPr id="594" name="Text Box 57">
            <a:extLst>
              <a:ext uri="{FF2B5EF4-FFF2-40B4-BE49-F238E27FC236}">
                <a16:creationId xmlns:a16="http://schemas.microsoft.com/office/drawing/2014/main" id="{2FA53046-19D8-F7AF-8C12-7FC723732508}"/>
              </a:ext>
            </a:extLst>
          </p:cNvPr>
          <p:cNvSpPr txBox="1">
            <a:spLocks noChangeArrowheads="1"/>
          </p:cNvSpPr>
          <p:nvPr/>
        </p:nvSpPr>
        <p:spPr bwMode="auto">
          <a:xfrm>
            <a:off x="8119972" y="2459038"/>
            <a:ext cx="95539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 Router</a:t>
            </a:r>
          </a:p>
        </p:txBody>
      </p:sp>
      <p:sp>
        <p:nvSpPr>
          <p:cNvPr id="595" name="Text Box 58">
            <a:extLst>
              <a:ext uri="{FF2B5EF4-FFF2-40B4-BE49-F238E27FC236}">
                <a16:creationId xmlns:a16="http://schemas.microsoft.com/office/drawing/2014/main" id="{05D70CA0-DBA1-52FD-6CC1-2BD94997F928}"/>
              </a:ext>
            </a:extLst>
          </p:cNvPr>
          <p:cNvSpPr txBox="1">
            <a:spLocks noChangeArrowheads="1"/>
          </p:cNvSpPr>
          <p:nvPr/>
        </p:nvSpPr>
        <p:spPr bwMode="auto">
          <a:xfrm>
            <a:off x="8119972"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 (ATM)</a:t>
            </a:r>
          </a:p>
        </p:txBody>
      </p:sp>
      <p:grpSp>
        <p:nvGrpSpPr>
          <p:cNvPr id="596" name="Grafik 4039">
            <a:extLst>
              <a:ext uri="{FF2B5EF4-FFF2-40B4-BE49-F238E27FC236}">
                <a16:creationId xmlns:a16="http://schemas.microsoft.com/office/drawing/2014/main" id="{C785DA48-D6AA-172C-0987-258CACEC2E04}"/>
              </a:ext>
            </a:extLst>
          </p:cNvPr>
          <p:cNvGrpSpPr/>
          <p:nvPr/>
        </p:nvGrpSpPr>
        <p:grpSpPr bwMode="gray">
          <a:xfrm>
            <a:off x="7536203" y="1333208"/>
            <a:ext cx="374400" cy="374400"/>
            <a:chOff x="5843587" y="3176587"/>
            <a:chExt cx="500253" cy="500253"/>
          </a:xfrm>
          <a:solidFill>
            <a:schemeClr val="tx1"/>
          </a:solidFill>
        </p:grpSpPr>
        <p:grpSp>
          <p:nvGrpSpPr>
            <p:cNvPr id="597" name="Grafik 4039">
              <a:extLst>
                <a:ext uri="{FF2B5EF4-FFF2-40B4-BE49-F238E27FC236}">
                  <a16:creationId xmlns:a16="http://schemas.microsoft.com/office/drawing/2014/main" id="{E15B7E2D-29C0-28AA-641D-9ECE98DA8759}"/>
                </a:ext>
              </a:extLst>
            </p:cNvPr>
            <p:cNvGrpSpPr/>
            <p:nvPr/>
          </p:nvGrpSpPr>
          <p:grpSpPr bwMode="gray">
            <a:xfrm>
              <a:off x="5843587" y="3176587"/>
              <a:ext cx="500253" cy="500253"/>
              <a:chOff x="5843587" y="3176587"/>
              <a:chExt cx="500253" cy="500253"/>
            </a:xfrm>
            <a:grpFill/>
          </p:grpSpPr>
          <p:grpSp>
            <p:nvGrpSpPr>
              <p:cNvPr id="606" name="Grafik 4039">
                <a:extLst>
                  <a:ext uri="{FF2B5EF4-FFF2-40B4-BE49-F238E27FC236}">
                    <a16:creationId xmlns:a16="http://schemas.microsoft.com/office/drawing/2014/main" id="{74593C41-549E-7245-4527-E54D0A521254}"/>
                  </a:ext>
                </a:extLst>
              </p:cNvPr>
              <p:cNvGrpSpPr/>
              <p:nvPr/>
            </p:nvGrpSpPr>
            <p:grpSpPr bwMode="gray">
              <a:xfrm>
                <a:off x="5951066" y="3230233"/>
                <a:ext cx="285352" cy="149902"/>
                <a:chOff x="5951066" y="3230233"/>
                <a:chExt cx="285352" cy="149902"/>
              </a:xfrm>
              <a:grpFill/>
            </p:grpSpPr>
            <p:grpSp>
              <p:nvGrpSpPr>
                <p:cNvPr id="609" name="Grafik 4039">
                  <a:extLst>
                    <a:ext uri="{FF2B5EF4-FFF2-40B4-BE49-F238E27FC236}">
                      <a16:creationId xmlns:a16="http://schemas.microsoft.com/office/drawing/2014/main" id="{0C82CC3D-6B0D-481C-F657-319C031C70DC}"/>
                    </a:ext>
                  </a:extLst>
                </p:cNvPr>
                <p:cNvGrpSpPr/>
                <p:nvPr/>
              </p:nvGrpSpPr>
              <p:grpSpPr bwMode="gray">
                <a:xfrm>
                  <a:off x="6118933" y="3230233"/>
                  <a:ext cx="117485" cy="65892"/>
                  <a:chOff x="6118933" y="3230233"/>
                  <a:chExt cx="117485" cy="65892"/>
                </a:xfrm>
                <a:grpFill/>
              </p:grpSpPr>
              <p:sp>
                <p:nvSpPr>
                  <p:cNvPr id="622" name="Grafik 4039">
                    <a:extLst>
                      <a:ext uri="{FF2B5EF4-FFF2-40B4-BE49-F238E27FC236}">
                        <a16:creationId xmlns:a16="http://schemas.microsoft.com/office/drawing/2014/main" id="{A158F004-3B3A-92E4-8DC4-448457BC11C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623" name="Grafik 4039">
                    <a:extLst>
                      <a:ext uri="{FF2B5EF4-FFF2-40B4-BE49-F238E27FC236}">
                        <a16:creationId xmlns:a16="http://schemas.microsoft.com/office/drawing/2014/main" id="{371910A6-E372-965D-3403-9766E67AAC4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24" name="Grafik 4039">
                    <a:extLst>
                      <a:ext uri="{FF2B5EF4-FFF2-40B4-BE49-F238E27FC236}">
                        <a16:creationId xmlns:a16="http://schemas.microsoft.com/office/drawing/2014/main" id="{9BF9D7A8-7610-7315-D9BF-10495F25536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10" name="Grafik 4039">
                  <a:extLst>
                    <a:ext uri="{FF2B5EF4-FFF2-40B4-BE49-F238E27FC236}">
                      <a16:creationId xmlns:a16="http://schemas.microsoft.com/office/drawing/2014/main" id="{375DCF99-F027-4AE2-EC2E-51F43BD5AF5D}"/>
                    </a:ext>
                  </a:extLst>
                </p:cNvPr>
                <p:cNvGrpSpPr/>
                <p:nvPr/>
              </p:nvGrpSpPr>
              <p:grpSpPr bwMode="gray">
                <a:xfrm>
                  <a:off x="5951103" y="3314244"/>
                  <a:ext cx="117485" cy="65892"/>
                  <a:chOff x="5951103" y="3314244"/>
                  <a:chExt cx="117485" cy="65892"/>
                </a:xfrm>
                <a:grpFill/>
              </p:grpSpPr>
              <p:sp>
                <p:nvSpPr>
                  <p:cNvPr id="619" name="Grafik 4039">
                    <a:extLst>
                      <a:ext uri="{FF2B5EF4-FFF2-40B4-BE49-F238E27FC236}">
                        <a16:creationId xmlns:a16="http://schemas.microsoft.com/office/drawing/2014/main" id="{FB41407B-1F26-33D9-6045-2C78C7B1A7A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20" name="Grafik 4039">
                    <a:extLst>
                      <a:ext uri="{FF2B5EF4-FFF2-40B4-BE49-F238E27FC236}">
                        <a16:creationId xmlns:a16="http://schemas.microsoft.com/office/drawing/2014/main" id="{B56493AE-25BD-D415-A04B-38F3452C502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21" name="Grafik 4039">
                    <a:extLst>
                      <a:ext uri="{FF2B5EF4-FFF2-40B4-BE49-F238E27FC236}">
                        <a16:creationId xmlns:a16="http://schemas.microsoft.com/office/drawing/2014/main" id="{46CD8D0C-7B8C-4E03-6428-1AC25C5D5A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11" name="Grafik 4039">
                  <a:extLst>
                    <a:ext uri="{FF2B5EF4-FFF2-40B4-BE49-F238E27FC236}">
                      <a16:creationId xmlns:a16="http://schemas.microsoft.com/office/drawing/2014/main" id="{A20D8790-167B-50DD-A953-7322AE974846}"/>
                    </a:ext>
                  </a:extLst>
                </p:cNvPr>
                <p:cNvGrpSpPr/>
                <p:nvPr/>
              </p:nvGrpSpPr>
              <p:grpSpPr bwMode="gray">
                <a:xfrm>
                  <a:off x="6118954" y="3314261"/>
                  <a:ext cx="117405" cy="65875"/>
                  <a:chOff x="6118954" y="3314261"/>
                  <a:chExt cx="117405" cy="65875"/>
                </a:xfrm>
                <a:grpFill/>
              </p:grpSpPr>
              <p:sp>
                <p:nvSpPr>
                  <p:cNvPr id="616" name="Grafik 4039">
                    <a:extLst>
                      <a:ext uri="{FF2B5EF4-FFF2-40B4-BE49-F238E27FC236}">
                        <a16:creationId xmlns:a16="http://schemas.microsoft.com/office/drawing/2014/main" id="{4B0FBDE2-013C-C5E7-A534-6C8752403BD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17" name="Grafik 4039">
                    <a:extLst>
                      <a:ext uri="{FF2B5EF4-FFF2-40B4-BE49-F238E27FC236}">
                        <a16:creationId xmlns:a16="http://schemas.microsoft.com/office/drawing/2014/main" id="{F1903805-067C-5D57-EB1A-D8ED6D492BDE}"/>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18" name="Grafik 4039">
                    <a:extLst>
                      <a:ext uri="{FF2B5EF4-FFF2-40B4-BE49-F238E27FC236}">
                        <a16:creationId xmlns:a16="http://schemas.microsoft.com/office/drawing/2014/main" id="{A6D1BF19-BB15-6FD4-2971-90D48955CB9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12" name="Grafik 4039">
                  <a:extLst>
                    <a:ext uri="{FF2B5EF4-FFF2-40B4-BE49-F238E27FC236}">
                      <a16:creationId xmlns:a16="http://schemas.microsoft.com/office/drawing/2014/main" id="{6812D198-0DD3-06B5-663E-4F8000D73976}"/>
                    </a:ext>
                  </a:extLst>
                </p:cNvPr>
                <p:cNvGrpSpPr/>
                <p:nvPr/>
              </p:nvGrpSpPr>
              <p:grpSpPr bwMode="gray">
                <a:xfrm>
                  <a:off x="5951066" y="3230345"/>
                  <a:ext cx="117405" cy="65779"/>
                  <a:chOff x="5951066" y="3230345"/>
                  <a:chExt cx="117405" cy="65779"/>
                </a:xfrm>
                <a:grpFill/>
              </p:grpSpPr>
              <p:sp>
                <p:nvSpPr>
                  <p:cNvPr id="613" name="Grafik 4039">
                    <a:extLst>
                      <a:ext uri="{FF2B5EF4-FFF2-40B4-BE49-F238E27FC236}">
                        <a16:creationId xmlns:a16="http://schemas.microsoft.com/office/drawing/2014/main" id="{2627FC1D-DD76-5B48-4599-51DF24282C79}"/>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14" name="Grafik 4039">
                    <a:extLst>
                      <a:ext uri="{FF2B5EF4-FFF2-40B4-BE49-F238E27FC236}">
                        <a16:creationId xmlns:a16="http://schemas.microsoft.com/office/drawing/2014/main" id="{266FDD83-2013-6D62-42FB-0443F5F0706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15" name="Grafik 4039">
                    <a:extLst>
                      <a:ext uri="{FF2B5EF4-FFF2-40B4-BE49-F238E27FC236}">
                        <a16:creationId xmlns:a16="http://schemas.microsoft.com/office/drawing/2014/main" id="{86E6C3C9-B271-5BDD-669C-0377DB0B4227}"/>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07" name="Grafik 4039">
                <a:extLst>
                  <a:ext uri="{FF2B5EF4-FFF2-40B4-BE49-F238E27FC236}">
                    <a16:creationId xmlns:a16="http://schemas.microsoft.com/office/drawing/2014/main" id="{841D904D-ACD5-E3F7-EC22-FDC6D81EE86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08" name="Grafik 4039">
                <a:extLst>
                  <a:ext uri="{FF2B5EF4-FFF2-40B4-BE49-F238E27FC236}">
                    <a16:creationId xmlns:a16="http://schemas.microsoft.com/office/drawing/2014/main" id="{85813441-F91E-FD98-9137-716A2F4DCF8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98" name="Grafik 4039">
              <a:extLst>
                <a:ext uri="{FF2B5EF4-FFF2-40B4-BE49-F238E27FC236}">
                  <a16:creationId xmlns:a16="http://schemas.microsoft.com/office/drawing/2014/main" id="{2E8BB4D6-F856-526A-997F-8384DEF500E9}"/>
                </a:ext>
              </a:extLst>
            </p:cNvPr>
            <p:cNvGrpSpPr/>
            <p:nvPr/>
          </p:nvGrpSpPr>
          <p:grpSpPr bwMode="gray">
            <a:xfrm>
              <a:off x="5995525" y="3480339"/>
              <a:ext cx="196486" cy="95250"/>
              <a:chOff x="5995525" y="3480339"/>
              <a:chExt cx="196486" cy="95250"/>
            </a:xfrm>
            <a:grpFill/>
          </p:grpSpPr>
          <p:sp>
            <p:nvSpPr>
              <p:cNvPr id="599" name="Grafik 4039">
                <a:extLst>
                  <a:ext uri="{FF2B5EF4-FFF2-40B4-BE49-F238E27FC236}">
                    <a16:creationId xmlns:a16="http://schemas.microsoft.com/office/drawing/2014/main" id="{3CBDDB5C-6CD6-C4C1-501B-DBBF7C6194D9}"/>
                  </a:ext>
                </a:extLst>
              </p:cNvPr>
              <p:cNvSpPr/>
              <p:nvPr/>
            </p:nvSpPr>
            <p:spPr bwMode="gray">
              <a:xfrm>
                <a:off x="6177724"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8" y="95155"/>
                      <a:pt x="0" y="91916"/>
                      <a:pt x="0" y="88011"/>
                    </a:cubicBezTo>
                    <a:lnTo>
                      <a:pt x="0" y="7144"/>
                    </a:lnTo>
                    <a:cubicBezTo>
                      <a:pt x="0" y="3239"/>
                      <a:pt x="3238"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0" name="Grafik 4039">
                <a:extLst>
                  <a:ext uri="{FF2B5EF4-FFF2-40B4-BE49-F238E27FC236}">
                    <a16:creationId xmlns:a16="http://schemas.microsoft.com/office/drawing/2014/main" id="{92451294-60F6-F4E1-3911-9C1870DA19D0}"/>
                  </a:ext>
                </a:extLst>
              </p:cNvPr>
              <p:cNvSpPr/>
              <p:nvPr/>
            </p:nvSpPr>
            <p:spPr bwMode="gray">
              <a:xfrm>
                <a:off x="5995525" y="3480339"/>
                <a:ext cx="67978" cy="95250"/>
              </a:xfrm>
              <a:custGeom>
                <a:avLst/>
                <a:gdLst>
                  <a:gd name="connsiteX0" fmla="*/ 60850 w 67978"/>
                  <a:gd name="connsiteY0" fmla="*/ 95250 h 95250"/>
                  <a:gd name="connsiteX1" fmla="*/ 54088 w 67978"/>
                  <a:gd name="connsiteY1" fmla="*/ 90392 h 95250"/>
                  <a:gd name="connsiteX2" fmla="*/ 34085 w 67978"/>
                  <a:gd name="connsiteY2" fmla="*/ 29813 h 95250"/>
                  <a:gd name="connsiteX3" fmla="*/ 13892 w 67978"/>
                  <a:gd name="connsiteY3" fmla="*/ 90297 h 95250"/>
                  <a:gd name="connsiteX4" fmla="*/ 4843 w 67978"/>
                  <a:gd name="connsiteY4" fmla="*/ 94774 h 95250"/>
                  <a:gd name="connsiteX5" fmla="*/ 367 w 67978"/>
                  <a:gd name="connsiteY5" fmla="*/ 85725 h 95250"/>
                  <a:gd name="connsiteX6" fmla="*/ 27322 w 67978"/>
                  <a:gd name="connsiteY6" fmla="*/ 4858 h 95250"/>
                  <a:gd name="connsiteX7" fmla="*/ 34085 w 67978"/>
                  <a:gd name="connsiteY7" fmla="*/ 0 h 95250"/>
                  <a:gd name="connsiteX8" fmla="*/ 34085 w 67978"/>
                  <a:gd name="connsiteY8" fmla="*/ 0 h 95250"/>
                  <a:gd name="connsiteX9" fmla="*/ 40848 w 67978"/>
                  <a:gd name="connsiteY9" fmla="*/ 4858 h 95250"/>
                  <a:gd name="connsiteX10" fmla="*/ 67613 w 67978"/>
                  <a:gd name="connsiteY10" fmla="*/ 85820 h 95250"/>
                  <a:gd name="connsiteX11" fmla="*/ 63041 w 67978"/>
                  <a:gd name="connsiteY11" fmla="*/ 94869 h 95250"/>
                  <a:gd name="connsiteX12" fmla="*/ 60850 w 67978"/>
                  <a:gd name="connsiteY12"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78" h="95250">
                    <a:moveTo>
                      <a:pt x="60850" y="95250"/>
                    </a:moveTo>
                    <a:cubicBezTo>
                      <a:pt x="57898" y="95250"/>
                      <a:pt x="55040" y="93345"/>
                      <a:pt x="54088" y="90392"/>
                    </a:cubicBezTo>
                    <a:lnTo>
                      <a:pt x="34085" y="29813"/>
                    </a:lnTo>
                    <a:lnTo>
                      <a:pt x="13892" y="90297"/>
                    </a:lnTo>
                    <a:cubicBezTo>
                      <a:pt x="12654" y="94012"/>
                      <a:pt x="8558" y="96012"/>
                      <a:pt x="4843" y="94774"/>
                    </a:cubicBezTo>
                    <a:cubicBezTo>
                      <a:pt x="1129" y="93536"/>
                      <a:pt x="-872" y="89440"/>
                      <a:pt x="367" y="85725"/>
                    </a:cubicBezTo>
                    <a:lnTo>
                      <a:pt x="27322" y="4858"/>
                    </a:lnTo>
                    <a:cubicBezTo>
                      <a:pt x="28275" y="1905"/>
                      <a:pt x="31037" y="0"/>
                      <a:pt x="34085" y="0"/>
                    </a:cubicBezTo>
                    <a:cubicBezTo>
                      <a:pt x="34085" y="0"/>
                      <a:pt x="34085" y="0"/>
                      <a:pt x="34085" y="0"/>
                    </a:cubicBezTo>
                    <a:cubicBezTo>
                      <a:pt x="37133" y="0"/>
                      <a:pt x="39895" y="2000"/>
                      <a:pt x="40848" y="4858"/>
                    </a:cubicBezTo>
                    <a:lnTo>
                      <a:pt x="67613" y="85820"/>
                    </a:lnTo>
                    <a:cubicBezTo>
                      <a:pt x="68851" y="89535"/>
                      <a:pt x="66851" y="93631"/>
                      <a:pt x="63041" y="94869"/>
                    </a:cubicBezTo>
                    <a:cubicBezTo>
                      <a:pt x="62279" y="95155"/>
                      <a:pt x="61517" y="95250"/>
                      <a:pt x="60850" y="95250"/>
                    </a:cubicBezTo>
                    <a:close/>
                  </a:path>
                </a:pathLst>
              </a:custGeom>
              <a:grpFill/>
              <a:ln w="9525" cap="flat">
                <a:noFill/>
                <a:prstDash val="solid"/>
                <a:miter/>
              </a:ln>
            </p:spPr>
            <p:txBody>
              <a:bodyPr rtlCol="0" anchor="ctr"/>
              <a:lstStyle/>
              <a:p>
                <a:endParaRPr lang="de-DE"/>
              </a:p>
            </p:txBody>
          </p:sp>
          <p:sp>
            <p:nvSpPr>
              <p:cNvPr id="601" name="Grafik 4039">
                <a:extLst>
                  <a:ext uri="{FF2B5EF4-FFF2-40B4-BE49-F238E27FC236}">
                    <a16:creationId xmlns:a16="http://schemas.microsoft.com/office/drawing/2014/main" id="{BEE2165B-0858-7BE0-63D5-46FBE6BD7621}"/>
                  </a:ext>
                </a:extLst>
              </p:cNvPr>
              <p:cNvSpPr/>
              <p:nvPr/>
            </p:nvSpPr>
            <p:spPr bwMode="gray">
              <a:xfrm>
                <a:off x="6076187"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2" name="Grafik 4039">
                <a:extLst>
                  <a:ext uri="{FF2B5EF4-FFF2-40B4-BE49-F238E27FC236}">
                    <a16:creationId xmlns:a16="http://schemas.microsoft.com/office/drawing/2014/main" id="{4E213AC2-D036-613A-FD1F-E941585DE146}"/>
                  </a:ext>
                </a:extLst>
              </p:cNvPr>
              <p:cNvSpPr/>
              <p:nvPr/>
            </p:nvSpPr>
            <p:spPr bwMode="gray">
              <a:xfrm>
                <a:off x="6017227" y="3534346"/>
                <a:ext cx="37338" cy="14287"/>
              </a:xfrm>
              <a:custGeom>
                <a:avLst/>
                <a:gdLst>
                  <a:gd name="connsiteX0" fmla="*/ 30194 w 37338"/>
                  <a:gd name="connsiteY0" fmla="*/ 14288 h 14287"/>
                  <a:gd name="connsiteX1" fmla="*/ 7144 w 37338"/>
                  <a:gd name="connsiteY1" fmla="*/ 14288 h 14287"/>
                  <a:gd name="connsiteX2" fmla="*/ 0 w 37338"/>
                  <a:gd name="connsiteY2" fmla="*/ 7144 h 14287"/>
                  <a:gd name="connsiteX3" fmla="*/ 7144 w 37338"/>
                  <a:gd name="connsiteY3" fmla="*/ 0 h 14287"/>
                  <a:gd name="connsiteX4" fmla="*/ 30194 w 37338"/>
                  <a:gd name="connsiteY4" fmla="*/ 0 h 14287"/>
                  <a:gd name="connsiteX5" fmla="*/ 37338 w 37338"/>
                  <a:gd name="connsiteY5" fmla="*/ 7144 h 14287"/>
                  <a:gd name="connsiteX6" fmla="*/ 30194 w 3733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14287">
                    <a:moveTo>
                      <a:pt x="30194" y="14288"/>
                    </a:moveTo>
                    <a:lnTo>
                      <a:pt x="7144" y="14288"/>
                    </a:lnTo>
                    <a:cubicBezTo>
                      <a:pt x="3239" y="14288"/>
                      <a:pt x="0" y="11049"/>
                      <a:pt x="0" y="7144"/>
                    </a:cubicBezTo>
                    <a:cubicBezTo>
                      <a:pt x="0" y="3239"/>
                      <a:pt x="3239" y="0"/>
                      <a:pt x="7144" y="0"/>
                    </a:cubicBezTo>
                    <a:lnTo>
                      <a:pt x="30194" y="0"/>
                    </a:lnTo>
                    <a:cubicBezTo>
                      <a:pt x="34100" y="0"/>
                      <a:pt x="37338" y="3239"/>
                      <a:pt x="37338" y="7144"/>
                    </a:cubicBezTo>
                    <a:cubicBezTo>
                      <a:pt x="37338" y="11049"/>
                      <a:pt x="34100" y="14288"/>
                      <a:pt x="30194" y="14288"/>
                    </a:cubicBezTo>
                    <a:close/>
                  </a:path>
                </a:pathLst>
              </a:custGeom>
              <a:grpFill/>
              <a:ln w="9525" cap="flat">
                <a:noFill/>
                <a:prstDash val="solid"/>
                <a:miter/>
              </a:ln>
            </p:spPr>
            <p:txBody>
              <a:bodyPr rtlCol="0" anchor="ctr"/>
              <a:lstStyle/>
              <a:p>
                <a:endParaRPr lang="de-DE"/>
              </a:p>
            </p:txBody>
          </p:sp>
          <p:sp>
            <p:nvSpPr>
              <p:cNvPr id="603" name="Grafik 4039">
                <a:extLst>
                  <a:ext uri="{FF2B5EF4-FFF2-40B4-BE49-F238E27FC236}">
                    <a16:creationId xmlns:a16="http://schemas.microsoft.com/office/drawing/2014/main" id="{FACC9E47-F61B-C652-FDAE-687B0514B53D}"/>
                  </a:ext>
                </a:extLst>
              </p:cNvPr>
              <p:cNvSpPr/>
              <p:nvPr/>
            </p:nvSpPr>
            <p:spPr bwMode="gray">
              <a:xfrm>
                <a:off x="6049136" y="3480339"/>
                <a:ext cx="68294" cy="14287"/>
              </a:xfrm>
              <a:custGeom>
                <a:avLst/>
                <a:gdLst>
                  <a:gd name="connsiteX0" fmla="*/ 61151 w 68294"/>
                  <a:gd name="connsiteY0" fmla="*/ 14288 h 14287"/>
                  <a:gd name="connsiteX1" fmla="*/ 7144 w 68294"/>
                  <a:gd name="connsiteY1" fmla="*/ 14288 h 14287"/>
                  <a:gd name="connsiteX2" fmla="*/ 0 w 68294"/>
                  <a:gd name="connsiteY2" fmla="*/ 7144 h 14287"/>
                  <a:gd name="connsiteX3" fmla="*/ 7144 w 68294"/>
                  <a:gd name="connsiteY3" fmla="*/ 0 h 14287"/>
                  <a:gd name="connsiteX4" fmla="*/ 61151 w 68294"/>
                  <a:gd name="connsiteY4" fmla="*/ 0 h 14287"/>
                  <a:gd name="connsiteX5" fmla="*/ 68294 w 68294"/>
                  <a:gd name="connsiteY5" fmla="*/ 7144 h 14287"/>
                  <a:gd name="connsiteX6" fmla="*/ 61151 w 682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94" h="14287">
                    <a:moveTo>
                      <a:pt x="61151" y="14288"/>
                    </a:moveTo>
                    <a:lnTo>
                      <a:pt x="7144" y="14288"/>
                    </a:lnTo>
                    <a:cubicBezTo>
                      <a:pt x="3239" y="14288"/>
                      <a:pt x="0" y="11049"/>
                      <a:pt x="0" y="7144"/>
                    </a:cubicBezTo>
                    <a:cubicBezTo>
                      <a:pt x="0" y="3239"/>
                      <a:pt x="3239" y="0"/>
                      <a:pt x="7144" y="0"/>
                    </a:cubicBezTo>
                    <a:lnTo>
                      <a:pt x="61151" y="0"/>
                    </a:lnTo>
                    <a:cubicBezTo>
                      <a:pt x="65056" y="0"/>
                      <a:pt x="68294" y="3239"/>
                      <a:pt x="68294" y="7144"/>
                    </a:cubicBezTo>
                    <a:cubicBezTo>
                      <a:pt x="68294" y="11049"/>
                      <a:pt x="65151" y="14288"/>
                      <a:pt x="61151" y="14288"/>
                    </a:cubicBezTo>
                    <a:close/>
                  </a:path>
                </a:pathLst>
              </a:custGeom>
              <a:grpFill/>
              <a:ln w="9525" cap="flat">
                <a:noFill/>
                <a:prstDash val="solid"/>
                <a:miter/>
              </a:ln>
            </p:spPr>
            <p:txBody>
              <a:bodyPr rtlCol="0" anchor="ctr"/>
              <a:lstStyle/>
              <a:p>
                <a:endParaRPr lang="de-DE"/>
              </a:p>
            </p:txBody>
          </p:sp>
          <p:sp>
            <p:nvSpPr>
              <p:cNvPr id="604" name="Grafik 4039">
                <a:extLst>
                  <a:ext uri="{FF2B5EF4-FFF2-40B4-BE49-F238E27FC236}">
                    <a16:creationId xmlns:a16="http://schemas.microsoft.com/office/drawing/2014/main" id="{968101B3-85B7-D5C7-C573-43F70EE1D179}"/>
                  </a:ext>
                </a:extLst>
              </p:cNvPr>
              <p:cNvSpPr/>
              <p:nvPr/>
            </p:nvSpPr>
            <p:spPr bwMode="gray">
              <a:xfrm>
                <a:off x="6123812"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5" name="Grafik 4039">
                <a:extLst>
                  <a:ext uri="{FF2B5EF4-FFF2-40B4-BE49-F238E27FC236}">
                    <a16:creationId xmlns:a16="http://schemas.microsoft.com/office/drawing/2014/main" id="{809727C5-301A-D1B1-D35A-255C1B3C1058}"/>
                  </a:ext>
                </a:extLst>
              </p:cNvPr>
              <p:cNvSpPr/>
              <p:nvPr/>
            </p:nvSpPr>
            <p:spPr bwMode="gray">
              <a:xfrm>
                <a:off x="6123836" y="3480458"/>
                <a:ext cx="68151" cy="41219"/>
              </a:xfrm>
              <a:custGeom>
                <a:avLst/>
                <a:gdLst>
                  <a:gd name="connsiteX0" fmla="*/ 34076 w 68151"/>
                  <a:gd name="connsiteY0" fmla="*/ 41219 h 41219"/>
                  <a:gd name="connsiteX1" fmla="*/ 29027 w 68151"/>
                  <a:gd name="connsiteY1" fmla="*/ 39124 h 41219"/>
                  <a:gd name="connsiteX2" fmla="*/ 2072 w 68151"/>
                  <a:gd name="connsiteY2" fmla="*/ 12168 h 41219"/>
                  <a:gd name="connsiteX3" fmla="*/ 2072 w 68151"/>
                  <a:gd name="connsiteY3" fmla="*/ 2072 h 41219"/>
                  <a:gd name="connsiteX4" fmla="*/ 12168 w 68151"/>
                  <a:gd name="connsiteY4" fmla="*/ 2072 h 41219"/>
                  <a:gd name="connsiteX5" fmla="*/ 34076 w 68151"/>
                  <a:gd name="connsiteY5" fmla="*/ 23979 h 41219"/>
                  <a:gd name="connsiteX6" fmla="*/ 55983 w 68151"/>
                  <a:gd name="connsiteY6" fmla="*/ 2072 h 41219"/>
                  <a:gd name="connsiteX7" fmla="*/ 66080 w 68151"/>
                  <a:gd name="connsiteY7" fmla="*/ 2072 h 41219"/>
                  <a:gd name="connsiteX8" fmla="*/ 66080 w 68151"/>
                  <a:gd name="connsiteY8" fmla="*/ 12168 h 41219"/>
                  <a:gd name="connsiteX9" fmla="*/ 39124 w 68151"/>
                  <a:gd name="connsiteY9" fmla="*/ 39124 h 41219"/>
                  <a:gd name="connsiteX10" fmla="*/ 34076 w 68151"/>
                  <a:gd name="connsiteY10"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51"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4076" y="23979"/>
                    </a:lnTo>
                    <a:lnTo>
                      <a:pt x="55983" y="2072"/>
                    </a:lnTo>
                    <a:cubicBezTo>
                      <a:pt x="58745" y="-691"/>
                      <a:pt x="63317" y="-691"/>
                      <a:pt x="66080" y="2072"/>
                    </a:cubicBezTo>
                    <a:cubicBezTo>
                      <a:pt x="68842" y="4834"/>
                      <a:pt x="68842" y="9406"/>
                      <a:pt x="66080" y="12168"/>
                    </a:cubicBezTo>
                    <a:lnTo>
                      <a:pt x="39124" y="39124"/>
                    </a:ln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grpSp>
        <p:nvGrpSpPr>
          <p:cNvPr id="625" name="Grafik 36">
            <a:extLst>
              <a:ext uri="{FF2B5EF4-FFF2-40B4-BE49-F238E27FC236}">
                <a16:creationId xmlns:a16="http://schemas.microsoft.com/office/drawing/2014/main" id="{0550848E-67F7-9315-6732-82271D77908A}"/>
              </a:ext>
            </a:extLst>
          </p:cNvPr>
          <p:cNvGrpSpPr/>
          <p:nvPr/>
        </p:nvGrpSpPr>
        <p:grpSpPr bwMode="gray">
          <a:xfrm>
            <a:off x="7536203" y="1869071"/>
            <a:ext cx="374400" cy="374400"/>
            <a:chOff x="5843587" y="3176587"/>
            <a:chExt cx="500253" cy="500253"/>
          </a:xfrm>
          <a:solidFill>
            <a:schemeClr val="tx1"/>
          </a:solidFill>
        </p:grpSpPr>
        <p:grpSp>
          <p:nvGrpSpPr>
            <p:cNvPr id="626" name="Grafik 36">
              <a:extLst>
                <a:ext uri="{FF2B5EF4-FFF2-40B4-BE49-F238E27FC236}">
                  <a16:creationId xmlns:a16="http://schemas.microsoft.com/office/drawing/2014/main" id="{7B61128F-E799-6E11-D61F-B523BBDD3BA2}"/>
                </a:ext>
              </a:extLst>
            </p:cNvPr>
            <p:cNvGrpSpPr/>
            <p:nvPr/>
          </p:nvGrpSpPr>
          <p:grpSpPr bwMode="gray">
            <a:xfrm>
              <a:off x="5843587" y="3176587"/>
              <a:ext cx="500253" cy="500253"/>
              <a:chOff x="5843587" y="3176587"/>
              <a:chExt cx="500253" cy="500253"/>
            </a:xfrm>
            <a:grpFill/>
          </p:grpSpPr>
          <p:sp>
            <p:nvSpPr>
              <p:cNvPr id="648" name="Grafik 36">
                <a:extLst>
                  <a:ext uri="{FF2B5EF4-FFF2-40B4-BE49-F238E27FC236}">
                    <a16:creationId xmlns:a16="http://schemas.microsoft.com/office/drawing/2014/main" id="{08999A8B-8CAD-FD5E-A6FE-B5711FCA05C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49" name="Grafik 36">
                <a:extLst>
                  <a:ext uri="{FF2B5EF4-FFF2-40B4-BE49-F238E27FC236}">
                    <a16:creationId xmlns:a16="http://schemas.microsoft.com/office/drawing/2014/main" id="{67FBE0C3-8083-DFF0-69F1-5B8D3A418F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50" name="Grafik 36">
                <a:extLst>
                  <a:ext uri="{FF2B5EF4-FFF2-40B4-BE49-F238E27FC236}">
                    <a16:creationId xmlns:a16="http://schemas.microsoft.com/office/drawing/2014/main" id="{72F8995B-F3E6-84A9-25CB-4624DB43859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1" name="Grafik 36">
                <a:extLst>
                  <a:ext uri="{FF2B5EF4-FFF2-40B4-BE49-F238E27FC236}">
                    <a16:creationId xmlns:a16="http://schemas.microsoft.com/office/drawing/2014/main" id="{96D503B4-A94D-3C4D-B64E-7F5A953CD6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2" name="Grafik 36">
                <a:extLst>
                  <a:ext uri="{FF2B5EF4-FFF2-40B4-BE49-F238E27FC236}">
                    <a16:creationId xmlns:a16="http://schemas.microsoft.com/office/drawing/2014/main" id="{25244F7A-3C38-D405-E7B1-0D5959B584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7" name="Grafik 36">
              <a:extLst>
                <a:ext uri="{FF2B5EF4-FFF2-40B4-BE49-F238E27FC236}">
                  <a16:creationId xmlns:a16="http://schemas.microsoft.com/office/drawing/2014/main" id="{234D9592-CCAF-857B-FB31-7C3DFB1A88AB}"/>
                </a:ext>
              </a:extLst>
            </p:cNvPr>
            <p:cNvGrpSpPr/>
            <p:nvPr/>
          </p:nvGrpSpPr>
          <p:grpSpPr bwMode="gray">
            <a:xfrm>
              <a:off x="5913264" y="3353610"/>
              <a:ext cx="296128" cy="211024"/>
              <a:chOff x="5913264" y="3353610"/>
              <a:chExt cx="296128" cy="211024"/>
            </a:xfrm>
            <a:grpFill/>
          </p:grpSpPr>
          <p:grpSp>
            <p:nvGrpSpPr>
              <p:cNvPr id="628" name="Grafik 36">
                <a:extLst>
                  <a:ext uri="{FF2B5EF4-FFF2-40B4-BE49-F238E27FC236}">
                    <a16:creationId xmlns:a16="http://schemas.microsoft.com/office/drawing/2014/main" id="{643D1C7B-FECA-0173-0BEF-AFD16CFCE84A}"/>
                  </a:ext>
                </a:extLst>
              </p:cNvPr>
              <p:cNvGrpSpPr/>
              <p:nvPr/>
            </p:nvGrpSpPr>
            <p:grpSpPr bwMode="gray">
              <a:xfrm>
                <a:off x="5913264" y="3353610"/>
                <a:ext cx="296128" cy="210929"/>
                <a:chOff x="5913264" y="3353610"/>
                <a:chExt cx="296128" cy="210929"/>
              </a:xfrm>
              <a:grpFill/>
            </p:grpSpPr>
            <p:grpSp>
              <p:nvGrpSpPr>
                <p:cNvPr id="639" name="Grafik 36">
                  <a:extLst>
                    <a:ext uri="{FF2B5EF4-FFF2-40B4-BE49-F238E27FC236}">
                      <a16:creationId xmlns:a16="http://schemas.microsoft.com/office/drawing/2014/main" id="{E6E96408-F423-A4AF-7DD1-867974A32A88}"/>
                    </a:ext>
                  </a:extLst>
                </p:cNvPr>
                <p:cNvGrpSpPr/>
                <p:nvPr/>
              </p:nvGrpSpPr>
              <p:grpSpPr bwMode="gray">
                <a:xfrm>
                  <a:off x="5913264" y="3353610"/>
                  <a:ext cx="95105" cy="68244"/>
                  <a:chOff x="5913264" y="3353610"/>
                  <a:chExt cx="95105" cy="68244"/>
                </a:xfrm>
                <a:grpFill/>
              </p:grpSpPr>
              <p:sp>
                <p:nvSpPr>
                  <p:cNvPr id="645" name="Grafik 36">
                    <a:extLst>
                      <a:ext uri="{FF2B5EF4-FFF2-40B4-BE49-F238E27FC236}">
                        <a16:creationId xmlns:a16="http://schemas.microsoft.com/office/drawing/2014/main" id="{D533C7A4-C458-4487-BDB0-488B856FEE8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46" name="Grafik 36">
                    <a:extLst>
                      <a:ext uri="{FF2B5EF4-FFF2-40B4-BE49-F238E27FC236}">
                        <a16:creationId xmlns:a16="http://schemas.microsoft.com/office/drawing/2014/main" id="{551C452F-4C12-674B-9557-07616DEB66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47" name="Grafik 36">
                    <a:extLst>
                      <a:ext uri="{FF2B5EF4-FFF2-40B4-BE49-F238E27FC236}">
                        <a16:creationId xmlns:a16="http://schemas.microsoft.com/office/drawing/2014/main" id="{31BA8B89-6F01-374B-277B-BD9940C2968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40" name="Grafik 36">
                  <a:extLst>
                    <a:ext uri="{FF2B5EF4-FFF2-40B4-BE49-F238E27FC236}">
                      <a16:creationId xmlns:a16="http://schemas.microsoft.com/office/drawing/2014/main" id="{13AD4FB4-C777-836D-3B2C-53312BCD6B7E}"/>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41" name="Grafik 36">
                  <a:extLst>
                    <a:ext uri="{FF2B5EF4-FFF2-40B4-BE49-F238E27FC236}">
                      <a16:creationId xmlns:a16="http://schemas.microsoft.com/office/drawing/2014/main" id="{7E182040-7299-34B3-817E-63397ABAF9FC}"/>
                    </a:ext>
                  </a:extLst>
                </p:cNvPr>
                <p:cNvGrpSpPr/>
                <p:nvPr/>
              </p:nvGrpSpPr>
              <p:grpSpPr bwMode="gray">
                <a:xfrm>
                  <a:off x="6114287" y="3496334"/>
                  <a:ext cx="95105" cy="68205"/>
                  <a:chOff x="6114287" y="3496334"/>
                  <a:chExt cx="95105" cy="68205"/>
                </a:xfrm>
                <a:grpFill/>
              </p:grpSpPr>
              <p:sp>
                <p:nvSpPr>
                  <p:cNvPr id="642" name="Grafik 36">
                    <a:extLst>
                      <a:ext uri="{FF2B5EF4-FFF2-40B4-BE49-F238E27FC236}">
                        <a16:creationId xmlns:a16="http://schemas.microsoft.com/office/drawing/2014/main" id="{8005361B-0D91-8F0C-AE45-43EEB77FB76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43" name="Grafik 36">
                    <a:extLst>
                      <a:ext uri="{FF2B5EF4-FFF2-40B4-BE49-F238E27FC236}">
                        <a16:creationId xmlns:a16="http://schemas.microsoft.com/office/drawing/2014/main" id="{2E007FF7-EF09-B7A4-2CB2-615FA5C3B238}"/>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44" name="Grafik 36">
                    <a:extLst>
                      <a:ext uri="{FF2B5EF4-FFF2-40B4-BE49-F238E27FC236}">
                        <a16:creationId xmlns:a16="http://schemas.microsoft.com/office/drawing/2014/main" id="{BD153695-F573-A553-FD1C-29701ED1A38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9" name="Grafik 36">
                <a:extLst>
                  <a:ext uri="{FF2B5EF4-FFF2-40B4-BE49-F238E27FC236}">
                    <a16:creationId xmlns:a16="http://schemas.microsoft.com/office/drawing/2014/main" id="{AB9D3A23-3EDF-AACC-D5F7-7DFB379B6B1C}"/>
                  </a:ext>
                </a:extLst>
              </p:cNvPr>
              <p:cNvGrpSpPr/>
              <p:nvPr/>
            </p:nvGrpSpPr>
            <p:grpSpPr bwMode="gray">
              <a:xfrm>
                <a:off x="5913264" y="3353650"/>
                <a:ext cx="296128" cy="210985"/>
                <a:chOff x="5913264" y="3353650"/>
                <a:chExt cx="296128" cy="210985"/>
              </a:xfrm>
              <a:grpFill/>
            </p:grpSpPr>
            <p:grpSp>
              <p:nvGrpSpPr>
                <p:cNvPr id="630" name="Grafik 36">
                  <a:extLst>
                    <a:ext uri="{FF2B5EF4-FFF2-40B4-BE49-F238E27FC236}">
                      <a16:creationId xmlns:a16="http://schemas.microsoft.com/office/drawing/2014/main" id="{72AA7BA2-14E7-A12B-1C62-4770DE5FE924}"/>
                    </a:ext>
                  </a:extLst>
                </p:cNvPr>
                <p:cNvGrpSpPr/>
                <p:nvPr/>
              </p:nvGrpSpPr>
              <p:grpSpPr bwMode="gray">
                <a:xfrm>
                  <a:off x="6114287" y="3353650"/>
                  <a:ext cx="95105" cy="68300"/>
                  <a:chOff x="6114287" y="3353650"/>
                  <a:chExt cx="95105" cy="68300"/>
                </a:xfrm>
                <a:grpFill/>
              </p:grpSpPr>
              <p:sp>
                <p:nvSpPr>
                  <p:cNvPr id="636" name="Grafik 36">
                    <a:extLst>
                      <a:ext uri="{FF2B5EF4-FFF2-40B4-BE49-F238E27FC236}">
                        <a16:creationId xmlns:a16="http://schemas.microsoft.com/office/drawing/2014/main" id="{AA7C7697-AFC7-C380-9B67-6D3BC85AF4D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C6602F-DB0B-001A-906B-E95B814DA74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8" name="Grafik 36">
                    <a:extLst>
                      <a:ext uri="{FF2B5EF4-FFF2-40B4-BE49-F238E27FC236}">
                        <a16:creationId xmlns:a16="http://schemas.microsoft.com/office/drawing/2014/main" id="{4B011580-63B6-4DF7-CD1C-4BD565444DB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31" name="Grafik 36">
                  <a:extLst>
                    <a:ext uri="{FF2B5EF4-FFF2-40B4-BE49-F238E27FC236}">
                      <a16:creationId xmlns:a16="http://schemas.microsoft.com/office/drawing/2014/main" id="{5C8C3C61-1CBC-399D-553F-655A5827F49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32" name="Grafik 36">
                  <a:extLst>
                    <a:ext uri="{FF2B5EF4-FFF2-40B4-BE49-F238E27FC236}">
                      <a16:creationId xmlns:a16="http://schemas.microsoft.com/office/drawing/2014/main" id="{F626FE28-B5BF-03FF-ED73-3E739C78157C}"/>
                    </a:ext>
                  </a:extLst>
                </p:cNvPr>
                <p:cNvGrpSpPr/>
                <p:nvPr/>
              </p:nvGrpSpPr>
              <p:grpSpPr bwMode="gray">
                <a:xfrm>
                  <a:off x="5913264" y="3496390"/>
                  <a:ext cx="95105" cy="68244"/>
                  <a:chOff x="5913264" y="3496390"/>
                  <a:chExt cx="95105" cy="68244"/>
                </a:xfrm>
                <a:grpFill/>
              </p:grpSpPr>
              <p:sp>
                <p:nvSpPr>
                  <p:cNvPr id="633" name="Grafik 36">
                    <a:extLst>
                      <a:ext uri="{FF2B5EF4-FFF2-40B4-BE49-F238E27FC236}">
                        <a16:creationId xmlns:a16="http://schemas.microsoft.com/office/drawing/2014/main" id="{C71AB9B4-FA91-7F3C-DC30-6C01E826237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E6E1E73A-3855-B630-3757-2CCF59F53D29}"/>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35" name="Grafik 36">
                    <a:extLst>
                      <a:ext uri="{FF2B5EF4-FFF2-40B4-BE49-F238E27FC236}">
                        <a16:creationId xmlns:a16="http://schemas.microsoft.com/office/drawing/2014/main" id="{32CA2001-B863-AD17-63FF-2BB281D9689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53" name="Grafik 3840">
            <a:extLst>
              <a:ext uri="{FF2B5EF4-FFF2-40B4-BE49-F238E27FC236}">
                <a16:creationId xmlns:a16="http://schemas.microsoft.com/office/drawing/2014/main" id="{0EBA1212-6A7F-DD21-9CF1-C64A8D51D3A0}"/>
              </a:ext>
            </a:extLst>
          </p:cNvPr>
          <p:cNvGrpSpPr/>
          <p:nvPr/>
        </p:nvGrpSpPr>
        <p:grpSpPr bwMode="gray">
          <a:xfrm>
            <a:off x="7536203" y="2404934"/>
            <a:ext cx="374400" cy="374400"/>
            <a:chOff x="5843587" y="3176587"/>
            <a:chExt cx="500253" cy="500253"/>
          </a:xfrm>
          <a:solidFill>
            <a:schemeClr val="tx1"/>
          </a:solidFill>
        </p:grpSpPr>
        <p:grpSp>
          <p:nvGrpSpPr>
            <p:cNvPr id="654" name="Grafik 3840">
              <a:extLst>
                <a:ext uri="{FF2B5EF4-FFF2-40B4-BE49-F238E27FC236}">
                  <a16:creationId xmlns:a16="http://schemas.microsoft.com/office/drawing/2014/main" id="{24790CE8-642A-CC60-28A4-2E3CC77E7ECB}"/>
                </a:ext>
              </a:extLst>
            </p:cNvPr>
            <p:cNvGrpSpPr/>
            <p:nvPr/>
          </p:nvGrpSpPr>
          <p:grpSpPr bwMode="gray">
            <a:xfrm>
              <a:off x="5843587" y="3176587"/>
              <a:ext cx="500253" cy="500253"/>
              <a:chOff x="5843587" y="3176587"/>
              <a:chExt cx="500253" cy="500253"/>
            </a:xfrm>
            <a:grpFill/>
          </p:grpSpPr>
          <p:grpSp>
            <p:nvGrpSpPr>
              <p:cNvPr id="676" name="Grafik 3840">
                <a:extLst>
                  <a:ext uri="{FF2B5EF4-FFF2-40B4-BE49-F238E27FC236}">
                    <a16:creationId xmlns:a16="http://schemas.microsoft.com/office/drawing/2014/main" id="{26762EB6-52CF-DF49-8BB8-4C2139DEB9C9}"/>
                  </a:ext>
                </a:extLst>
              </p:cNvPr>
              <p:cNvGrpSpPr/>
              <p:nvPr/>
            </p:nvGrpSpPr>
            <p:grpSpPr bwMode="gray">
              <a:xfrm>
                <a:off x="5951066" y="3230191"/>
                <a:ext cx="285352" cy="149944"/>
                <a:chOff x="5951066" y="3230191"/>
                <a:chExt cx="285352" cy="149944"/>
              </a:xfrm>
              <a:grpFill/>
            </p:grpSpPr>
            <p:grpSp>
              <p:nvGrpSpPr>
                <p:cNvPr id="679" name="Grafik 3840">
                  <a:extLst>
                    <a:ext uri="{FF2B5EF4-FFF2-40B4-BE49-F238E27FC236}">
                      <a16:creationId xmlns:a16="http://schemas.microsoft.com/office/drawing/2014/main" id="{5C5BFB57-482C-DF00-BF84-88F664920610}"/>
                    </a:ext>
                  </a:extLst>
                </p:cNvPr>
                <p:cNvGrpSpPr/>
                <p:nvPr/>
              </p:nvGrpSpPr>
              <p:grpSpPr bwMode="gray">
                <a:xfrm>
                  <a:off x="6118933" y="3230191"/>
                  <a:ext cx="117485" cy="65934"/>
                  <a:chOff x="6118933" y="3230191"/>
                  <a:chExt cx="117485" cy="65934"/>
                </a:xfrm>
                <a:grpFill/>
              </p:grpSpPr>
              <p:sp>
                <p:nvSpPr>
                  <p:cNvPr id="692" name="Grafik 3840">
                    <a:extLst>
                      <a:ext uri="{FF2B5EF4-FFF2-40B4-BE49-F238E27FC236}">
                        <a16:creationId xmlns:a16="http://schemas.microsoft.com/office/drawing/2014/main" id="{4D52C056-6DDE-3932-B565-7438AB20C819}"/>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693" name="Grafik 3840">
                    <a:extLst>
                      <a:ext uri="{FF2B5EF4-FFF2-40B4-BE49-F238E27FC236}">
                        <a16:creationId xmlns:a16="http://schemas.microsoft.com/office/drawing/2014/main" id="{C4B72DB1-3FBE-CB8A-D319-A717BCEA2A6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94" name="Grafik 3840">
                    <a:extLst>
                      <a:ext uri="{FF2B5EF4-FFF2-40B4-BE49-F238E27FC236}">
                        <a16:creationId xmlns:a16="http://schemas.microsoft.com/office/drawing/2014/main" id="{3802F1D2-0FE9-801C-3C54-0330E4B86A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80" name="Grafik 3840">
                  <a:extLst>
                    <a:ext uri="{FF2B5EF4-FFF2-40B4-BE49-F238E27FC236}">
                      <a16:creationId xmlns:a16="http://schemas.microsoft.com/office/drawing/2014/main" id="{D6B936C6-BE0D-A6AD-FEF9-E8BDDA48F3F9}"/>
                    </a:ext>
                  </a:extLst>
                </p:cNvPr>
                <p:cNvGrpSpPr/>
                <p:nvPr/>
              </p:nvGrpSpPr>
              <p:grpSpPr bwMode="gray">
                <a:xfrm>
                  <a:off x="5951103" y="3314202"/>
                  <a:ext cx="117485" cy="65934"/>
                  <a:chOff x="5951103" y="3314202"/>
                  <a:chExt cx="117485" cy="65934"/>
                </a:xfrm>
                <a:grpFill/>
              </p:grpSpPr>
              <p:sp>
                <p:nvSpPr>
                  <p:cNvPr id="689" name="Grafik 3840">
                    <a:extLst>
                      <a:ext uri="{FF2B5EF4-FFF2-40B4-BE49-F238E27FC236}">
                        <a16:creationId xmlns:a16="http://schemas.microsoft.com/office/drawing/2014/main" id="{E2C596ED-8715-4C1A-EA09-4858E1375407}"/>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690" name="Grafik 3840">
                    <a:extLst>
                      <a:ext uri="{FF2B5EF4-FFF2-40B4-BE49-F238E27FC236}">
                        <a16:creationId xmlns:a16="http://schemas.microsoft.com/office/drawing/2014/main" id="{555442CF-9F68-CD1E-2F1E-08B79DC33358}"/>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91" name="Grafik 3840">
                    <a:extLst>
                      <a:ext uri="{FF2B5EF4-FFF2-40B4-BE49-F238E27FC236}">
                        <a16:creationId xmlns:a16="http://schemas.microsoft.com/office/drawing/2014/main" id="{197C5B04-05FE-75FA-C2DA-3C2DCC3323D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81" name="Grafik 3840">
                  <a:extLst>
                    <a:ext uri="{FF2B5EF4-FFF2-40B4-BE49-F238E27FC236}">
                      <a16:creationId xmlns:a16="http://schemas.microsoft.com/office/drawing/2014/main" id="{08822363-F341-57EC-2416-542F29B6D55A}"/>
                    </a:ext>
                  </a:extLst>
                </p:cNvPr>
                <p:cNvGrpSpPr/>
                <p:nvPr/>
              </p:nvGrpSpPr>
              <p:grpSpPr bwMode="gray">
                <a:xfrm>
                  <a:off x="6118954" y="3314261"/>
                  <a:ext cx="117405" cy="65875"/>
                  <a:chOff x="6118954" y="3314261"/>
                  <a:chExt cx="117405" cy="65875"/>
                </a:xfrm>
                <a:grpFill/>
              </p:grpSpPr>
              <p:sp>
                <p:nvSpPr>
                  <p:cNvPr id="686" name="Grafik 3840">
                    <a:extLst>
                      <a:ext uri="{FF2B5EF4-FFF2-40B4-BE49-F238E27FC236}">
                        <a16:creationId xmlns:a16="http://schemas.microsoft.com/office/drawing/2014/main" id="{800C3C2C-1E61-DD8B-376E-A06678FEF458}"/>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87" name="Grafik 3840">
                    <a:extLst>
                      <a:ext uri="{FF2B5EF4-FFF2-40B4-BE49-F238E27FC236}">
                        <a16:creationId xmlns:a16="http://schemas.microsoft.com/office/drawing/2014/main" id="{16D23C82-3D59-9666-348B-17E2F107227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88" name="Grafik 3840">
                    <a:extLst>
                      <a:ext uri="{FF2B5EF4-FFF2-40B4-BE49-F238E27FC236}">
                        <a16:creationId xmlns:a16="http://schemas.microsoft.com/office/drawing/2014/main" id="{971FE4E5-7DB8-74F9-F664-9DE7E496EA3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82" name="Grafik 3840">
                  <a:extLst>
                    <a:ext uri="{FF2B5EF4-FFF2-40B4-BE49-F238E27FC236}">
                      <a16:creationId xmlns:a16="http://schemas.microsoft.com/office/drawing/2014/main" id="{FE7AF861-F0C3-662C-2138-1DE9A2494759}"/>
                    </a:ext>
                  </a:extLst>
                </p:cNvPr>
                <p:cNvGrpSpPr/>
                <p:nvPr/>
              </p:nvGrpSpPr>
              <p:grpSpPr bwMode="gray">
                <a:xfrm>
                  <a:off x="5951066" y="3230345"/>
                  <a:ext cx="117405" cy="65779"/>
                  <a:chOff x="5951066" y="3230345"/>
                  <a:chExt cx="117405" cy="65779"/>
                </a:xfrm>
                <a:grpFill/>
              </p:grpSpPr>
              <p:sp>
                <p:nvSpPr>
                  <p:cNvPr id="683" name="Grafik 3840">
                    <a:extLst>
                      <a:ext uri="{FF2B5EF4-FFF2-40B4-BE49-F238E27FC236}">
                        <a16:creationId xmlns:a16="http://schemas.microsoft.com/office/drawing/2014/main" id="{2F0EA2D3-4E40-FD1F-D36A-848E9E8F1A5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84" name="Grafik 3840">
                    <a:extLst>
                      <a:ext uri="{FF2B5EF4-FFF2-40B4-BE49-F238E27FC236}">
                        <a16:creationId xmlns:a16="http://schemas.microsoft.com/office/drawing/2014/main" id="{FFB617D0-0785-1E71-CF9D-5EDEB5C9726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85" name="Grafik 3840">
                    <a:extLst>
                      <a:ext uri="{FF2B5EF4-FFF2-40B4-BE49-F238E27FC236}">
                        <a16:creationId xmlns:a16="http://schemas.microsoft.com/office/drawing/2014/main" id="{63643303-27CF-2C45-DD2E-B39A41323EEB}"/>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77" name="Grafik 3840">
                <a:extLst>
                  <a:ext uri="{FF2B5EF4-FFF2-40B4-BE49-F238E27FC236}">
                    <a16:creationId xmlns:a16="http://schemas.microsoft.com/office/drawing/2014/main" id="{13876F0B-5F1B-2C3B-6CFF-6813176E6248}"/>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78" name="Grafik 3840">
                <a:extLst>
                  <a:ext uri="{FF2B5EF4-FFF2-40B4-BE49-F238E27FC236}">
                    <a16:creationId xmlns:a16="http://schemas.microsoft.com/office/drawing/2014/main" id="{9E8A5E62-B192-29F9-7B56-77BA93AFB5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55" name="Grafik 3840">
              <a:extLst>
                <a:ext uri="{FF2B5EF4-FFF2-40B4-BE49-F238E27FC236}">
                  <a16:creationId xmlns:a16="http://schemas.microsoft.com/office/drawing/2014/main" id="{4819AD61-E0F3-EFA1-FC48-43EE5DBD4202}"/>
                </a:ext>
              </a:extLst>
            </p:cNvPr>
            <p:cNvGrpSpPr/>
            <p:nvPr/>
          </p:nvGrpSpPr>
          <p:grpSpPr bwMode="gray">
            <a:xfrm>
              <a:off x="5993504" y="3470863"/>
              <a:ext cx="215412" cy="154636"/>
              <a:chOff x="5993504" y="3470863"/>
              <a:chExt cx="215412" cy="154636"/>
            </a:xfrm>
            <a:grpFill/>
          </p:grpSpPr>
          <p:grpSp>
            <p:nvGrpSpPr>
              <p:cNvPr id="656" name="Grafik 3840">
                <a:extLst>
                  <a:ext uri="{FF2B5EF4-FFF2-40B4-BE49-F238E27FC236}">
                    <a16:creationId xmlns:a16="http://schemas.microsoft.com/office/drawing/2014/main" id="{8DA5EA84-8ECA-2EFB-1740-E533F0BA3871}"/>
                  </a:ext>
                </a:extLst>
              </p:cNvPr>
              <p:cNvGrpSpPr/>
              <p:nvPr/>
            </p:nvGrpSpPr>
            <p:grpSpPr bwMode="gray">
              <a:xfrm>
                <a:off x="5993504" y="3470863"/>
                <a:ext cx="215412" cy="154636"/>
                <a:chOff x="5993504" y="3470863"/>
                <a:chExt cx="215412" cy="154636"/>
              </a:xfrm>
              <a:grpFill/>
            </p:grpSpPr>
            <p:grpSp>
              <p:nvGrpSpPr>
                <p:cNvPr id="667" name="Grafik 3840">
                  <a:extLst>
                    <a:ext uri="{FF2B5EF4-FFF2-40B4-BE49-F238E27FC236}">
                      <a16:creationId xmlns:a16="http://schemas.microsoft.com/office/drawing/2014/main" id="{89232F77-2175-9E74-C06A-FA4859992091}"/>
                    </a:ext>
                  </a:extLst>
                </p:cNvPr>
                <p:cNvGrpSpPr/>
                <p:nvPr/>
              </p:nvGrpSpPr>
              <p:grpSpPr bwMode="gray">
                <a:xfrm>
                  <a:off x="5993504" y="3470863"/>
                  <a:ext cx="72015" cy="52814"/>
                  <a:chOff x="5993504" y="3470863"/>
                  <a:chExt cx="72015" cy="52814"/>
                </a:xfrm>
                <a:grpFill/>
              </p:grpSpPr>
              <p:sp>
                <p:nvSpPr>
                  <p:cNvPr id="673" name="Grafik 3840">
                    <a:extLst>
                      <a:ext uri="{FF2B5EF4-FFF2-40B4-BE49-F238E27FC236}">
                        <a16:creationId xmlns:a16="http://schemas.microsoft.com/office/drawing/2014/main" id="{85C4FEDF-870B-1652-3EC8-937DB4303C2B}"/>
                      </a:ext>
                    </a:extLst>
                  </p:cNvPr>
                  <p:cNvSpPr/>
                  <p:nvPr/>
                </p:nvSpPr>
                <p:spPr bwMode="gray">
                  <a:xfrm>
                    <a:off x="5993605" y="3490149"/>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74" name="Grafik 3840">
                    <a:extLst>
                      <a:ext uri="{FF2B5EF4-FFF2-40B4-BE49-F238E27FC236}">
                        <a16:creationId xmlns:a16="http://schemas.microsoft.com/office/drawing/2014/main" id="{521CB436-AB5F-68D0-2413-395E4C8C36B0}"/>
                      </a:ext>
                    </a:extLst>
                  </p:cNvPr>
                  <p:cNvSpPr/>
                  <p:nvPr/>
                </p:nvSpPr>
                <p:spPr bwMode="gray">
                  <a:xfrm>
                    <a:off x="5993559" y="3470863"/>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sp>
                <p:nvSpPr>
                  <p:cNvPr id="675" name="Grafik 3840">
                    <a:extLst>
                      <a:ext uri="{FF2B5EF4-FFF2-40B4-BE49-F238E27FC236}">
                        <a16:creationId xmlns:a16="http://schemas.microsoft.com/office/drawing/2014/main" id="{5A060707-6FC4-DA8B-3129-3F6FE9309A90}"/>
                      </a:ext>
                    </a:extLst>
                  </p:cNvPr>
                  <p:cNvSpPr/>
                  <p:nvPr/>
                </p:nvSpPr>
                <p:spPr bwMode="gray">
                  <a:xfrm>
                    <a:off x="5993504" y="3490143"/>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grpSp>
            <p:sp>
              <p:nvSpPr>
                <p:cNvPr id="668" name="Grafik 3840">
                  <a:extLst>
                    <a:ext uri="{FF2B5EF4-FFF2-40B4-BE49-F238E27FC236}">
                      <a16:creationId xmlns:a16="http://schemas.microsoft.com/office/drawing/2014/main" id="{3A825E02-8D0F-A488-76AE-FB0BF5A5236C}"/>
                    </a:ext>
                  </a:extLst>
                </p:cNvPr>
                <p:cNvSpPr/>
                <p:nvPr/>
              </p:nvSpPr>
              <p:spPr bwMode="gray">
                <a:xfrm>
                  <a:off x="6051416" y="3490143"/>
                  <a:ext cx="97739" cy="116020"/>
                </a:xfrm>
                <a:custGeom>
                  <a:avLst/>
                  <a:gdLst>
                    <a:gd name="connsiteX0" fmla="*/ 90589 w 97739"/>
                    <a:gd name="connsiteY0" fmla="*/ 116021 h 116020"/>
                    <a:gd name="connsiteX1" fmla="*/ 85065 w 97739"/>
                    <a:gd name="connsiteY1" fmla="*/ 113449 h 116020"/>
                    <a:gd name="connsiteX2" fmla="*/ 1626 w 97739"/>
                    <a:gd name="connsiteY2" fmla="*/ 11722 h 116020"/>
                    <a:gd name="connsiteX3" fmla="*/ 2578 w 97739"/>
                    <a:gd name="connsiteY3" fmla="*/ 1626 h 116020"/>
                    <a:gd name="connsiteX4" fmla="*/ 12675 w 97739"/>
                    <a:gd name="connsiteY4" fmla="*/ 2578 h 116020"/>
                    <a:gd name="connsiteX5" fmla="*/ 96114 w 97739"/>
                    <a:gd name="connsiteY5" fmla="*/ 104305 h 116020"/>
                    <a:gd name="connsiteX6" fmla="*/ 95161 w 97739"/>
                    <a:gd name="connsiteY6" fmla="*/ 114402 h 116020"/>
                    <a:gd name="connsiteX7" fmla="*/ 90589 w 97739"/>
                    <a:gd name="connsiteY7" fmla="*/ 116021 h 11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39" h="116020">
                      <a:moveTo>
                        <a:pt x="90589" y="116021"/>
                      </a:moveTo>
                      <a:cubicBezTo>
                        <a:pt x="88494" y="116021"/>
                        <a:pt x="86493" y="115164"/>
                        <a:pt x="85065" y="113449"/>
                      </a:cubicBezTo>
                      <a:lnTo>
                        <a:pt x="1626" y="11722"/>
                      </a:lnTo>
                      <a:cubicBezTo>
                        <a:pt x="-851" y="8674"/>
                        <a:pt x="-470" y="4197"/>
                        <a:pt x="2578" y="1626"/>
                      </a:cubicBezTo>
                      <a:cubicBezTo>
                        <a:pt x="5626" y="-851"/>
                        <a:pt x="10103" y="-470"/>
                        <a:pt x="12675" y="2578"/>
                      </a:cubicBezTo>
                      <a:lnTo>
                        <a:pt x="96114" y="104305"/>
                      </a:lnTo>
                      <a:cubicBezTo>
                        <a:pt x="98590" y="107353"/>
                        <a:pt x="98209" y="111830"/>
                        <a:pt x="95161" y="114402"/>
                      </a:cubicBezTo>
                      <a:cubicBezTo>
                        <a:pt x="93828" y="115449"/>
                        <a:pt x="92208" y="116021"/>
                        <a:pt x="90589" y="116021"/>
                      </a:cubicBezTo>
                      <a:close/>
                    </a:path>
                  </a:pathLst>
                </a:custGeom>
                <a:grpFill/>
                <a:ln w="9525" cap="flat">
                  <a:noFill/>
                  <a:prstDash val="solid"/>
                  <a:miter/>
                </a:ln>
              </p:spPr>
              <p:txBody>
                <a:bodyPr rtlCol="0" anchor="ctr"/>
                <a:lstStyle/>
                <a:p>
                  <a:endParaRPr lang="de-DE"/>
                </a:p>
              </p:txBody>
            </p:sp>
            <p:grpSp>
              <p:nvGrpSpPr>
                <p:cNvPr id="669" name="Grafik 3840">
                  <a:extLst>
                    <a:ext uri="{FF2B5EF4-FFF2-40B4-BE49-F238E27FC236}">
                      <a16:creationId xmlns:a16="http://schemas.microsoft.com/office/drawing/2014/main" id="{E8DD4E0F-605E-8A72-49E8-6A136EA59613}"/>
                    </a:ext>
                  </a:extLst>
                </p:cNvPr>
                <p:cNvGrpSpPr/>
                <p:nvPr/>
              </p:nvGrpSpPr>
              <p:grpSpPr bwMode="gray">
                <a:xfrm>
                  <a:off x="6136861" y="3572725"/>
                  <a:ext cx="72054" cy="52774"/>
                  <a:chOff x="6136861" y="3572725"/>
                  <a:chExt cx="72054" cy="52774"/>
                </a:xfrm>
                <a:grpFill/>
              </p:grpSpPr>
              <p:sp>
                <p:nvSpPr>
                  <p:cNvPr id="670" name="Grafik 3840">
                    <a:extLst>
                      <a:ext uri="{FF2B5EF4-FFF2-40B4-BE49-F238E27FC236}">
                        <a16:creationId xmlns:a16="http://schemas.microsoft.com/office/drawing/2014/main" id="{AB327FE7-CF8A-5E14-F878-67B78FD71C56}"/>
                      </a:ext>
                    </a:extLst>
                  </p:cNvPr>
                  <p:cNvSpPr/>
                  <p:nvPr/>
                </p:nvSpPr>
                <p:spPr bwMode="gray">
                  <a:xfrm>
                    <a:off x="6136861" y="3591972"/>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71" name="Grafik 3840">
                    <a:extLst>
                      <a:ext uri="{FF2B5EF4-FFF2-40B4-BE49-F238E27FC236}">
                        <a16:creationId xmlns:a16="http://schemas.microsoft.com/office/drawing/2014/main" id="{7296E82E-C989-8A65-B843-771CEF02CDA1}"/>
                      </a:ext>
                    </a:extLst>
                  </p:cNvPr>
                  <p:cNvSpPr/>
                  <p:nvPr/>
                </p:nvSpPr>
                <p:spPr bwMode="gray">
                  <a:xfrm>
                    <a:off x="6178670" y="357272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72" name="Grafik 3840">
                    <a:extLst>
                      <a:ext uri="{FF2B5EF4-FFF2-40B4-BE49-F238E27FC236}">
                        <a16:creationId xmlns:a16="http://schemas.microsoft.com/office/drawing/2014/main" id="{7184661F-8C98-1DD5-1A46-010F3E4EB603}"/>
                      </a:ext>
                    </a:extLst>
                  </p:cNvPr>
                  <p:cNvSpPr/>
                  <p:nvPr/>
                </p:nvSpPr>
                <p:spPr bwMode="gray">
                  <a:xfrm>
                    <a:off x="6178725" y="3591926"/>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grpSp>
          </p:grpSp>
          <p:grpSp>
            <p:nvGrpSpPr>
              <p:cNvPr id="657" name="Grafik 3840">
                <a:extLst>
                  <a:ext uri="{FF2B5EF4-FFF2-40B4-BE49-F238E27FC236}">
                    <a16:creationId xmlns:a16="http://schemas.microsoft.com/office/drawing/2014/main" id="{90B97041-80E0-C3C5-AED4-C356DD5D7252}"/>
                  </a:ext>
                </a:extLst>
              </p:cNvPr>
              <p:cNvGrpSpPr/>
              <p:nvPr/>
            </p:nvGrpSpPr>
            <p:grpSpPr bwMode="gray">
              <a:xfrm>
                <a:off x="5993504" y="3470998"/>
                <a:ext cx="215412" cy="154501"/>
                <a:chOff x="5993504" y="3470998"/>
                <a:chExt cx="215412" cy="154501"/>
              </a:xfrm>
              <a:grpFill/>
            </p:grpSpPr>
            <p:grpSp>
              <p:nvGrpSpPr>
                <p:cNvPr id="658" name="Grafik 3840">
                  <a:extLst>
                    <a:ext uri="{FF2B5EF4-FFF2-40B4-BE49-F238E27FC236}">
                      <a16:creationId xmlns:a16="http://schemas.microsoft.com/office/drawing/2014/main" id="{7A6EE54F-30DA-7E36-748A-D2FCB758238A}"/>
                    </a:ext>
                  </a:extLst>
                </p:cNvPr>
                <p:cNvGrpSpPr/>
                <p:nvPr/>
              </p:nvGrpSpPr>
              <p:grpSpPr bwMode="gray">
                <a:xfrm>
                  <a:off x="6136861" y="3470998"/>
                  <a:ext cx="72054" cy="52774"/>
                  <a:chOff x="6136861" y="3470998"/>
                  <a:chExt cx="72054" cy="52774"/>
                </a:xfrm>
                <a:grpFill/>
              </p:grpSpPr>
              <p:sp>
                <p:nvSpPr>
                  <p:cNvPr id="664" name="Grafik 3840">
                    <a:extLst>
                      <a:ext uri="{FF2B5EF4-FFF2-40B4-BE49-F238E27FC236}">
                        <a16:creationId xmlns:a16="http://schemas.microsoft.com/office/drawing/2014/main" id="{EB7CFF03-2475-F9A4-450B-8575124B89B3}"/>
                      </a:ext>
                    </a:extLst>
                  </p:cNvPr>
                  <p:cNvSpPr/>
                  <p:nvPr/>
                </p:nvSpPr>
                <p:spPr bwMode="gray">
                  <a:xfrm>
                    <a:off x="6136861" y="3490245"/>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65" name="Grafik 3840">
                    <a:extLst>
                      <a:ext uri="{FF2B5EF4-FFF2-40B4-BE49-F238E27FC236}">
                        <a16:creationId xmlns:a16="http://schemas.microsoft.com/office/drawing/2014/main" id="{E2A5311A-9CC5-DD63-0CF5-24032B31FA65}"/>
                      </a:ext>
                    </a:extLst>
                  </p:cNvPr>
                  <p:cNvSpPr/>
                  <p:nvPr/>
                </p:nvSpPr>
                <p:spPr bwMode="gray">
                  <a:xfrm>
                    <a:off x="6178670" y="3470998"/>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66" name="Grafik 3840">
                    <a:extLst>
                      <a:ext uri="{FF2B5EF4-FFF2-40B4-BE49-F238E27FC236}">
                        <a16:creationId xmlns:a16="http://schemas.microsoft.com/office/drawing/2014/main" id="{34E6C229-E6E1-D325-5FC0-231E6114586B}"/>
                      </a:ext>
                    </a:extLst>
                  </p:cNvPr>
                  <p:cNvSpPr/>
                  <p:nvPr/>
                </p:nvSpPr>
                <p:spPr bwMode="gray">
                  <a:xfrm>
                    <a:off x="6178725" y="3490199"/>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grpSp>
            <p:sp>
              <p:nvSpPr>
                <p:cNvPr id="659" name="Grafik 3840">
                  <a:extLst>
                    <a:ext uri="{FF2B5EF4-FFF2-40B4-BE49-F238E27FC236}">
                      <a16:creationId xmlns:a16="http://schemas.microsoft.com/office/drawing/2014/main" id="{267E019D-F23E-178F-6FB4-42040BFAF860}"/>
                    </a:ext>
                  </a:extLst>
                </p:cNvPr>
                <p:cNvSpPr/>
                <p:nvPr/>
              </p:nvSpPr>
              <p:spPr bwMode="gray">
                <a:xfrm>
                  <a:off x="6053186" y="3490199"/>
                  <a:ext cx="97818" cy="116060"/>
                </a:xfrm>
                <a:custGeom>
                  <a:avLst/>
                  <a:gdLst>
                    <a:gd name="connsiteX0" fmla="*/ 7190 w 97818"/>
                    <a:gd name="connsiteY0" fmla="*/ 116060 h 116060"/>
                    <a:gd name="connsiteX1" fmla="*/ 2618 w 97818"/>
                    <a:gd name="connsiteY1" fmla="*/ 114441 h 116060"/>
                    <a:gd name="connsiteX2" fmla="*/ 1665 w 97818"/>
                    <a:gd name="connsiteY2" fmla="*/ 104345 h 116060"/>
                    <a:gd name="connsiteX3" fmla="*/ 85104 w 97818"/>
                    <a:gd name="connsiteY3" fmla="*/ 2618 h 116060"/>
                    <a:gd name="connsiteX4" fmla="*/ 95201 w 97818"/>
                    <a:gd name="connsiteY4" fmla="*/ 1665 h 116060"/>
                    <a:gd name="connsiteX5" fmla="*/ 96153 w 97818"/>
                    <a:gd name="connsiteY5" fmla="*/ 11762 h 116060"/>
                    <a:gd name="connsiteX6" fmla="*/ 12714 w 97818"/>
                    <a:gd name="connsiteY6" fmla="*/ 113489 h 116060"/>
                    <a:gd name="connsiteX7" fmla="*/ 7190 w 97818"/>
                    <a:gd name="connsiteY7" fmla="*/ 116060 h 11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18" h="116060">
                      <a:moveTo>
                        <a:pt x="7190" y="116060"/>
                      </a:moveTo>
                      <a:cubicBezTo>
                        <a:pt x="5570" y="116060"/>
                        <a:pt x="3951" y="115489"/>
                        <a:pt x="2618" y="114441"/>
                      </a:cubicBezTo>
                      <a:cubicBezTo>
                        <a:pt x="-430" y="111965"/>
                        <a:pt x="-907" y="107393"/>
                        <a:pt x="1665" y="104345"/>
                      </a:cubicBezTo>
                      <a:lnTo>
                        <a:pt x="85104" y="2618"/>
                      </a:lnTo>
                      <a:cubicBezTo>
                        <a:pt x="87581" y="-430"/>
                        <a:pt x="92153" y="-907"/>
                        <a:pt x="95201" y="1665"/>
                      </a:cubicBezTo>
                      <a:cubicBezTo>
                        <a:pt x="98249" y="4142"/>
                        <a:pt x="98725" y="8714"/>
                        <a:pt x="96153" y="11762"/>
                      </a:cubicBezTo>
                      <a:lnTo>
                        <a:pt x="12714" y="113489"/>
                      </a:lnTo>
                      <a:cubicBezTo>
                        <a:pt x="11285" y="115108"/>
                        <a:pt x="9285" y="116060"/>
                        <a:pt x="7190" y="116060"/>
                      </a:cubicBezTo>
                      <a:close/>
                    </a:path>
                  </a:pathLst>
                </a:custGeom>
                <a:grpFill/>
                <a:ln w="9525" cap="flat">
                  <a:noFill/>
                  <a:prstDash val="solid"/>
                  <a:miter/>
                </a:ln>
              </p:spPr>
              <p:txBody>
                <a:bodyPr rtlCol="0" anchor="ctr"/>
                <a:lstStyle/>
                <a:p>
                  <a:endParaRPr lang="de-DE"/>
                </a:p>
              </p:txBody>
            </p:sp>
            <p:grpSp>
              <p:nvGrpSpPr>
                <p:cNvPr id="660" name="Grafik 3840">
                  <a:extLst>
                    <a:ext uri="{FF2B5EF4-FFF2-40B4-BE49-F238E27FC236}">
                      <a16:creationId xmlns:a16="http://schemas.microsoft.com/office/drawing/2014/main" id="{F2A37EAD-407A-675C-2040-D6B073C70BEF}"/>
                    </a:ext>
                  </a:extLst>
                </p:cNvPr>
                <p:cNvGrpSpPr/>
                <p:nvPr/>
              </p:nvGrpSpPr>
              <p:grpSpPr bwMode="gray">
                <a:xfrm>
                  <a:off x="5993504" y="3572781"/>
                  <a:ext cx="72015" cy="52719"/>
                  <a:chOff x="5993504" y="3572781"/>
                  <a:chExt cx="72015" cy="52719"/>
                </a:xfrm>
                <a:grpFill/>
              </p:grpSpPr>
              <p:sp>
                <p:nvSpPr>
                  <p:cNvPr id="661" name="Grafik 3840">
                    <a:extLst>
                      <a:ext uri="{FF2B5EF4-FFF2-40B4-BE49-F238E27FC236}">
                        <a16:creationId xmlns:a16="http://schemas.microsoft.com/office/drawing/2014/main" id="{31010B6B-EFB8-381A-41F5-05CD82616D89}"/>
                      </a:ext>
                    </a:extLst>
                  </p:cNvPr>
                  <p:cNvSpPr/>
                  <p:nvPr/>
                </p:nvSpPr>
                <p:spPr bwMode="gray">
                  <a:xfrm>
                    <a:off x="5993605" y="3592067"/>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62" name="Grafik 3840">
                    <a:extLst>
                      <a:ext uri="{FF2B5EF4-FFF2-40B4-BE49-F238E27FC236}">
                        <a16:creationId xmlns:a16="http://schemas.microsoft.com/office/drawing/2014/main" id="{E7B2CF1A-5F92-3F45-83AC-943990391879}"/>
                      </a:ext>
                    </a:extLst>
                  </p:cNvPr>
                  <p:cNvSpPr/>
                  <p:nvPr/>
                </p:nvSpPr>
                <p:spPr bwMode="gray">
                  <a:xfrm>
                    <a:off x="5993559" y="3572781"/>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sp>
                <p:nvSpPr>
                  <p:cNvPr id="663" name="Grafik 3840">
                    <a:extLst>
                      <a:ext uri="{FF2B5EF4-FFF2-40B4-BE49-F238E27FC236}">
                        <a16:creationId xmlns:a16="http://schemas.microsoft.com/office/drawing/2014/main" id="{9167499E-91ED-1FA8-347A-D87F922D5A0A}"/>
                      </a:ext>
                    </a:extLst>
                  </p:cNvPr>
                  <p:cNvSpPr/>
                  <p:nvPr/>
                </p:nvSpPr>
                <p:spPr bwMode="gray">
                  <a:xfrm>
                    <a:off x="5993504" y="359196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3058"/>
                          <a:pt x="24581" y="33534"/>
                          <a:pt x="22962" y="33534"/>
                        </a:cubicBezTo>
                        <a:close/>
                      </a:path>
                    </a:pathLst>
                  </a:custGeom>
                  <a:grpFill/>
                  <a:ln w="9525" cap="flat">
                    <a:noFill/>
                    <a:prstDash val="solid"/>
                    <a:miter/>
                  </a:ln>
                </p:spPr>
                <p:txBody>
                  <a:bodyPr rtlCol="0" anchor="ctr"/>
                  <a:lstStyle/>
                  <a:p>
                    <a:endParaRPr lang="de-DE"/>
                  </a:p>
                </p:txBody>
              </p:sp>
            </p:grpSp>
          </p:grpSp>
        </p:grpSp>
      </p:grpSp>
      <p:grpSp>
        <p:nvGrpSpPr>
          <p:cNvPr id="695" name="Grafik 3842">
            <a:extLst>
              <a:ext uri="{FF2B5EF4-FFF2-40B4-BE49-F238E27FC236}">
                <a16:creationId xmlns:a16="http://schemas.microsoft.com/office/drawing/2014/main" id="{24C0816A-AA1A-55B8-57A0-D9E3D39F13E5}"/>
              </a:ext>
            </a:extLst>
          </p:cNvPr>
          <p:cNvGrpSpPr/>
          <p:nvPr/>
        </p:nvGrpSpPr>
        <p:grpSpPr bwMode="gray">
          <a:xfrm>
            <a:off x="7536203" y="2940797"/>
            <a:ext cx="374400" cy="374400"/>
            <a:chOff x="5843587" y="3176587"/>
            <a:chExt cx="500253" cy="500253"/>
          </a:xfrm>
          <a:solidFill>
            <a:schemeClr val="tx1"/>
          </a:solidFill>
        </p:grpSpPr>
        <p:grpSp>
          <p:nvGrpSpPr>
            <p:cNvPr id="696" name="Grafik 3842">
              <a:extLst>
                <a:ext uri="{FF2B5EF4-FFF2-40B4-BE49-F238E27FC236}">
                  <a16:creationId xmlns:a16="http://schemas.microsoft.com/office/drawing/2014/main" id="{54E32A97-F1F2-7809-E06C-5D6259E543C6}"/>
                </a:ext>
              </a:extLst>
            </p:cNvPr>
            <p:cNvGrpSpPr/>
            <p:nvPr/>
          </p:nvGrpSpPr>
          <p:grpSpPr bwMode="gray">
            <a:xfrm>
              <a:off x="5925025" y="3348513"/>
              <a:ext cx="272712" cy="221170"/>
              <a:chOff x="5925025" y="3348513"/>
              <a:chExt cx="272712" cy="221170"/>
            </a:xfrm>
            <a:grpFill/>
          </p:grpSpPr>
          <p:grpSp>
            <p:nvGrpSpPr>
              <p:cNvPr id="703" name="Grafik 3842">
                <a:extLst>
                  <a:ext uri="{FF2B5EF4-FFF2-40B4-BE49-F238E27FC236}">
                    <a16:creationId xmlns:a16="http://schemas.microsoft.com/office/drawing/2014/main" id="{29FB3E75-6162-C74A-36CC-CABDF886CC38}"/>
                  </a:ext>
                </a:extLst>
              </p:cNvPr>
              <p:cNvGrpSpPr/>
              <p:nvPr/>
            </p:nvGrpSpPr>
            <p:grpSpPr bwMode="gray">
              <a:xfrm>
                <a:off x="5925025" y="3425207"/>
                <a:ext cx="265157" cy="69133"/>
                <a:chOff x="5925025" y="3425207"/>
                <a:chExt cx="265157" cy="69133"/>
              </a:xfrm>
              <a:grpFill/>
            </p:grpSpPr>
            <p:sp>
              <p:nvSpPr>
                <p:cNvPr id="714" name="Grafik 3842">
                  <a:extLst>
                    <a:ext uri="{FF2B5EF4-FFF2-40B4-BE49-F238E27FC236}">
                      <a16:creationId xmlns:a16="http://schemas.microsoft.com/office/drawing/2014/main" id="{4D6D5657-D46D-3325-B0C8-34D55D8551E6}"/>
                    </a:ext>
                  </a:extLst>
                </p:cNvPr>
                <p:cNvSpPr/>
                <p:nvPr/>
              </p:nvSpPr>
              <p:spPr bwMode="gray">
                <a:xfrm>
                  <a:off x="5925025" y="3452621"/>
                  <a:ext cx="251174" cy="14287"/>
                </a:xfrm>
                <a:custGeom>
                  <a:avLst/>
                  <a:gdLst>
                    <a:gd name="connsiteX0" fmla="*/ 244030 w 251174"/>
                    <a:gd name="connsiteY0" fmla="*/ 14288 h 14287"/>
                    <a:gd name="connsiteX1" fmla="*/ 7144 w 251174"/>
                    <a:gd name="connsiteY1" fmla="*/ 14288 h 14287"/>
                    <a:gd name="connsiteX2" fmla="*/ 0 w 251174"/>
                    <a:gd name="connsiteY2" fmla="*/ 7144 h 14287"/>
                    <a:gd name="connsiteX3" fmla="*/ 7144 w 251174"/>
                    <a:gd name="connsiteY3" fmla="*/ 0 h 14287"/>
                    <a:gd name="connsiteX4" fmla="*/ 244030 w 251174"/>
                    <a:gd name="connsiteY4" fmla="*/ 0 h 14287"/>
                    <a:gd name="connsiteX5" fmla="*/ 251174 w 251174"/>
                    <a:gd name="connsiteY5" fmla="*/ 7144 h 14287"/>
                    <a:gd name="connsiteX6" fmla="*/ 244030 w 25117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174" h="14287">
                      <a:moveTo>
                        <a:pt x="244030" y="14288"/>
                      </a:moveTo>
                      <a:lnTo>
                        <a:pt x="7144" y="14288"/>
                      </a:lnTo>
                      <a:cubicBezTo>
                        <a:pt x="3239" y="14288"/>
                        <a:pt x="0" y="11049"/>
                        <a:pt x="0" y="7144"/>
                      </a:cubicBezTo>
                      <a:cubicBezTo>
                        <a:pt x="0" y="3239"/>
                        <a:pt x="3239" y="0"/>
                        <a:pt x="7144" y="0"/>
                      </a:cubicBezTo>
                      <a:lnTo>
                        <a:pt x="244030" y="0"/>
                      </a:lnTo>
                      <a:cubicBezTo>
                        <a:pt x="247936" y="0"/>
                        <a:pt x="251174" y="3239"/>
                        <a:pt x="251174" y="7144"/>
                      </a:cubicBezTo>
                      <a:cubicBezTo>
                        <a:pt x="251174" y="11049"/>
                        <a:pt x="247936" y="14288"/>
                        <a:pt x="244030" y="14288"/>
                      </a:cubicBezTo>
                      <a:close/>
                    </a:path>
                  </a:pathLst>
                </a:custGeom>
                <a:grpFill/>
                <a:ln w="9525" cap="flat">
                  <a:noFill/>
                  <a:prstDash val="solid"/>
                  <a:miter/>
                </a:ln>
              </p:spPr>
              <p:txBody>
                <a:bodyPr rtlCol="0" anchor="ctr"/>
                <a:lstStyle/>
                <a:p>
                  <a:endParaRPr lang="de-DE"/>
                </a:p>
              </p:txBody>
            </p:sp>
            <p:sp>
              <p:nvSpPr>
                <p:cNvPr id="715" name="Grafik 3842">
                  <a:extLst>
                    <a:ext uri="{FF2B5EF4-FFF2-40B4-BE49-F238E27FC236}">
                      <a16:creationId xmlns:a16="http://schemas.microsoft.com/office/drawing/2014/main" id="{58B6A376-2DE1-EF65-62CE-77283E7CAE13}"/>
                    </a:ext>
                  </a:extLst>
                </p:cNvPr>
                <p:cNvSpPr/>
                <p:nvPr/>
              </p:nvSpPr>
              <p:spPr bwMode="gray">
                <a:xfrm>
                  <a:off x="6150691" y="3425207"/>
                  <a:ext cx="39492" cy="41701"/>
                </a:xfrm>
                <a:custGeom>
                  <a:avLst/>
                  <a:gdLst>
                    <a:gd name="connsiteX0" fmla="*/ 32367 w 39492"/>
                    <a:gd name="connsiteY0" fmla="*/ 41701 h 41701"/>
                    <a:gd name="connsiteX1" fmla="*/ 27128 w 39492"/>
                    <a:gd name="connsiteY1" fmla="*/ 39415 h 41701"/>
                    <a:gd name="connsiteX2" fmla="*/ 1887 w 39492"/>
                    <a:gd name="connsiteY2" fmla="*/ 11983 h 41701"/>
                    <a:gd name="connsiteX3" fmla="*/ 2268 w 39492"/>
                    <a:gd name="connsiteY3" fmla="*/ 1887 h 41701"/>
                    <a:gd name="connsiteX4" fmla="*/ 12364 w 39492"/>
                    <a:gd name="connsiteY4" fmla="*/ 2268 h 41701"/>
                    <a:gd name="connsiteX5" fmla="*/ 37605 w 39492"/>
                    <a:gd name="connsiteY5" fmla="*/ 29700 h 41701"/>
                    <a:gd name="connsiteX6" fmla="*/ 37224 w 39492"/>
                    <a:gd name="connsiteY6" fmla="*/ 39796 h 41701"/>
                    <a:gd name="connsiteX7" fmla="*/ 32367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32367" y="41701"/>
                      </a:moveTo>
                      <a:cubicBezTo>
                        <a:pt x="30462" y="41701"/>
                        <a:pt x="28557" y="40939"/>
                        <a:pt x="27128" y="39415"/>
                      </a:cubicBezTo>
                      <a:lnTo>
                        <a:pt x="1887" y="11983"/>
                      </a:lnTo>
                      <a:cubicBezTo>
                        <a:pt x="-780" y="9126"/>
                        <a:pt x="-590" y="4554"/>
                        <a:pt x="2268" y="1887"/>
                      </a:cubicBezTo>
                      <a:cubicBezTo>
                        <a:pt x="5220" y="-780"/>
                        <a:pt x="9697" y="-590"/>
                        <a:pt x="12364" y="2268"/>
                      </a:cubicBezTo>
                      <a:lnTo>
                        <a:pt x="37605" y="29700"/>
                      </a:lnTo>
                      <a:cubicBezTo>
                        <a:pt x="40272" y="32557"/>
                        <a:pt x="40082" y="37129"/>
                        <a:pt x="37224" y="39796"/>
                      </a:cubicBezTo>
                      <a:cubicBezTo>
                        <a:pt x="35796" y="41034"/>
                        <a:pt x="34081" y="41701"/>
                        <a:pt x="32367" y="41701"/>
                      </a:cubicBezTo>
                      <a:close/>
                    </a:path>
                  </a:pathLst>
                </a:custGeom>
                <a:grpFill/>
                <a:ln w="9525" cap="flat">
                  <a:noFill/>
                  <a:prstDash val="solid"/>
                  <a:miter/>
                </a:ln>
              </p:spPr>
              <p:txBody>
                <a:bodyPr rtlCol="0" anchor="ctr"/>
                <a:lstStyle/>
                <a:p>
                  <a:endParaRPr lang="de-DE"/>
                </a:p>
              </p:txBody>
            </p:sp>
            <p:sp>
              <p:nvSpPr>
                <p:cNvPr id="716" name="Grafik 3842">
                  <a:extLst>
                    <a:ext uri="{FF2B5EF4-FFF2-40B4-BE49-F238E27FC236}">
                      <a16:creationId xmlns:a16="http://schemas.microsoft.com/office/drawing/2014/main" id="{53D46EE2-27EE-BEC4-66B8-83A992753FC4}"/>
                    </a:ext>
                  </a:extLst>
                </p:cNvPr>
                <p:cNvSpPr/>
                <p:nvPr/>
              </p:nvSpPr>
              <p:spPr bwMode="gray">
                <a:xfrm>
                  <a:off x="6150691" y="3452639"/>
                  <a:ext cx="39492" cy="41701"/>
                </a:xfrm>
                <a:custGeom>
                  <a:avLst/>
                  <a:gdLst>
                    <a:gd name="connsiteX0" fmla="*/ 7125 w 39492"/>
                    <a:gd name="connsiteY0" fmla="*/ 41701 h 41701"/>
                    <a:gd name="connsiteX1" fmla="*/ 2268 w 39492"/>
                    <a:gd name="connsiteY1" fmla="*/ 39796 h 41701"/>
                    <a:gd name="connsiteX2" fmla="*/ 1887 w 39492"/>
                    <a:gd name="connsiteY2" fmla="*/ 29700 h 41701"/>
                    <a:gd name="connsiteX3" fmla="*/ 27128 w 39492"/>
                    <a:gd name="connsiteY3" fmla="*/ 2268 h 41701"/>
                    <a:gd name="connsiteX4" fmla="*/ 37224 w 39492"/>
                    <a:gd name="connsiteY4" fmla="*/ 1887 h 41701"/>
                    <a:gd name="connsiteX5" fmla="*/ 37605 w 39492"/>
                    <a:gd name="connsiteY5" fmla="*/ 11983 h 41701"/>
                    <a:gd name="connsiteX6" fmla="*/ 12364 w 39492"/>
                    <a:gd name="connsiteY6" fmla="*/ 39415 h 41701"/>
                    <a:gd name="connsiteX7" fmla="*/ 7125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7125" y="41701"/>
                      </a:moveTo>
                      <a:cubicBezTo>
                        <a:pt x="5411" y="41701"/>
                        <a:pt x="3696" y="41034"/>
                        <a:pt x="2268" y="39796"/>
                      </a:cubicBezTo>
                      <a:cubicBezTo>
                        <a:pt x="-590" y="37129"/>
                        <a:pt x="-780" y="32652"/>
                        <a:pt x="1887" y="29700"/>
                      </a:cubicBezTo>
                      <a:lnTo>
                        <a:pt x="27128" y="2268"/>
                      </a:lnTo>
                      <a:cubicBezTo>
                        <a:pt x="29795" y="-590"/>
                        <a:pt x="34272" y="-780"/>
                        <a:pt x="37224" y="1887"/>
                      </a:cubicBezTo>
                      <a:cubicBezTo>
                        <a:pt x="40082" y="4554"/>
                        <a:pt x="40272" y="9030"/>
                        <a:pt x="37605" y="11983"/>
                      </a:cubicBezTo>
                      <a:lnTo>
                        <a:pt x="12364" y="39415"/>
                      </a:lnTo>
                      <a:cubicBezTo>
                        <a:pt x="10935" y="40844"/>
                        <a:pt x="9030" y="41701"/>
                        <a:pt x="7125" y="41701"/>
                      </a:cubicBezTo>
                      <a:close/>
                    </a:path>
                  </a:pathLst>
                </a:custGeom>
                <a:grpFill/>
                <a:ln w="9525" cap="flat">
                  <a:noFill/>
                  <a:prstDash val="solid"/>
                  <a:miter/>
                </a:ln>
              </p:spPr>
              <p:txBody>
                <a:bodyPr rtlCol="0" anchor="ctr"/>
                <a:lstStyle/>
                <a:p>
                  <a:endParaRPr lang="de-DE"/>
                </a:p>
              </p:txBody>
            </p:sp>
          </p:grpSp>
          <p:grpSp>
            <p:nvGrpSpPr>
              <p:cNvPr id="704" name="Grafik 3842">
                <a:extLst>
                  <a:ext uri="{FF2B5EF4-FFF2-40B4-BE49-F238E27FC236}">
                    <a16:creationId xmlns:a16="http://schemas.microsoft.com/office/drawing/2014/main" id="{3AD749F6-9755-131B-C1FF-70A45B48EBA3}"/>
                  </a:ext>
                </a:extLst>
              </p:cNvPr>
              <p:cNvGrpSpPr/>
              <p:nvPr/>
            </p:nvGrpSpPr>
            <p:grpSpPr bwMode="gray">
              <a:xfrm>
                <a:off x="5925025" y="3348513"/>
                <a:ext cx="272712" cy="66770"/>
                <a:chOff x="5925025" y="3348513"/>
                <a:chExt cx="272712" cy="66770"/>
              </a:xfrm>
              <a:grpFill/>
            </p:grpSpPr>
            <p:sp>
              <p:nvSpPr>
                <p:cNvPr id="710" name="Grafik 3842">
                  <a:extLst>
                    <a:ext uri="{FF2B5EF4-FFF2-40B4-BE49-F238E27FC236}">
                      <a16:creationId xmlns:a16="http://schemas.microsoft.com/office/drawing/2014/main" id="{AEF62471-F436-250B-C3E3-5DB555094958}"/>
                    </a:ext>
                  </a:extLst>
                </p:cNvPr>
                <p:cNvSpPr/>
                <p:nvPr/>
              </p:nvSpPr>
              <p:spPr bwMode="gray">
                <a:xfrm>
                  <a:off x="5925025" y="3348513"/>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11" name="Grafik 3842">
                  <a:extLst>
                    <a:ext uri="{FF2B5EF4-FFF2-40B4-BE49-F238E27FC236}">
                      <a16:creationId xmlns:a16="http://schemas.microsoft.com/office/drawing/2014/main" id="{C46F024C-8F4F-5876-FA74-4BBB60F1E217}"/>
                    </a:ext>
                  </a:extLst>
                </p:cNvPr>
                <p:cNvSpPr/>
                <p:nvPr/>
              </p:nvSpPr>
              <p:spPr bwMode="gray">
                <a:xfrm>
                  <a:off x="6023380" y="3349738"/>
                  <a:ext cx="172003" cy="43542"/>
                </a:xfrm>
                <a:custGeom>
                  <a:avLst/>
                  <a:gdLst>
                    <a:gd name="connsiteX0" fmla="*/ 164916 w 172003"/>
                    <a:gd name="connsiteY0" fmla="*/ 43542 h 43542"/>
                    <a:gd name="connsiteX1" fmla="*/ 163583 w 172003"/>
                    <a:gd name="connsiteY1" fmla="*/ 43447 h 43542"/>
                    <a:gd name="connsiteX2" fmla="*/ 5849 w 172003"/>
                    <a:gd name="connsiteY2" fmla="*/ 14110 h 43542"/>
                    <a:gd name="connsiteX3" fmla="*/ 134 w 172003"/>
                    <a:gd name="connsiteY3" fmla="*/ 5823 h 43542"/>
                    <a:gd name="connsiteX4" fmla="*/ 8421 w 172003"/>
                    <a:gd name="connsiteY4" fmla="*/ 108 h 43542"/>
                    <a:gd name="connsiteX5" fmla="*/ 166155 w 172003"/>
                    <a:gd name="connsiteY5" fmla="*/ 29445 h 43542"/>
                    <a:gd name="connsiteX6" fmla="*/ 171870 w 172003"/>
                    <a:gd name="connsiteY6" fmla="*/ 37732 h 43542"/>
                    <a:gd name="connsiteX7" fmla="*/ 164916 w 172003"/>
                    <a:gd name="connsiteY7" fmla="*/ 43542 h 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42">
                      <a:moveTo>
                        <a:pt x="164916" y="43542"/>
                      </a:moveTo>
                      <a:cubicBezTo>
                        <a:pt x="164440" y="43542"/>
                        <a:pt x="164059" y="43542"/>
                        <a:pt x="163583" y="43447"/>
                      </a:cubicBezTo>
                      <a:lnTo>
                        <a:pt x="5849" y="14110"/>
                      </a:lnTo>
                      <a:cubicBezTo>
                        <a:pt x="1944" y="13348"/>
                        <a:pt x="-628" y="9633"/>
                        <a:pt x="134" y="5823"/>
                      </a:cubicBezTo>
                      <a:cubicBezTo>
                        <a:pt x="896" y="1918"/>
                        <a:pt x="4706" y="-559"/>
                        <a:pt x="8421" y="108"/>
                      </a:cubicBezTo>
                      <a:lnTo>
                        <a:pt x="166155" y="29445"/>
                      </a:lnTo>
                      <a:cubicBezTo>
                        <a:pt x="170060" y="30207"/>
                        <a:pt x="172632" y="33922"/>
                        <a:pt x="171870" y="37732"/>
                      </a:cubicBezTo>
                      <a:cubicBezTo>
                        <a:pt x="171298" y="41161"/>
                        <a:pt x="168250" y="43542"/>
                        <a:pt x="164916" y="43542"/>
                      </a:cubicBezTo>
                      <a:close/>
                    </a:path>
                  </a:pathLst>
                </a:custGeom>
                <a:grpFill/>
                <a:ln w="9525" cap="flat">
                  <a:noFill/>
                  <a:prstDash val="solid"/>
                  <a:miter/>
                </a:ln>
              </p:spPr>
              <p:txBody>
                <a:bodyPr rtlCol="0" anchor="ctr"/>
                <a:lstStyle/>
                <a:p>
                  <a:endParaRPr lang="de-DE"/>
                </a:p>
              </p:txBody>
            </p:sp>
            <p:sp>
              <p:nvSpPr>
                <p:cNvPr id="712" name="Grafik 3842">
                  <a:extLst>
                    <a:ext uri="{FF2B5EF4-FFF2-40B4-BE49-F238E27FC236}">
                      <a16:creationId xmlns:a16="http://schemas.microsoft.com/office/drawing/2014/main" id="{88012A2A-E1C1-200A-C5AD-ABBEDF6C3CCA}"/>
                    </a:ext>
                  </a:extLst>
                </p:cNvPr>
                <p:cNvSpPr/>
                <p:nvPr/>
              </p:nvSpPr>
              <p:spPr bwMode="gray">
                <a:xfrm>
                  <a:off x="6167569" y="3349121"/>
                  <a:ext cx="30025" cy="49016"/>
                </a:xfrm>
                <a:custGeom>
                  <a:avLst/>
                  <a:gdLst>
                    <a:gd name="connsiteX0" fmla="*/ 22918 w 30025"/>
                    <a:gd name="connsiteY0" fmla="*/ 49017 h 49016"/>
                    <a:gd name="connsiteX1" fmla="*/ 16441 w 30025"/>
                    <a:gd name="connsiteY1" fmla="*/ 44826 h 49016"/>
                    <a:gd name="connsiteX2" fmla="*/ 630 w 30025"/>
                    <a:gd name="connsiteY2" fmla="*/ 10060 h 49016"/>
                    <a:gd name="connsiteX3" fmla="*/ 4154 w 30025"/>
                    <a:gd name="connsiteY3" fmla="*/ 630 h 49016"/>
                    <a:gd name="connsiteX4" fmla="*/ 13584 w 30025"/>
                    <a:gd name="connsiteY4" fmla="*/ 4154 h 49016"/>
                    <a:gd name="connsiteX5" fmla="*/ 29395 w 30025"/>
                    <a:gd name="connsiteY5" fmla="*/ 38920 h 49016"/>
                    <a:gd name="connsiteX6" fmla="*/ 25871 w 30025"/>
                    <a:gd name="connsiteY6" fmla="*/ 48350 h 49016"/>
                    <a:gd name="connsiteX7" fmla="*/ 22918 w 30025"/>
                    <a:gd name="connsiteY7" fmla="*/ 49017 h 4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5" h="49016">
                      <a:moveTo>
                        <a:pt x="22918" y="49017"/>
                      </a:moveTo>
                      <a:cubicBezTo>
                        <a:pt x="20251" y="49017"/>
                        <a:pt x="17584" y="47493"/>
                        <a:pt x="16441" y="44826"/>
                      </a:cubicBezTo>
                      <a:lnTo>
                        <a:pt x="630" y="10060"/>
                      </a:lnTo>
                      <a:cubicBezTo>
                        <a:pt x="-989" y="6440"/>
                        <a:pt x="630" y="2249"/>
                        <a:pt x="4154" y="630"/>
                      </a:cubicBezTo>
                      <a:cubicBezTo>
                        <a:pt x="7774" y="-989"/>
                        <a:pt x="11965" y="630"/>
                        <a:pt x="13584" y="4154"/>
                      </a:cubicBezTo>
                      <a:lnTo>
                        <a:pt x="29395" y="38920"/>
                      </a:lnTo>
                      <a:cubicBezTo>
                        <a:pt x="31015" y="42540"/>
                        <a:pt x="29395" y="46731"/>
                        <a:pt x="25871" y="48350"/>
                      </a:cubicBezTo>
                      <a:cubicBezTo>
                        <a:pt x="24919" y="48826"/>
                        <a:pt x="23871" y="49017"/>
                        <a:pt x="22918" y="49017"/>
                      </a:cubicBezTo>
                      <a:close/>
                    </a:path>
                  </a:pathLst>
                </a:custGeom>
                <a:grpFill/>
                <a:ln w="9525" cap="flat">
                  <a:noFill/>
                  <a:prstDash val="solid"/>
                  <a:miter/>
                </a:ln>
              </p:spPr>
              <p:txBody>
                <a:bodyPr rtlCol="0" anchor="ctr"/>
                <a:lstStyle/>
                <a:p>
                  <a:endParaRPr lang="de-DE"/>
                </a:p>
              </p:txBody>
            </p:sp>
            <p:sp>
              <p:nvSpPr>
                <p:cNvPr id="713" name="Grafik 3842">
                  <a:extLst>
                    <a:ext uri="{FF2B5EF4-FFF2-40B4-BE49-F238E27FC236}">
                      <a16:creationId xmlns:a16="http://schemas.microsoft.com/office/drawing/2014/main" id="{1F5EC673-9687-42B3-DD7D-7E587B350B26}"/>
                    </a:ext>
                  </a:extLst>
                </p:cNvPr>
                <p:cNvSpPr/>
                <p:nvPr/>
              </p:nvSpPr>
              <p:spPr bwMode="gray">
                <a:xfrm>
                  <a:off x="6151327" y="3383743"/>
                  <a:ext cx="46410" cy="31539"/>
                </a:xfrm>
                <a:custGeom>
                  <a:avLst/>
                  <a:gdLst>
                    <a:gd name="connsiteX0" fmla="*/ 7156 w 46410"/>
                    <a:gd name="connsiteY0" fmla="*/ 31540 h 31539"/>
                    <a:gd name="connsiteX1" fmla="*/ 869 w 46410"/>
                    <a:gd name="connsiteY1" fmla="*/ 27730 h 31539"/>
                    <a:gd name="connsiteX2" fmla="*/ 3822 w 46410"/>
                    <a:gd name="connsiteY2" fmla="*/ 18014 h 31539"/>
                    <a:gd name="connsiteX3" fmla="*/ 35826 w 46410"/>
                    <a:gd name="connsiteY3" fmla="*/ 869 h 31539"/>
                    <a:gd name="connsiteX4" fmla="*/ 45541 w 46410"/>
                    <a:gd name="connsiteY4" fmla="*/ 3822 h 31539"/>
                    <a:gd name="connsiteX5" fmla="*/ 42589 w 46410"/>
                    <a:gd name="connsiteY5" fmla="*/ 13537 h 31539"/>
                    <a:gd name="connsiteX6" fmla="*/ 10585 w 46410"/>
                    <a:gd name="connsiteY6" fmla="*/ 30682 h 31539"/>
                    <a:gd name="connsiteX7" fmla="*/ 7156 w 46410"/>
                    <a:gd name="connsiteY7" fmla="*/ 31540 h 3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10" h="31539">
                      <a:moveTo>
                        <a:pt x="7156" y="31540"/>
                      </a:moveTo>
                      <a:cubicBezTo>
                        <a:pt x="4584" y="31540"/>
                        <a:pt x="2107" y="30206"/>
                        <a:pt x="869" y="27730"/>
                      </a:cubicBezTo>
                      <a:cubicBezTo>
                        <a:pt x="-1036" y="24205"/>
                        <a:pt x="298" y="19919"/>
                        <a:pt x="3822" y="18014"/>
                      </a:cubicBezTo>
                      <a:lnTo>
                        <a:pt x="35826" y="869"/>
                      </a:lnTo>
                      <a:cubicBezTo>
                        <a:pt x="39350" y="-1036"/>
                        <a:pt x="43636" y="298"/>
                        <a:pt x="45541" y="3822"/>
                      </a:cubicBezTo>
                      <a:cubicBezTo>
                        <a:pt x="47446" y="7346"/>
                        <a:pt x="46113" y="11632"/>
                        <a:pt x="42589" y="13537"/>
                      </a:cubicBezTo>
                      <a:lnTo>
                        <a:pt x="10585" y="30682"/>
                      </a:lnTo>
                      <a:cubicBezTo>
                        <a:pt x="9442" y="31254"/>
                        <a:pt x="8299" y="31540"/>
                        <a:pt x="7156" y="31540"/>
                      </a:cubicBezTo>
                      <a:close/>
                    </a:path>
                  </a:pathLst>
                </a:custGeom>
                <a:grpFill/>
                <a:ln w="9525" cap="flat">
                  <a:noFill/>
                  <a:prstDash val="solid"/>
                  <a:miter/>
                </a:ln>
              </p:spPr>
              <p:txBody>
                <a:bodyPr rtlCol="0" anchor="ctr"/>
                <a:lstStyle/>
                <a:p>
                  <a:endParaRPr lang="de-DE"/>
                </a:p>
              </p:txBody>
            </p:sp>
          </p:grpSp>
          <p:grpSp>
            <p:nvGrpSpPr>
              <p:cNvPr id="705" name="Grafik 3842">
                <a:extLst>
                  <a:ext uri="{FF2B5EF4-FFF2-40B4-BE49-F238E27FC236}">
                    <a16:creationId xmlns:a16="http://schemas.microsoft.com/office/drawing/2014/main" id="{42D1A39F-8F9F-2707-17BF-B8C7B213A351}"/>
                  </a:ext>
                </a:extLst>
              </p:cNvPr>
              <p:cNvGrpSpPr/>
              <p:nvPr/>
            </p:nvGrpSpPr>
            <p:grpSpPr bwMode="gray">
              <a:xfrm>
                <a:off x="5925025" y="3502943"/>
                <a:ext cx="272670" cy="66740"/>
                <a:chOff x="5925025" y="3502943"/>
                <a:chExt cx="272670" cy="66740"/>
              </a:xfrm>
              <a:grpFill/>
            </p:grpSpPr>
            <p:sp>
              <p:nvSpPr>
                <p:cNvPr id="706" name="Grafik 3842">
                  <a:extLst>
                    <a:ext uri="{FF2B5EF4-FFF2-40B4-BE49-F238E27FC236}">
                      <a16:creationId xmlns:a16="http://schemas.microsoft.com/office/drawing/2014/main" id="{D9C7C979-BC30-3327-0757-DEBC3311520B}"/>
                    </a:ext>
                  </a:extLst>
                </p:cNvPr>
                <p:cNvSpPr/>
                <p:nvPr/>
              </p:nvSpPr>
              <p:spPr bwMode="gray">
                <a:xfrm>
                  <a:off x="5925025" y="3555396"/>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07" name="Grafik 3842">
                  <a:extLst>
                    <a:ext uri="{FF2B5EF4-FFF2-40B4-BE49-F238E27FC236}">
                      <a16:creationId xmlns:a16="http://schemas.microsoft.com/office/drawing/2014/main" id="{38577713-D537-FCC5-E7C6-B1929AD86365}"/>
                    </a:ext>
                  </a:extLst>
                </p:cNvPr>
                <p:cNvSpPr/>
                <p:nvPr/>
              </p:nvSpPr>
              <p:spPr bwMode="gray">
                <a:xfrm>
                  <a:off x="6023285" y="3525068"/>
                  <a:ext cx="172003" cy="43567"/>
                </a:xfrm>
                <a:custGeom>
                  <a:avLst/>
                  <a:gdLst>
                    <a:gd name="connsiteX0" fmla="*/ 7182 w 172003"/>
                    <a:gd name="connsiteY0" fmla="*/ 43568 h 43567"/>
                    <a:gd name="connsiteX1" fmla="*/ 134 w 172003"/>
                    <a:gd name="connsiteY1" fmla="*/ 37758 h 43567"/>
                    <a:gd name="connsiteX2" fmla="*/ 5849 w 172003"/>
                    <a:gd name="connsiteY2" fmla="*/ 29471 h 43567"/>
                    <a:gd name="connsiteX3" fmla="*/ 163583 w 172003"/>
                    <a:gd name="connsiteY3" fmla="*/ 134 h 43567"/>
                    <a:gd name="connsiteX4" fmla="*/ 171870 w 172003"/>
                    <a:gd name="connsiteY4" fmla="*/ 5849 h 43567"/>
                    <a:gd name="connsiteX5" fmla="*/ 166155 w 172003"/>
                    <a:gd name="connsiteY5" fmla="*/ 14136 h 43567"/>
                    <a:gd name="connsiteX6" fmla="*/ 8421 w 172003"/>
                    <a:gd name="connsiteY6" fmla="*/ 43473 h 43567"/>
                    <a:gd name="connsiteX7" fmla="*/ 7182 w 172003"/>
                    <a:gd name="connsiteY7" fmla="*/ 43568 h 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67">
                      <a:moveTo>
                        <a:pt x="7182" y="43568"/>
                      </a:moveTo>
                      <a:cubicBezTo>
                        <a:pt x="3849" y="43568"/>
                        <a:pt x="801" y="41187"/>
                        <a:pt x="134" y="37758"/>
                      </a:cubicBezTo>
                      <a:cubicBezTo>
                        <a:pt x="-628" y="33852"/>
                        <a:pt x="1944" y="30138"/>
                        <a:pt x="5849" y="29471"/>
                      </a:cubicBezTo>
                      <a:lnTo>
                        <a:pt x="163583" y="134"/>
                      </a:lnTo>
                      <a:cubicBezTo>
                        <a:pt x="167393" y="-628"/>
                        <a:pt x="171203" y="1944"/>
                        <a:pt x="171870" y="5849"/>
                      </a:cubicBezTo>
                      <a:cubicBezTo>
                        <a:pt x="172632" y="9754"/>
                        <a:pt x="170060" y="13469"/>
                        <a:pt x="166155" y="14136"/>
                      </a:cubicBezTo>
                      <a:lnTo>
                        <a:pt x="8421" y="43473"/>
                      </a:lnTo>
                      <a:cubicBezTo>
                        <a:pt x="8135" y="43473"/>
                        <a:pt x="7659" y="43568"/>
                        <a:pt x="7182" y="43568"/>
                      </a:cubicBezTo>
                      <a:close/>
                    </a:path>
                  </a:pathLst>
                </a:custGeom>
                <a:grpFill/>
                <a:ln w="9525" cap="flat">
                  <a:noFill/>
                  <a:prstDash val="solid"/>
                  <a:miter/>
                </a:ln>
              </p:spPr>
              <p:txBody>
                <a:bodyPr rtlCol="0" anchor="ctr"/>
                <a:lstStyle/>
                <a:p>
                  <a:endParaRPr lang="de-DE"/>
                </a:p>
              </p:txBody>
            </p:sp>
            <p:sp>
              <p:nvSpPr>
                <p:cNvPr id="708" name="Grafik 3842">
                  <a:extLst>
                    <a:ext uri="{FF2B5EF4-FFF2-40B4-BE49-F238E27FC236}">
                      <a16:creationId xmlns:a16="http://schemas.microsoft.com/office/drawing/2014/main" id="{22619B68-BC4A-3C15-0558-65DE56F32CFE}"/>
                    </a:ext>
                  </a:extLst>
                </p:cNvPr>
                <p:cNvSpPr/>
                <p:nvPr/>
              </p:nvSpPr>
              <p:spPr bwMode="gray">
                <a:xfrm>
                  <a:off x="6167554" y="3520175"/>
                  <a:ext cx="30055" cy="49031"/>
                </a:xfrm>
                <a:custGeom>
                  <a:avLst/>
                  <a:gdLst>
                    <a:gd name="connsiteX0" fmla="*/ 7122 w 30055"/>
                    <a:gd name="connsiteY0" fmla="*/ 49032 h 49031"/>
                    <a:gd name="connsiteX1" fmla="*/ 4169 w 30055"/>
                    <a:gd name="connsiteY1" fmla="*/ 48365 h 49031"/>
                    <a:gd name="connsiteX2" fmla="*/ 645 w 30055"/>
                    <a:gd name="connsiteY2" fmla="*/ 38935 h 49031"/>
                    <a:gd name="connsiteX3" fmla="*/ 16456 w 30055"/>
                    <a:gd name="connsiteY3" fmla="*/ 4169 h 49031"/>
                    <a:gd name="connsiteX4" fmla="*/ 25886 w 30055"/>
                    <a:gd name="connsiteY4" fmla="*/ 645 h 49031"/>
                    <a:gd name="connsiteX5" fmla="*/ 29410 w 30055"/>
                    <a:gd name="connsiteY5" fmla="*/ 10075 h 49031"/>
                    <a:gd name="connsiteX6" fmla="*/ 13599 w 30055"/>
                    <a:gd name="connsiteY6" fmla="*/ 44841 h 49031"/>
                    <a:gd name="connsiteX7" fmla="*/ 7122 w 30055"/>
                    <a:gd name="connsiteY7" fmla="*/ 49032 h 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5" h="49031">
                      <a:moveTo>
                        <a:pt x="7122" y="49032"/>
                      </a:moveTo>
                      <a:cubicBezTo>
                        <a:pt x="6169" y="49032"/>
                        <a:pt x="5122" y="48841"/>
                        <a:pt x="4169" y="48365"/>
                      </a:cubicBezTo>
                      <a:cubicBezTo>
                        <a:pt x="550" y="46746"/>
                        <a:pt x="-974" y="42460"/>
                        <a:pt x="645" y="38935"/>
                      </a:cubicBezTo>
                      <a:lnTo>
                        <a:pt x="16456" y="4169"/>
                      </a:lnTo>
                      <a:cubicBezTo>
                        <a:pt x="18076" y="550"/>
                        <a:pt x="22362" y="-974"/>
                        <a:pt x="25886" y="645"/>
                      </a:cubicBezTo>
                      <a:cubicBezTo>
                        <a:pt x="29506" y="2264"/>
                        <a:pt x="31030" y="6550"/>
                        <a:pt x="29410" y="10075"/>
                      </a:cubicBezTo>
                      <a:lnTo>
                        <a:pt x="13599" y="44841"/>
                      </a:lnTo>
                      <a:cubicBezTo>
                        <a:pt x="12361" y="47413"/>
                        <a:pt x="9789" y="49032"/>
                        <a:pt x="7122" y="49032"/>
                      </a:cubicBezTo>
                      <a:close/>
                    </a:path>
                  </a:pathLst>
                </a:custGeom>
                <a:grpFill/>
                <a:ln w="9525" cap="flat">
                  <a:noFill/>
                  <a:prstDash val="solid"/>
                  <a:miter/>
                </a:ln>
              </p:spPr>
              <p:txBody>
                <a:bodyPr rtlCol="0" anchor="ctr"/>
                <a:lstStyle/>
                <a:p>
                  <a:endParaRPr lang="de-DE"/>
                </a:p>
              </p:txBody>
            </p:sp>
            <p:sp>
              <p:nvSpPr>
                <p:cNvPr id="709" name="Grafik 3842">
                  <a:extLst>
                    <a:ext uri="{FF2B5EF4-FFF2-40B4-BE49-F238E27FC236}">
                      <a16:creationId xmlns:a16="http://schemas.microsoft.com/office/drawing/2014/main" id="{FA21AA9F-6F88-6D65-29DD-5B53EE665C81}"/>
                    </a:ext>
                  </a:extLst>
                </p:cNvPr>
                <p:cNvSpPr/>
                <p:nvPr/>
              </p:nvSpPr>
              <p:spPr bwMode="gray">
                <a:xfrm>
                  <a:off x="6151369" y="3502943"/>
                  <a:ext cx="46326" cy="31497"/>
                </a:xfrm>
                <a:custGeom>
                  <a:avLst/>
                  <a:gdLst>
                    <a:gd name="connsiteX0" fmla="*/ 39118 w 46326"/>
                    <a:gd name="connsiteY0" fmla="*/ 31498 h 31497"/>
                    <a:gd name="connsiteX1" fmla="*/ 35784 w 46326"/>
                    <a:gd name="connsiteY1" fmla="*/ 30640 h 31497"/>
                    <a:gd name="connsiteX2" fmla="*/ 3780 w 46326"/>
                    <a:gd name="connsiteY2" fmla="*/ 13495 h 31497"/>
                    <a:gd name="connsiteX3" fmla="*/ 827 w 46326"/>
                    <a:gd name="connsiteY3" fmla="*/ 3780 h 31497"/>
                    <a:gd name="connsiteX4" fmla="*/ 10543 w 46326"/>
                    <a:gd name="connsiteY4" fmla="*/ 827 h 31497"/>
                    <a:gd name="connsiteX5" fmla="*/ 42547 w 46326"/>
                    <a:gd name="connsiteY5" fmla="*/ 17972 h 31497"/>
                    <a:gd name="connsiteX6" fmla="*/ 45499 w 46326"/>
                    <a:gd name="connsiteY6" fmla="*/ 27688 h 31497"/>
                    <a:gd name="connsiteX7" fmla="*/ 39118 w 46326"/>
                    <a:gd name="connsiteY7" fmla="*/ 31498 h 3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6" h="31497">
                      <a:moveTo>
                        <a:pt x="39118" y="31498"/>
                      </a:moveTo>
                      <a:cubicBezTo>
                        <a:pt x="37975" y="31498"/>
                        <a:pt x="36832" y="31212"/>
                        <a:pt x="35784" y="30640"/>
                      </a:cubicBezTo>
                      <a:lnTo>
                        <a:pt x="3780" y="13495"/>
                      </a:lnTo>
                      <a:cubicBezTo>
                        <a:pt x="256" y="11590"/>
                        <a:pt x="-983" y="7304"/>
                        <a:pt x="827" y="3780"/>
                      </a:cubicBezTo>
                      <a:cubicBezTo>
                        <a:pt x="2732" y="256"/>
                        <a:pt x="7018" y="-983"/>
                        <a:pt x="10543" y="827"/>
                      </a:cubicBezTo>
                      <a:lnTo>
                        <a:pt x="42547" y="17972"/>
                      </a:lnTo>
                      <a:cubicBezTo>
                        <a:pt x="46071" y="19877"/>
                        <a:pt x="47309" y="24163"/>
                        <a:pt x="45499" y="27688"/>
                      </a:cubicBezTo>
                      <a:cubicBezTo>
                        <a:pt x="44166" y="30164"/>
                        <a:pt x="41689" y="31498"/>
                        <a:pt x="39118" y="31498"/>
                      </a:cubicBezTo>
                      <a:close/>
                    </a:path>
                  </a:pathLst>
                </a:custGeom>
                <a:grpFill/>
                <a:ln w="9525" cap="flat">
                  <a:noFill/>
                  <a:prstDash val="solid"/>
                  <a:miter/>
                </a:ln>
              </p:spPr>
              <p:txBody>
                <a:bodyPr rtlCol="0" anchor="ctr"/>
                <a:lstStyle/>
                <a:p>
                  <a:endParaRPr lang="de-DE"/>
                </a:p>
              </p:txBody>
            </p:sp>
          </p:grpSp>
        </p:grpSp>
        <p:grpSp>
          <p:nvGrpSpPr>
            <p:cNvPr id="697" name="Grafik 3842">
              <a:extLst>
                <a:ext uri="{FF2B5EF4-FFF2-40B4-BE49-F238E27FC236}">
                  <a16:creationId xmlns:a16="http://schemas.microsoft.com/office/drawing/2014/main" id="{5F5DC3C5-0937-ED7A-23B2-1E0368F38664}"/>
                </a:ext>
              </a:extLst>
            </p:cNvPr>
            <p:cNvGrpSpPr/>
            <p:nvPr/>
          </p:nvGrpSpPr>
          <p:grpSpPr bwMode="gray">
            <a:xfrm>
              <a:off x="5843587" y="3176587"/>
              <a:ext cx="500253" cy="500253"/>
              <a:chOff x="5843587" y="3176587"/>
              <a:chExt cx="500253" cy="500253"/>
            </a:xfrm>
            <a:grpFill/>
          </p:grpSpPr>
          <p:sp>
            <p:nvSpPr>
              <p:cNvPr id="698" name="Grafik 3842">
                <a:extLst>
                  <a:ext uri="{FF2B5EF4-FFF2-40B4-BE49-F238E27FC236}">
                    <a16:creationId xmlns:a16="http://schemas.microsoft.com/office/drawing/2014/main" id="{28739F52-31CB-D2BC-902D-E823081AC9D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dirty="0"/>
              </a:p>
            </p:txBody>
          </p:sp>
          <p:sp>
            <p:nvSpPr>
              <p:cNvPr id="699" name="Grafik 3842">
                <a:extLst>
                  <a:ext uri="{FF2B5EF4-FFF2-40B4-BE49-F238E27FC236}">
                    <a16:creationId xmlns:a16="http://schemas.microsoft.com/office/drawing/2014/main" id="{3AEE9B97-772A-430C-767A-2F082E1AA96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00" name="Grafik 3842">
                <a:extLst>
                  <a:ext uri="{FF2B5EF4-FFF2-40B4-BE49-F238E27FC236}">
                    <a16:creationId xmlns:a16="http://schemas.microsoft.com/office/drawing/2014/main" id="{C17E0FB7-3AB2-A71A-7413-44099DD7886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1" name="Grafik 3842">
                <a:extLst>
                  <a:ext uri="{FF2B5EF4-FFF2-40B4-BE49-F238E27FC236}">
                    <a16:creationId xmlns:a16="http://schemas.microsoft.com/office/drawing/2014/main" id="{E4445A45-D3CC-2E38-C4DD-419DBC84B2E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2" name="Grafik 3842">
                <a:extLst>
                  <a:ext uri="{FF2B5EF4-FFF2-40B4-BE49-F238E27FC236}">
                    <a16:creationId xmlns:a16="http://schemas.microsoft.com/office/drawing/2014/main" id="{E5959647-7830-1237-BDCC-0EFC6033C0B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sp>
        <p:nvSpPr>
          <p:cNvPr id="717" name="Rectangle 716">
            <a:extLst>
              <a:ext uri="{FF2B5EF4-FFF2-40B4-BE49-F238E27FC236}">
                <a16:creationId xmlns:a16="http://schemas.microsoft.com/office/drawing/2014/main" id="{D9CE1CE8-2F1C-743C-7673-904063A91F4E}"/>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Converged Service Delivery Platform</a:t>
            </a:r>
          </a:p>
        </p:txBody>
      </p:sp>
      <p:sp>
        <p:nvSpPr>
          <p:cNvPr id="718" name="Text Box 55">
            <a:extLst>
              <a:ext uri="{FF2B5EF4-FFF2-40B4-BE49-F238E27FC236}">
                <a16:creationId xmlns:a16="http://schemas.microsoft.com/office/drawing/2014/main" id="{A6C7BBEB-1330-5871-3DCD-5D694BAFCE29}"/>
              </a:ext>
            </a:extLst>
          </p:cNvPr>
          <p:cNvSpPr txBox="1">
            <a:spLocks noChangeArrowheads="1"/>
          </p:cNvSpPr>
          <p:nvPr/>
        </p:nvSpPr>
        <p:spPr bwMode="auto">
          <a:xfrm>
            <a:off x="10517136" y="1366838"/>
            <a:ext cx="10563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Engine</a:t>
            </a:r>
          </a:p>
        </p:txBody>
      </p:sp>
      <p:sp>
        <p:nvSpPr>
          <p:cNvPr id="719" name="Text Box 56">
            <a:extLst>
              <a:ext uri="{FF2B5EF4-FFF2-40B4-BE49-F238E27FC236}">
                <a16:creationId xmlns:a16="http://schemas.microsoft.com/office/drawing/2014/main" id="{E32CF504-24D8-3B25-8E2A-0056CC03B1DC}"/>
              </a:ext>
            </a:extLst>
          </p:cNvPr>
          <p:cNvSpPr txBox="1">
            <a:spLocks noChangeArrowheads="1"/>
          </p:cNvSpPr>
          <p:nvPr/>
        </p:nvSpPr>
        <p:spPr bwMode="auto">
          <a:xfrm>
            <a:off x="10517136" y="19129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erver</a:t>
            </a:r>
          </a:p>
        </p:txBody>
      </p:sp>
      <p:sp>
        <p:nvSpPr>
          <p:cNvPr id="720" name="Text Box 57">
            <a:extLst>
              <a:ext uri="{FF2B5EF4-FFF2-40B4-BE49-F238E27FC236}">
                <a16:creationId xmlns:a16="http://schemas.microsoft.com/office/drawing/2014/main" id="{08E8B7A9-7C82-8334-E3EA-3E6146DACBB6}"/>
              </a:ext>
            </a:extLst>
          </p:cNvPr>
          <p:cNvSpPr txBox="1">
            <a:spLocks noChangeArrowheads="1"/>
          </p:cNvSpPr>
          <p:nvPr/>
        </p:nvSpPr>
        <p:spPr bwMode="auto">
          <a:xfrm>
            <a:off x="10517136" y="2459038"/>
            <a:ext cx="8837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Video Server</a:t>
            </a:r>
          </a:p>
        </p:txBody>
      </p:sp>
      <p:sp>
        <p:nvSpPr>
          <p:cNvPr id="721" name="Text Box 58">
            <a:extLst>
              <a:ext uri="{FF2B5EF4-FFF2-40B4-BE49-F238E27FC236}">
                <a16:creationId xmlns:a16="http://schemas.microsoft.com/office/drawing/2014/main" id="{18146DB7-6290-7BA0-F87D-444B8EEF7705}"/>
              </a:ext>
            </a:extLst>
          </p:cNvPr>
          <p:cNvSpPr txBox="1">
            <a:spLocks noChangeArrowheads="1"/>
          </p:cNvSpPr>
          <p:nvPr/>
        </p:nvSpPr>
        <p:spPr bwMode="auto">
          <a:xfrm>
            <a:off x="10517136" y="3005138"/>
            <a:ext cx="8960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usic Server</a:t>
            </a:r>
          </a:p>
        </p:txBody>
      </p:sp>
      <p:sp>
        <p:nvSpPr>
          <p:cNvPr id="722" name="Text Box 59">
            <a:extLst>
              <a:ext uri="{FF2B5EF4-FFF2-40B4-BE49-F238E27FC236}">
                <a16:creationId xmlns:a16="http://schemas.microsoft.com/office/drawing/2014/main" id="{E053BA0F-1B0B-FD63-792F-699EA8B7187B}"/>
              </a:ext>
            </a:extLst>
          </p:cNvPr>
          <p:cNvSpPr txBox="1">
            <a:spLocks noChangeArrowheads="1"/>
          </p:cNvSpPr>
          <p:nvPr/>
        </p:nvSpPr>
        <p:spPr bwMode="auto">
          <a:xfrm>
            <a:off x="10517136" y="3551238"/>
            <a:ext cx="1328890"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pplication Control </a:t>
            </a:r>
            <a:br>
              <a:rPr lang="en-US" altLang="en-US" sz="1200" dirty="0"/>
            </a:br>
            <a:r>
              <a:rPr lang="en-US" altLang="en-US" sz="1200" dirty="0"/>
              <a:t>Engine</a:t>
            </a:r>
          </a:p>
        </p:txBody>
      </p:sp>
      <p:sp>
        <p:nvSpPr>
          <p:cNvPr id="723" name="Text Box 60">
            <a:extLst>
              <a:ext uri="{FF2B5EF4-FFF2-40B4-BE49-F238E27FC236}">
                <a16:creationId xmlns:a16="http://schemas.microsoft.com/office/drawing/2014/main" id="{BDB6E7B8-7116-BFC2-302B-528867749ECE}"/>
              </a:ext>
            </a:extLst>
          </p:cNvPr>
          <p:cNvSpPr txBox="1">
            <a:spLocks noChangeArrowheads="1"/>
          </p:cNvSpPr>
          <p:nvPr/>
        </p:nvSpPr>
        <p:spPr bwMode="auto">
          <a:xfrm>
            <a:off x="10517136" y="4097338"/>
            <a:ext cx="1009892"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TV Content </a:t>
            </a:r>
            <a:br>
              <a:rPr lang="en-US" altLang="en-US" sz="1200" dirty="0"/>
            </a:br>
            <a:r>
              <a:rPr lang="en-US" altLang="en-US" sz="1200" dirty="0"/>
              <a:t>Manager</a:t>
            </a:r>
          </a:p>
        </p:txBody>
      </p:sp>
      <p:grpSp>
        <p:nvGrpSpPr>
          <p:cNvPr id="724" name="Grafik 11">
            <a:extLst>
              <a:ext uri="{FF2B5EF4-FFF2-40B4-BE49-F238E27FC236}">
                <a16:creationId xmlns:a16="http://schemas.microsoft.com/office/drawing/2014/main" id="{AA1D691B-ECD1-1D39-A676-E804AD1076CE}"/>
              </a:ext>
            </a:extLst>
          </p:cNvPr>
          <p:cNvGrpSpPr>
            <a:grpSpLocks noChangeAspect="1"/>
          </p:cNvGrpSpPr>
          <p:nvPr/>
        </p:nvGrpSpPr>
        <p:grpSpPr bwMode="gray">
          <a:xfrm>
            <a:off x="9942167" y="1333208"/>
            <a:ext cx="374400" cy="374400"/>
            <a:chOff x="5843587" y="3176587"/>
            <a:chExt cx="500253" cy="500253"/>
          </a:xfrm>
          <a:solidFill>
            <a:schemeClr val="tx1"/>
          </a:solidFill>
        </p:grpSpPr>
        <p:grpSp>
          <p:nvGrpSpPr>
            <p:cNvPr id="725" name="Grafik 11">
              <a:extLst>
                <a:ext uri="{FF2B5EF4-FFF2-40B4-BE49-F238E27FC236}">
                  <a16:creationId xmlns:a16="http://schemas.microsoft.com/office/drawing/2014/main" id="{A5941B32-7550-78D0-C8B6-932375F78996}"/>
                </a:ext>
              </a:extLst>
            </p:cNvPr>
            <p:cNvGrpSpPr/>
            <p:nvPr/>
          </p:nvGrpSpPr>
          <p:grpSpPr bwMode="gray">
            <a:xfrm>
              <a:off x="6167556" y="3424451"/>
              <a:ext cx="79128" cy="69318"/>
              <a:chOff x="6167556" y="3424451"/>
              <a:chExt cx="79128" cy="69318"/>
            </a:xfrm>
            <a:grpFill/>
          </p:grpSpPr>
          <p:sp>
            <p:nvSpPr>
              <p:cNvPr id="747" name="Grafik 11">
                <a:extLst>
                  <a:ext uri="{FF2B5EF4-FFF2-40B4-BE49-F238E27FC236}">
                    <a16:creationId xmlns:a16="http://schemas.microsoft.com/office/drawing/2014/main" id="{3CA6B989-8FA1-1CFD-C88A-48539883E740}"/>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8" name="Grafik 11">
                <a:extLst>
                  <a:ext uri="{FF2B5EF4-FFF2-40B4-BE49-F238E27FC236}">
                    <a16:creationId xmlns:a16="http://schemas.microsoft.com/office/drawing/2014/main" id="{44D0FE38-789C-A6AD-62CB-468A304B753B}"/>
                  </a:ext>
                </a:extLst>
              </p:cNvPr>
              <p:cNvSpPr/>
              <p:nvPr/>
            </p:nvSpPr>
            <p:spPr bwMode="gray">
              <a:xfrm>
                <a:off x="6167556"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49" name="Grafik 11">
                <a:extLst>
                  <a:ext uri="{FF2B5EF4-FFF2-40B4-BE49-F238E27FC236}">
                    <a16:creationId xmlns:a16="http://schemas.microsoft.com/office/drawing/2014/main" id="{C93CD450-AC29-CF63-A443-B88BA3A0E63E}"/>
                  </a:ext>
                </a:extLst>
              </p:cNvPr>
              <p:cNvSpPr/>
              <p:nvPr/>
            </p:nvSpPr>
            <p:spPr bwMode="gray">
              <a:xfrm>
                <a:off x="616765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26" name="Grafik 11">
              <a:extLst>
                <a:ext uri="{FF2B5EF4-FFF2-40B4-BE49-F238E27FC236}">
                  <a16:creationId xmlns:a16="http://schemas.microsoft.com/office/drawing/2014/main" id="{4D3E30B4-90E6-0FD5-4D21-D07EF12AC2E3}"/>
                </a:ext>
              </a:extLst>
            </p:cNvPr>
            <p:cNvGrpSpPr/>
            <p:nvPr/>
          </p:nvGrpSpPr>
          <p:grpSpPr bwMode="gray">
            <a:xfrm>
              <a:off x="5876067" y="3307865"/>
              <a:ext cx="79057" cy="302490"/>
              <a:chOff x="5876067" y="3307865"/>
              <a:chExt cx="79057" cy="302490"/>
            </a:xfrm>
            <a:grpFill/>
          </p:grpSpPr>
          <p:grpSp>
            <p:nvGrpSpPr>
              <p:cNvPr id="735" name="Grafik 11">
                <a:extLst>
                  <a:ext uri="{FF2B5EF4-FFF2-40B4-BE49-F238E27FC236}">
                    <a16:creationId xmlns:a16="http://schemas.microsoft.com/office/drawing/2014/main" id="{AAEECC0A-90BA-6521-3A48-F3051E1E2ADC}"/>
                  </a:ext>
                </a:extLst>
              </p:cNvPr>
              <p:cNvGrpSpPr/>
              <p:nvPr/>
            </p:nvGrpSpPr>
            <p:grpSpPr bwMode="gray">
              <a:xfrm>
                <a:off x="5876067" y="3424451"/>
                <a:ext cx="79057" cy="69318"/>
                <a:chOff x="5876067" y="3424451"/>
                <a:chExt cx="79057" cy="69318"/>
              </a:xfrm>
              <a:grpFill/>
            </p:grpSpPr>
            <p:sp>
              <p:nvSpPr>
                <p:cNvPr id="744" name="Grafik 11">
                  <a:extLst>
                    <a:ext uri="{FF2B5EF4-FFF2-40B4-BE49-F238E27FC236}">
                      <a16:creationId xmlns:a16="http://schemas.microsoft.com/office/drawing/2014/main" id="{F6250FFA-E0CF-4226-3CE0-73DD795E7E72}"/>
                    </a:ext>
                  </a:extLst>
                </p:cNvPr>
                <p:cNvSpPr/>
                <p:nvPr/>
              </p:nvSpPr>
              <p:spPr bwMode="gray">
                <a:xfrm>
                  <a:off x="587606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5" name="Grafik 11">
                  <a:extLst>
                    <a:ext uri="{FF2B5EF4-FFF2-40B4-BE49-F238E27FC236}">
                      <a16:creationId xmlns:a16="http://schemas.microsoft.com/office/drawing/2014/main" id="{70D65C69-E872-31EF-5A8D-E57F62A105C2}"/>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6" name="Grafik 11">
                  <a:extLst>
                    <a:ext uri="{FF2B5EF4-FFF2-40B4-BE49-F238E27FC236}">
                      <a16:creationId xmlns:a16="http://schemas.microsoft.com/office/drawing/2014/main" id="{06CCA707-4B4A-2016-155F-FBBB0DF4F958}"/>
                    </a:ext>
                  </a:extLst>
                </p:cNvPr>
                <p:cNvSpPr/>
                <p:nvPr/>
              </p:nvSpPr>
              <p:spPr bwMode="gray">
                <a:xfrm>
                  <a:off x="5913333"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6" name="Grafik 11">
                <a:extLst>
                  <a:ext uri="{FF2B5EF4-FFF2-40B4-BE49-F238E27FC236}">
                    <a16:creationId xmlns:a16="http://schemas.microsoft.com/office/drawing/2014/main" id="{E57C992E-A79B-9AFE-E6DA-4843EE5E3A14}"/>
                  </a:ext>
                </a:extLst>
              </p:cNvPr>
              <p:cNvGrpSpPr/>
              <p:nvPr/>
            </p:nvGrpSpPr>
            <p:grpSpPr bwMode="gray">
              <a:xfrm>
                <a:off x="5876067" y="3541132"/>
                <a:ext cx="79057" cy="69222"/>
                <a:chOff x="5876067" y="3541132"/>
                <a:chExt cx="79057" cy="69222"/>
              </a:xfrm>
              <a:grpFill/>
            </p:grpSpPr>
            <p:sp>
              <p:nvSpPr>
                <p:cNvPr id="741" name="Grafik 11">
                  <a:extLst>
                    <a:ext uri="{FF2B5EF4-FFF2-40B4-BE49-F238E27FC236}">
                      <a16:creationId xmlns:a16="http://schemas.microsoft.com/office/drawing/2014/main" id="{CF078D22-1AF3-3AB3-5941-C0D099E1ED07}"/>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2" name="Grafik 11">
                  <a:extLst>
                    <a:ext uri="{FF2B5EF4-FFF2-40B4-BE49-F238E27FC236}">
                      <a16:creationId xmlns:a16="http://schemas.microsoft.com/office/drawing/2014/main" id="{5BC9040F-D8AC-D83B-E360-FCCE0C13BE80}"/>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3" name="Grafik 11">
                  <a:extLst>
                    <a:ext uri="{FF2B5EF4-FFF2-40B4-BE49-F238E27FC236}">
                      <a16:creationId xmlns:a16="http://schemas.microsoft.com/office/drawing/2014/main" id="{BCB40BD3-EEA9-B5F0-F2AB-8AC21C93B9AC}"/>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7" name="Grafik 11">
                <a:extLst>
                  <a:ext uri="{FF2B5EF4-FFF2-40B4-BE49-F238E27FC236}">
                    <a16:creationId xmlns:a16="http://schemas.microsoft.com/office/drawing/2014/main" id="{C88B6C4C-898F-6305-DE90-71CD7D4B5371}"/>
                  </a:ext>
                </a:extLst>
              </p:cNvPr>
              <p:cNvGrpSpPr/>
              <p:nvPr/>
            </p:nvGrpSpPr>
            <p:grpSpPr bwMode="gray">
              <a:xfrm>
                <a:off x="5876067" y="3307865"/>
                <a:ext cx="79057" cy="69318"/>
                <a:chOff x="5876067" y="3307865"/>
                <a:chExt cx="79057" cy="69318"/>
              </a:xfrm>
              <a:grpFill/>
            </p:grpSpPr>
            <p:sp>
              <p:nvSpPr>
                <p:cNvPr id="738" name="Grafik 11">
                  <a:extLst>
                    <a:ext uri="{FF2B5EF4-FFF2-40B4-BE49-F238E27FC236}">
                      <a16:creationId xmlns:a16="http://schemas.microsoft.com/office/drawing/2014/main" id="{DBDCC9EE-32D1-F410-0058-B2519C51A2C0}"/>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39" name="Grafik 11">
                  <a:extLst>
                    <a:ext uri="{FF2B5EF4-FFF2-40B4-BE49-F238E27FC236}">
                      <a16:creationId xmlns:a16="http://schemas.microsoft.com/office/drawing/2014/main" id="{D615D34F-82BD-E7EA-1047-F527DAAF57A5}"/>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0" name="Grafik 11">
                  <a:extLst>
                    <a:ext uri="{FF2B5EF4-FFF2-40B4-BE49-F238E27FC236}">
                      <a16:creationId xmlns:a16="http://schemas.microsoft.com/office/drawing/2014/main" id="{608647F4-C59B-AD87-C302-589082E8B64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nvGrpSpPr>
            <p:cNvPr id="727" name="Grafik 11">
              <a:extLst>
                <a:ext uri="{FF2B5EF4-FFF2-40B4-BE49-F238E27FC236}">
                  <a16:creationId xmlns:a16="http://schemas.microsoft.com/office/drawing/2014/main" id="{6BA74FFF-B35A-8615-3CC5-B48BE836BBC2}"/>
                </a:ext>
              </a:extLst>
            </p:cNvPr>
            <p:cNvGrpSpPr/>
            <p:nvPr/>
          </p:nvGrpSpPr>
          <p:grpSpPr bwMode="gray">
            <a:xfrm>
              <a:off x="5989414" y="3387184"/>
              <a:ext cx="143827" cy="143922"/>
              <a:chOff x="5989414" y="3387184"/>
              <a:chExt cx="143827" cy="143922"/>
            </a:xfrm>
            <a:grpFill/>
          </p:grpSpPr>
          <p:sp>
            <p:nvSpPr>
              <p:cNvPr id="733" name="Grafik 11">
                <a:extLst>
                  <a:ext uri="{FF2B5EF4-FFF2-40B4-BE49-F238E27FC236}">
                    <a16:creationId xmlns:a16="http://schemas.microsoft.com/office/drawing/2014/main" id="{B3E1B0CD-38A0-7D32-F36E-9BE9BBD0E2C0}"/>
                  </a:ext>
                </a:extLst>
              </p:cNvPr>
              <p:cNvSpPr/>
              <p:nvPr/>
            </p:nvSpPr>
            <p:spPr bwMode="gray">
              <a:xfrm>
                <a:off x="5989414" y="3387184"/>
                <a:ext cx="143827" cy="79057"/>
              </a:xfrm>
              <a:custGeom>
                <a:avLst/>
                <a:gdLst>
                  <a:gd name="connsiteX0" fmla="*/ 71914 w 143827"/>
                  <a:gd name="connsiteY0" fmla="*/ 79057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7 h 79057"/>
                  <a:gd name="connsiteX5" fmla="*/ 71914 w 143827"/>
                  <a:gd name="connsiteY5" fmla="*/ 14288 h 79057"/>
                  <a:gd name="connsiteX6" fmla="*/ 14287 w 143827"/>
                  <a:gd name="connsiteY6" fmla="*/ 39529 h 79057"/>
                  <a:gd name="connsiteX7" fmla="*/ 71914 w 143827"/>
                  <a:gd name="connsiteY7" fmla="*/ 64770 h 79057"/>
                  <a:gd name="connsiteX8" fmla="*/ 129540 w 143827"/>
                  <a:gd name="connsiteY8" fmla="*/ 39529 h 79057"/>
                  <a:gd name="connsiteX9" fmla="*/ 71914 w 14382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7"/>
                    </a:moveTo>
                    <a:cubicBezTo>
                      <a:pt x="31528" y="79057"/>
                      <a:pt x="0" y="61722"/>
                      <a:pt x="0" y="39529"/>
                    </a:cubicBezTo>
                    <a:cubicBezTo>
                      <a:pt x="0" y="17335"/>
                      <a:pt x="31623" y="0"/>
                      <a:pt x="71914" y="0"/>
                    </a:cubicBezTo>
                    <a:cubicBezTo>
                      <a:pt x="112205" y="0"/>
                      <a:pt x="143828" y="17335"/>
                      <a:pt x="143828" y="39529"/>
                    </a:cubicBezTo>
                    <a:cubicBezTo>
                      <a:pt x="143828" y="61722"/>
                      <a:pt x="112205" y="79057"/>
                      <a:pt x="71914" y="79057"/>
                    </a:cubicBezTo>
                    <a:close/>
                    <a:moveTo>
                      <a:pt x="71914" y="14288"/>
                    </a:moveTo>
                    <a:cubicBezTo>
                      <a:pt x="37910" y="14288"/>
                      <a:pt x="14287" y="27622"/>
                      <a:pt x="14287" y="39529"/>
                    </a:cubicBezTo>
                    <a:cubicBezTo>
                      <a:pt x="14287" y="51435"/>
                      <a:pt x="38005" y="64770"/>
                      <a:pt x="71914" y="64770"/>
                    </a:cubicBezTo>
                    <a:cubicBezTo>
                      <a:pt x="105823" y="64770"/>
                      <a:pt x="129540" y="51435"/>
                      <a:pt x="129540" y="39529"/>
                    </a:cubicBezTo>
                    <a:cubicBezTo>
                      <a:pt x="129540" y="27622"/>
                      <a:pt x="105918" y="14288"/>
                      <a:pt x="71914" y="14288"/>
                    </a:cubicBezTo>
                    <a:close/>
                  </a:path>
                </a:pathLst>
              </a:custGeom>
              <a:grpFill/>
              <a:ln w="9525" cap="flat">
                <a:noFill/>
                <a:prstDash val="solid"/>
                <a:miter/>
              </a:ln>
            </p:spPr>
            <p:txBody>
              <a:bodyPr lIns="0" tIns="0" rIns="0" bIns="0" rtlCol="0" anchor="ctr"/>
              <a:lstStyle/>
              <a:p>
                <a:endParaRPr lang="en-US"/>
              </a:p>
            </p:txBody>
          </p:sp>
          <p:sp>
            <p:nvSpPr>
              <p:cNvPr id="734" name="Grafik 11">
                <a:extLst>
                  <a:ext uri="{FF2B5EF4-FFF2-40B4-BE49-F238E27FC236}">
                    <a16:creationId xmlns:a16="http://schemas.microsoft.com/office/drawing/2014/main" id="{A46E45DF-BCF4-1211-9FC4-89C422971351}"/>
                  </a:ext>
                </a:extLst>
              </p:cNvPr>
              <p:cNvSpPr/>
              <p:nvPr/>
            </p:nvSpPr>
            <p:spPr bwMode="gray">
              <a:xfrm>
                <a:off x="5989414" y="3419665"/>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7 w 143827"/>
                  <a:gd name="connsiteY4" fmla="*/ 7144 h 111442"/>
                  <a:gd name="connsiteX5" fmla="*/ 14287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8" y="0"/>
                      <a:pt x="7144" y="0"/>
                    </a:cubicBezTo>
                    <a:cubicBezTo>
                      <a:pt x="11049" y="0"/>
                      <a:pt x="14287" y="3239"/>
                      <a:pt x="14287" y="7144"/>
                    </a:cubicBezTo>
                    <a:lnTo>
                      <a:pt x="14287" y="71914"/>
                    </a:lnTo>
                    <a:cubicBezTo>
                      <a:pt x="14287"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828" y="94012"/>
                      <a:pt x="112205" y="111443"/>
                      <a:pt x="71914" y="111443"/>
                    </a:cubicBezTo>
                    <a:close/>
                  </a:path>
                </a:pathLst>
              </a:custGeom>
              <a:grpFill/>
              <a:ln w="9525" cap="flat">
                <a:noFill/>
                <a:prstDash val="solid"/>
                <a:miter/>
              </a:ln>
            </p:spPr>
            <p:txBody>
              <a:bodyPr lIns="0" tIns="0" rIns="0" bIns="0" rtlCol="0" anchor="ctr"/>
              <a:lstStyle/>
              <a:p>
                <a:endParaRPr lang="en-US"/>
              </a:p>
            </p:txBody>
          </p:sp>
        </p:grpSp>
        <p:sp>
          <p:nvSpPr>
            <p:cNvPr id="728" name="Grafik 11">
              <a:extLst>
                <a:ext uri="{FF2B5EF4-FFF2-40B4-BE49-F238E27FC236}">
                  <a16:creationId xmlns:a16="http://schemas.microsoft.com/office/drawing/2014/main" id="{E853D196-D149-B557-3C5E-7BEC9FFBDE2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29" name="Grafik 11">
              <a:extLst>
                <a:ext uri="{FF2B5EF4-FFF2-40B4-BE49-F238E27FC236}">
                  <a16:creationId xmlns:a16="http://schemas.microsoft.com/office/drawing/2014/main" id="{994F10B0-9402-4C81-1800-268414515B1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30" name="Grafik 11">
              <a:extLst>
                <a:ext uri="{FF2B5EF4-FFF2-40B4-BE49-F238E27FC236}">
                  <a16:creationId xmlns:a16="http://schemas.microsoft.com/office/drawing/2014/main" id="{7A903807-5FFE-3033-8FF7-9D7E5116D39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1" name="Grafik 11">
              <a:extLst>
                <a:ext uri="{FF2B5EF4-FFF2-40B4-BE49-F238E27FC236}">
                  <a16:creationId xmlns:a16="http://schemas.microsoft.com/office/drawing/2014/main" id="{2AEBA144-84D1-C4F3-2864-F303D67A3F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2" name="Grafik 11">
              <a:extLst>
                <a:ext uri="{FF2B5EF4-FFF2-40B4-BE49-F238E27FC236}">
                  <a16:creationId xmlns:a16="http://schemas.microsoft.com/office/drawing/2014/main" id="{9A66F981-3251-8DF1-A7D4-ED86D6D9B66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750" name="Grafik 5">
            <a:extLst>
              <a:ext uri="{FF2B5EF4-FFF2-40B4-BE49-F238E27FC236}">
                <a16:creationId xmlns:a16="http://schemas.microsoft.com/office/drawing/2014/main" id="{2E169C90-C55D-7A9B-B889-651791D74790}"/>
              </a:ext>
            </a:extLst>
          </p:cNvPr>
          <p:cNvGrpSpPr>
            <a:grpSpLocks noChangeAspect="1"/>
          </p:cNvGrpSpPr>
          <p:nvPr/>
        </p:nvGrpSpPr>
        <p:grpSpPr bwMode="gray">
          <a:xfrm>
            <a:off x="9942167" y="2942096"/>
            <a:ext cx="374400" cy="374400"/>
            <a:chOff x="5843587" y="3176587"/>
            <a:chExt cx="500253" cy="500253"/>
          </a:xfrm>
          <a:solidFill>
            <a:schemeClr val="tx1"/>
          </a:solidFill>
        </p:grpSpPr>
        <p:sp>
          <p:nvSpPr>
            <p:cNvPr id="751" name="Grafik 5">
              <a:extLst>
                <a:ext uri="{FF2B5EF4-FFF2-40B4-BE49-F238E27FC236}">
                  <a16:creationId xmlns:a16="http://schemas.microsoft.com/office/drawing/2014/main" id="{40FD1587-A835-2614-576A-69B8D0FE41F7}"/>
                </a:ext>
              </a:extLst>
            </p:cNvPr>
            <p:cNvSpPr/>
            <p:nvPr/>
          </p:nvSpPr>
          <p:spPr bwMode="gray">
            <a:xfrm>
              <a:off x="6001797" y="3354954"/>
              <a:ext cx="118871" cy="208537"/>
            </a:xfrm>
            <a:custGeom>
              <a:avLst/>
              <a:gdLst>
                <a:gd name="connsiteX0" fmla="*/ 25813 w 118871"/>
                <a:gd name="connsiteY0" fmla="*/ 208538 h 208537"/>
                <a:gd name="connsiteX1" fmla="*/ 10858 w 118871"/>
                <a:gd name="connsiteY1" fmla="*/ 203680 h 208537"/>
                <a:gd name="connsiteX2" fmla="*/ 0 w 118871"/>
                <a:gd name="connsiteY2" fmla="*/ 182535 h 208537"/>
                <a:gd name="connsiteX3" fmla="*/ 15716 w 118871"/>
                <a:gd name="connsiteY3" fmla="*/ 160532 h 208537"/>
                <a:gd name="connsiteX4" fmla="*/ 39529 w 118871"/>
                <a:gd name="connsiteY4" fmla="*/ 152531 h 208537"/>
                <a:gd name="connsiteX5" fmla="*/ 44863 w 118871"/>
                <a:gd name="connsiteY5" fmla="*/ 145101 h 208537"/>
                <a:gd name="connsiteX6" fmla="*/ 44863 w 118871"/>
                <a:gd name="connsiteY6" fmla="*/ 145006 h 208537"/>
                <a:gd name="connsiteX7" fmla="*/ 44863 w 118871"/>
                <a:gd name="connsiteY7" fmla="*/ 145006 h 208537"/>
                <a:gd name="connsiteX8" fmla="*/ 44863 w 118871"/>
                <a:gd name="connsiteY8" fmla="*/ 88047 h 208537"/>
                <a:gd name="connsiteX9" fmla="*/ 44863 w 118871"/>
                <a:gd name="connsiteY9" fmla="*/ 88047 h 208537"/>
                <a:gd name="connsiteX10" fmla="*/ 44863 w 118871"/>
                <a:gd name="connsiteY10" fmla="*/ 69663 h 208537"/>
                <a:gd name="connsiteX11" fmla="*/ 44863 w 118871"/>
                <a:gd name="connsiteY11" fmla="*/ 69568 h 208537"/>
                <a:gd name="connsiteX12" fmla="*/ 44863 w 118871"/>
                <a:gd name="connsiteY12" fmla="*/ 27658 h 208537"/>
                <a:gd name="connsiteX13" fmla="*/ 55816 w 118871"/>
                <a:gd name="connsiteY13" fmla="*/ 13466 h 208537"/>
                <a:gd name="connsiteX14" fmla="*/ 106490 w 118871"/>
                <a:gd name="connsiteY14" fmla="*/ 321 h 208537"/>
                <a:gd name="connsiteX15" fmla="*/ 114014 w 118871"/>
                <a:gd name="connsiteY15" fmla="*/ 1369 h 208537"/>
                <a:gd name="connsiteX16" fmla="*/ 118586 w 118871"/>
                <a:gd name="connsiteY16" fmla="*/ 7465 h 208537"/>
                <a:gd name="connsiteX17" fmla="*/ 118872 w 118871"/>
                <a:gd name="connsiteY17" fmla="*/ 9942 h 208537"/>
                <a:gd name="connsiteX18" fmla="*/ 118872 w 118871"/>
                <a:gd name="connsiteY18" fmla="*/ 36897 h 208537"/>
                <a:gd name="connsiteX19" fmla="*/ 107823 w 118871"/>
                <a:gd name="connsiteY19" fmla="*/ 51185 h 208537"/>
                <a:gd name="connsiteX20" fmla="*/ 64960 w 118871"/>
                <a:gd name="connsiteY20" fmla="*/ 62043 h 208537"/>
                <a:gd name="connsiteX21" fmla="*/ 59245 w 118871"/>
                <a:gd name="connsiteY21" fmla="*/ 68044 h 208537"/>
                <a:gd name="connsiteX22" fmla="*/ 59055 w 118871"/>
                <a:gd name="connsiteY22" fmla="*/ 145197 h 208537"/>
                <a:gd name="connsiteX23" fmla="*/ 59055 w 118871"/>
                <a:gd name="connsiteY23" fmla="*/ 145292 h 208537"/>
                <a:gd name="connsiteX24" fmla="*/ 59055 w 118871"/>
                <a:gd name="connsiteY24" fmla="*/ 182916 h 208537"/>
                <a:gd name="connsiteX25" fmla="*/ 44005 w 118871"/>
                <a:gd name="connsiteY25" fmla="*/ 203966 h 208537"/>
                <a:gd name="connsiteX26" fmla="*/ 34004 w 118871"/>
                <a:gd name="connsiteY26" fmla="*/ 207395 h 208537"/>
                <a:gd name="connsiteX27" fmla="*/ 25813 w 118871"/>
                <a:gd name="connsiteY27" fmla="*/ 208538 h 208537"/>
                <a:gd name="connsiteX28" fmla="*/ 44958 w 118871"/>
                <a:gd name="connsiteY28" fmla="*/ 165771 h 208537"/>
                <a:gd name="connsiteX29" fmla="*/ 44196 w 118871"/>
                <a:gd name="connsiteY29" fmla="*/ 166056 h 208537"/>
                <a:gd name="connsiteX30" fmla="*/ 20383 w 118871"/>
                <a:gd name="connsiteY30" fmla="*/ 174057 h 208537"/>
                <a:gd name="connsiteX31" fmla="*/ 14383 w 118871"/>
                <a:gd name="connsiteY31" fmla="*/ 182439 h 208537"/>
                <a:gd name="connsiteX32" fmla="*/ 19240 w 118871"/>
                <a:gd name="connsiteY32" fmla="*/ 192060 h 208537"/>
                <a:gd name="connsiteX33" fmla="*/ 29527 w 118871"/>
                <a:gd name="connsiteY33" fmla="*/ 193584 h 208537"/>
                <a:gd name="connsiteX34" fmla="*/ 39529 w 118871"/>
                <a:gd name="connsiteY34" fmla="*/ 190155 h 208537"/>
                <a:gd name="connsiteX35" fmla="*/ 44863 w 118871"/>
                <a:gd name="connsiteY35" fmla="*/ 182630 h 208537"/>
                <a:gd name="connsiteX36" fmla="*/ 44863 w 118871"/>
                <a:gd name="connsiteY36" fmla="*/ 165771 h 208537"/>
                <a:gd name="connsiteX37" fmla="*/ 104680 w 118871"/>
                <a:gd name="connsiteY37" fmla="*/ 15371 h 208537"/>
                <a:gd name="connsiteX38" fmla="*/ 59531 w 118871"/>
                <a:gd name="connsiteY38" fmla="*/ 27087 h 208537"/>
                <a:gd name="connsiteX39" fmla="*/ 59436 w 118871"/>
                <a:gd name="connsiteY39" fmla="*/ 48613 h 208537"/>
                <a:gd name="connsiteX40" fmla="*/ 61627 w 118871"/>
                <a:gd name="connsiteY40" fmla="*/ 47946 h 208537"/>
                <a:gd name="connsiteX41" fmla="*/ 104489 w 118871"/>
                <a:gd name="connsiteY41" fmla="*/ 37088 h 208537"/>
                <a:gd name="connsiteX42" fmla="*/ 104680 w 118871"/>
                <a:gd name="connsiteY42" fmla="*/ 15371 h 2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8871" h="208537">
                  <a:moveTo>
                    <a:pt x="25813" y="208538"/>
                  </a:moveTo>
                  <a:cubicBezTo>
                    <a:pt x="20574" y="208538"/>
                    <a:pt x="15335" y="206919"/>
                    <a:pt x="10858" y="203680"/>
                  </a:cubicBezTo>
                  <a:cubicBezTo>
                    <a:pt x="4001" y="198727"/>
                    <a:pt x="0" y="191012"/>
                    <a:pt x="0" y="182535"/>
                  </a:cubicBezTo>
                  <a:cubicBezTo>
                    <a:pt x="0" y="172629"/>
                    <a:pt x="6286" y="163770"/>
                    <a:pt x="15716" y="160532"/>
                  </a:cubicBezTo>
                  <a:lnTo>
                    <a:pt x="39529" y="152531"/>
                  </a:lnTo>
                  <a:cubicBezTo>
                    <a:pt x="42672" y="151483"/>
                    <a:pt x="44863" y="148435"/>
                    <a:pt x="44863" y="145101"/>
                  </a:cubicBezTo>
                  <a:lnTo>
                    <a:pt x="44863" y="145006"/>
                  </a:lnTo>
                  <a:cubicBezTo>
                    <a:pt x="44863" y="145006"/>
                    <a:pt x="44863" y="145006"/>
                    <a:pt x="44863" y="145006"/>
                  </a:cubicBezTo>
                  <a:lnTo>
                    <a:pt x="44863" y="88047"/>
                  </a:lnTo>
                  <a:cubicBezTo>
                    <a:pt x="44863" y="88047"/>
                    <a:pt x="44863" y="88047"/>
                    <a:pt x="44863" y="88047"/>
                  </a:cubicBezTo>
                  <a:lnTo>
                    <a:pt x="44863" y="69663"/>
                  </a:lnTo>
                  <a:cubicBezTo>
                    <a:pt x="44863" y="69663"/>
                    <a:pt x="44863" y="69568"/>
                    <a:pt x="44863" y="69568"/>
                  </a:cubicBezTo>
                  <a:lnTo>
                    <a:pt x="44863" y="27658"/>
                  </a:lnTo>
                  <a:cubicBezTo>
                    <a:pt x="44863" y="20991"/>
                    <a:pt x="49340" y="15180"/>
                    <a:pt x="55816" y="13466"/>
                  </a:cubicBezTo>
                  <a:lnTo>
                    <a:pt x="106490" y="321"/>
                  </a:lnTo>
                  <a:cubicBezTo>
                    <a:pt x="109061" y="-345"/>
                    <a:pt x="111728" y="36"/>
                    <a:pt x="114014" y="1369"/>
                  </a:cubicBezTo>
                  <a:cubicBezTo>
                    <a:pt x="116300" y="2703"/>
                    <a:pt x="117919" y="4893"/>
                    <a:pt x="118586" y="7465"/>
                  </a:cubicBezTo>
                  <a:cubicBezTo>
                    <a:pt x="118777" y="8037"/>
                    <a:pt x="118872" y="9370"/>
                    <a:pt x="118872" y="9942"/>
                  </a:cubicBezTo>
                  <a:lnTo>
                    <a:pt x="118872" y="36897"/>
                  </a:lnTo>
                  <a:cubicBezTo>
                    <a:pt x="118872" y="43565"/>
                    <a:pt x="114395" y="49470"/>
                    <a:pt x="107823" y="51185"/>
                  </a:cubicBezTo>
                  <a:lnTo>
                    <a:pt x="64960" y="62043"/>
                  </a:lnTo>
                  <a:cubicBezTo>
                    <a:pt x="62008" y="62805"/>
                    <a:pt x="59817" y="65091"/>
                    <a:pt x="59245" y="68044"/>
                  </a:cubicBezTo>
                  <a:lnTo>
                    <a:pt x="59055" y="145197"/>
                  </a:lnTo>
                  <a:cubicBezTo>
                    <a:pt x="59055" y="145197"/>
                    <a:pt x="59055" y="145292"/>
                    <a:pt x="59055" y="145292"/>
                  </a:cubicBezTo>
                  <a:lnTo>
                    <a:pt x="59055" y="182916"/>
                  </a:lnTo>
                  <a:cubicBezTo>
                    <a:pt x="59055" y="192441"/>
                    <a:pt x="53054" y="200918"/>
                    <a:pt x="44005" y="203966"/>
                  </a:cubicBezTo>
                  <a:lnTo>
                    <a:pt x="34004" y="207395"/>
                  </a:lnTo>
                  <a:cubicBezTo>
                    <a:pt x="31337" y="208062"/>
                    <a:pt x="28575" y="208538"/>
                    <a:pt x="25813" y="208538"/>
                  </a:cubicBezTo>
                  <a:close/>
                  <a:moveTo>
                    <a:pt x="44958" y="165771"/>
                  </a:moveTo>
                  <a:cubicBezTo>
                    <a:pt x="44672" y="165866"/>
                    <a:pt x="44482" y="165961"/>
                    <a:pt x="44196" y="166056"/>
                  </a:cubicBezTo>
                  <a:lnTo>
                    <a:pt x="20383" y="174057"/>
                  </a:lnTo>
                  <a:cubicBezTo>
                    <a:pt x="16764" y="175296"/>
                    <a:pt x="14383" y="178629"/>
                    <a:pt x="14383" y="182439"/>
                  </a:cubicBezTo>
                  <a:cubicBezTo>
                    <a:pt x="14383" y="186345"/>
                    <a:pt x="16192" y="189774"/>
                    <a:pt x="19240" y="192060"/>
                  </a:cubicBezTo>
                  <a:cubicBezTo>
                    <a:pt x="22289" y="194250"/>
                    <a:pt x="26003" y="194822"/>
                    <a:pt x="29527" y="193584"/>
                  </a:cubicBezTo>
                  <a:lnTo>
                    <a:pt x="39529" y="190155"/>
                  </a:lnTo>
                  <a:cubicBezTo>
                    <a:pt x="42767" y="189107"/>
                    <a:pt x="44863" y="186059"/>
                    <a:pt x="44863" y="182630"/>
                  </a:cubicBezTo>
                  <a:lnTo>
                    <a:pt x="44863" y="165771"/>
                  </a:lnTo>
                  <a:close/>
                  <a:moveTo>
                    <a:pt x="104680" y="15371"/>
                  </a:moveTo>
                  <a:lnTo>
                    <a:pt x="59531" y="27087"/>
                  </a:lnTo>
                  <a:lnTo>
                    <a:pt x="59436" y="48613"/>
                  </a:lnTo>
                  <a:cubicBezTo>
                    <a:pt x="60103" y="48327"/>
                    <a:pt x="60865" y="48137"/>
                    <a:pt x="61627" y="47946"/>
                  </a:cubicBezTo>
                  <a:lnTo>
                    <a:pt x="104489" y="37088"/>
                  </a:lnTo>
                  <a:lnTo>
                    <a:pt x="104680" y="15371"/>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CAC81985-CBEE-9EE0-7AD2-056A0E8FA4A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53" name="Grafik 5">
              <a:extLst>
                <a:ext uri="{FF2B5EF4-FFF2-40B4-BE49-F238E27FC236}">
                  <a16:creationId xmlns:a16="http://schemas.microsoft.com/office/drawing/2014/main" id="{61AA094B-039A-EC29-167A-841EA00AF96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D898B47F-7C66-D5C4-6D5B-661BC387A49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F238E532-C890-2235-961C-F089E5A8514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BADEC1DB-75A4-D7D2-F5FA-8928F5B4A65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57" name="Grafik 5">
              <a:extLst>
                <a:ext uri="{FF2B5EF4-FFF2-40B4-BE49-F238E27FC236}">
                  <a16:creationId xmlns:a16="http://schemas.microsoft.com/office/drawing/2014/main" id="{AAB6857F-C9BC-E25E-4AA1-5FB81104FA9B}"/>
                </a:ext>
              </a:extLst>
            </p:cNvPr>
            <p:cNvGrpSpPr/>
            <p:nvPr/>
          </p:nvGrpSpPr>
          <p:grpSpPr bwMode="gray">
            <a:xfrm>
              <a:off x="6167627" y="3307865"/>
              <a:ext cx="79057" cy="302490"/>
              <a:chOff x="6167627" y="3307865"/>
              <a:chExt cx="79057" cy="302490"/>
            </a:xfrm>
            <a:grpFill/>
          </p:grpSpPr>
          <p:grpSp>
            <p:nvGrpSpPr>
              <p:cNvPr id="762" name="Grafik 5">
                <a:extLst>
                  <a:ext uri="{FF2B5EF4-FFF2-40B4-BE49-F238E27FC236}">
                    <a16:creationId xmlns:a16="http://schemas.microsoft.com/office/drawing/2014/main" id="{E19A1B03-265F-C3A9-FB9B-D4437B756661}"/>
                  </a:ext>
                </a:extLst>
              </p:cNvPr>
              <p:cNvGrpSpPr/>
              <p:nvPr/>
            </p:nvGrpSpPr>
            <p:grpSpPr bwMode="gray">
              <a:xfrm>
                <a:off x="6167627" y="3424451"/>
                <a:ext cx="79057" cy="69318"/>
                <a:chOff x="6167627" y="3424451"/>
                <a:chExt cx="79057" cy="69318"/>
              </a:xfrm>
              <a:grpFill/>
            </p:grpSpPr>
            <p:sp>
              <p:nvSpPr>
                <p:cNvPr id="771" name="Grafik 5">
                  <a:extLst>
                    <a:ext uri="{FF2B5EF4-FFF2-40B4-BE49-F238E27FC236}">
                      <a16:creationId xmlns:a16="http://schemas.microsoft.com/office/drawing/2014/main" id="{CF309667-1077-48CE-D2A5-188F3C6FEC6E}"/>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72" name="Grafik 5">
                  <a:extLst>
                    <a:ext uri="{FF2B5EF4-FFF2-40B4-BE49-F238E27FC236}">
                      <a16:creationId xmlns:a16="http://schemas.microsoft.com/office/drawing/2014/main" id="{91A81D47-8DDA-6084-FC04-37D48F08331F}"/>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3" name="Grafik 5">
                  <a:extLst>
                    <a:ext uri="{FF2B5EF4-FFF2-40B4-BE49-F238E27FC236}">
                      <a16:creationId xmlns:a16="http://schemas.microsoft.com/office/drawing/2014/main" id="{0B39CA6C-70E9-288D-0CEA-D0A4ABD2837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3" name="Grafik 5">
                <a:extLst>
                  <a:ext uri="{FF2B5EF4-FFF2-40B4-BE49-F238E27FC236}">
                    <a16:creationId xmlns:a16="http://schemas.microsoft.com/office/drawing/2014/main" id="{65DCABE2-6D3F-BE04-F550-8F9DD3038C35}"/>
                  </a:ext>
                </a:extLst>
              </p:cNvPr>
              <p:cNvGrpSpPr/>
              <p:nvPr/>
            </p:nvGrpSpPr>
            <p:grpSpPr bwMode="gray">
              <a:xfrm>
                <a:off x="6167627" y="3307865"/>
                <a:ext cx="79057" cy="69318"/>
                <a:chOff x="6167627" y="3307865"/>
                <a:chExt cx="79057" cy="69318"/>
              </a:xfrm>
              <a:grpFill/>
            </p:grpSpPr>
            <p:sp>
              <p:nvSpPr>
                <p:cNvPr id="768" name="Grafik 5">
                  <a:extLst>
                    <a:ext uri="{FF2B5EF4-FFF2-40B4-BE49-F238E27FC236}">
                      <a16:creationId xmlns:a16="http://schemas.microsoft.com/office/drawing/2014/main" id="{6D214566-7552-BCA6-D1A0-3A22E1DA15B0}"/>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9" name="Grafik 5">
                  <a:extLst>
                    <a:ext uri="{FF2B5EF4-FFF2-40B4-BE49-F238E27FC236}">
                      <a16:creationId xmlns:a16="http://schemas.microsoft.com/office/drawing/2014/main" id="{50084776-FC21-950E-45B1-01352AFE7DDF}"/>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0" name="Grafik 5">
                  <a:extLst>
                    <a:ext uri="{FF2B5EF4-FFF2-40B4-BE49-F238E27FC236}">
                      <a16:creationId xmlns:a16="http://schemas.microsoft.com/office/drawing/2014/main" id="{68BE4835-D5A0-5931-4328-A7F900FFF8AB}"/>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4" name="Grafik 5">
                <a:extLst>
                  <a:ext uri="{FF2B5EF4-FFF2-40B4-BE49-F238E27FC236}">
                    <a16:creationId xmlns:a16="http://schemas.microsoft.com/office/drawing/2014/main" id="{F1CCEB1D-A56F-05A1-4863-AF3C8939ECF3}"/>
                  </a:ext>
                </a:extLst>
              </p:cNvPr>
              <p:cNvGrpSpPr/>
              <p:nvPr/>
            </p:nvGrpSpPr>
            <p:grpSpPr bwMode="gray">
              <a:xfrm>
                <a:off x="6167627" y="3541132"/>
                <a:ext cx="79057" cy="69222"/>
                <a:chOff x="6167627" y="3541132"/>
                <a:chExt cx="79057" cy="69222"/>
              </a:xfrm>
              <a:grpFill/>
            </p:grpSpPr>
            <p:sp>
              <p:nvSpPr>
                <p:cNvPr id="765" name="Grafik 5">
                  <a:extLst>
                    <a:ext uri="{FF2B5EF4-FFF2-40B4-BE49-F238E27FC236}">
                      <a16:creationId xmlns:a16="http://schemas.microsoft.com/office/drawing/2014/main" id="{79F6316A-64F6-8EC8-58C5-681CFF68549F}"/>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6" name="Grafik 5">
                  <a:extLst>
                    <a:ext uri="{FF2B5EF4-FFF2-40B4-BE49-F238E27FC236}">
                      <a16:creationId xmlns:a16="http://schemas.microsoft.com/office/drawing/2014/main" id="{7CB5FF48-F999-7618-1705-926CD0C03F2A}"/>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67" name="Grafik 5">
                  <a:extLst>
                    <a:ext uri="{FF2B5EF4-FFF2-40B4-BE49-F238E27FC236}">
                      <a16:creationId xmlns:a16="http://schemas.microsoft.com/office/drawing/2014/main" id="{F08D7002-B8DD-74C2-E84E-4F68147B68D3}"/>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58" name="Grafik 5">
              <a:extLst>
                <a:ext uri="{FF2B5EF4-FFF2-40B4-BE49-F238E27FC236}">
                  <a16:creationId xmlns:a16="http://schemas.microsoft.com/office/drawing/2014/main" id="{2967B3E4-F26F-1723-85A9-6D033D5E7543}"/>
                </a:ext>
              </a:extLst>
            </p:cNvPr>
            <p:cNvGrpSpPr/>
            <p:nvPr/>
          </p:nvGrpSpPr>
          <p:grpSpPr bwMode="gray">
            <a:xfrm>
              <a:off x="5875972" y="3424451"/>
              <a:ext cx="79128" cy="69318"/>
              <a:chOff x="5875972" y="3424451"/>
              <a:chExt cx="79128" cy="69318"/>
            </a:xfrm>
            <a:grpFill/>
          </p:grpSpPr>
          <p:sp>
            <p:nvSpPr>
              <p:cNvPr id="759" name="Grafik 5">
                <a:extLst>
                  <a:ext uri="{FF2B5EF4-FFF2-40B4-BE49-F238E27FC236}">
                    <a16:creationId xmlns:a16="http://schemas.microsoft.com/office/drawing/2014/main" id="{2C9D8515-B472-B430-9EA5-CC8B1E616444}"/>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0" name="Grafik 5">
                <a:extLst>
                  <a:ext uri="{FF2B5EF4-FFF2-40B4-BE49-F238E27FC236}">
                    <a16:creationId xmlns:a16="http://schemas.microsoft.com/office/drawing/2014/main" id="{D8B132E5-01B6-C81D-54EC-FBE1CD712EC5}"/>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61" name="Grafik 5">
                <a:extLst>
                  <a:ext uri="{FF2B5EF4-FFF2-40B4-BE49-F238E27FC236}">
                    <a16:creationId xmlns:a16="http://schemas.microsoft.com/office/drawing/2014/main" id="{6722BEED-E6AA-050E-B2D2-3295C5719A2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74" name="Grafik 7">
            <a:extLst>
              <a:ext uri="{FF2B5EF4-FFF2-40B4-BE49-F238E27FC236}">
                <a16:creationId xmlns:a16="http://schemas.microsoft.com/office/drawing/2014/main" id="{5A5F94A7-3E3A-84E2-7986-38B2EE3E26BF}"/>
              </a:ext>
            </a:extLst>
          </p:cNvPr>
          <p:cNvGrpSpPr>
            <a:grpSpLocks noChangeAspect="1"/>
          </p:cNvGrpSpPr>
          <p:nvPr/>
        </p:nvGrpSpPr>
        <p:grpSpPr bwMode="gray">
          <a:xfrm>
            <a:off x="9942167" y="2405800"/>
            <a:ext cx="374400" cy="374400"/>
            <a:chOff x="5843587" y="3176587"/>
            <a:chExt cx="500253" cy="500253"/>
          </a:xfrm>
          <a:solidFill>
            <a:schemeClr val="tx1"/>
          </a:solidFill>
        </p:grpSpPr>
        <p:sp>
          <p:nvSpPr>
            <p:cNvPr id="775" name="Grafik 7">
              <a:extLst>
                <a:ext uri="{FF2B5EF4-FFF2-40B4-BE49-F238E27FC236}">
                  <a16:creationId xmlns:a16="http://schemas.microsoft.com/office/drawing/2014/main" id="{A27E46FD-CC12-5A00-F90C-0348D06C8A4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grpSp>
          <p:nvGrpSpPr>
            <p:cNvPr id="776" name="Grafik 7">
              <a:extLst>
                <a:ext uri="{FF2B5EF4-FFF2-40B4-BE49-F238E27FC236}">
                  <a16:creationId xmlns:a16="http://schemas.microsoft.com/office/drawing/2014/main" id="{F6775E45-06D2-01FC-96F6-0B8F5DEBEEC2}"/>
                </a:ext>
              </a:extLst>
            </p:cNvPr>
            <p:cNvGrpSpPr/>
            <p:nvPr/>
          </p:nvGrpSpPr>
          <p:grpSpPr bwMode="gray">
            <a:xfrm>
              <a:off x="5990652" y="3370992"/>
              <a:ext cx="141446" cy="176307"/>
              <a:chOff x="5990652" y="3370992"/>
              <a:chExt cx="141446" cy="176307"/>
            </a:xfrm>
            <a:grpFill/>
          </p:grpSpPr>
          <p:sp>
            <p:nvSpPr>
              <p:cNvPr id="798" name="Grafik 7">
                <a:extLst>
                  <a:ext uri="{FF2B5EF4-FFF2-40B4-BE49-F238E27FC236}">
                    <a16:creationId xmlns:a16="http://schemas.microsoft.com/office/drawing/2014/main" id="{09F6D6D4-92B0-42FF-FDC8-1A6E5ECCA2E1}"/>
                  </a:ext>
                </a:extLst>
              </p:cNvPr>
              <p:cNvSpPr/>
              <p:nvPr/>
            </p:nvSpPr>
            <p:spPr bwMode="gray">
              <a:xfrm>
                <a:off x="5998082" y="3430809"/>
                <a:ext cx="104013" cy="74104"/>
              </a:xfrm>
              <a:custGeom>
                <a:avLst/>
                <a:gdLst>
                  <a:gd name="connsiteX0" fmla="*/ 96869 w 104013"/>
                  <a:gd name="connsiteY0" fmla="*/ 74105 h 74104"/>
                  <a:gd name="connsiteX1" fmla="*/ 7144 w 104013"/>
                  <a:gd name="connsiteY1" fmla="*/ 74105 h 74104"/>
                  <a:gd name="connsiteX2" fmla="*/ 0 w 104013"/>
                  <a:gd name="connsiteY2" fmla="*/ 66961 h 74104"/>
                  <a:gd name="connsiteX3" fmla="*/ 0 w 104013"/>
                  <a:gd name="connsiteY3" fmla="*/ 7144 h 74104"/>
                  <a:gd name="connsiteX4" fmla="*/ 7144 w 104013"/>
                  <a:gd name="connsiteY4" fmla="*/ 0 h 74104"/>
                  <a:gd name="connsiteX5" fmla="*/ 96869 w 104013"/>
                  <a:gd name="connsiteY5" fmla="*/ 0 h 74104"/>
                  <a:gd name="connsiteX6" fmla="*/ 104013 w 104013"/>
                  <a:gd name="connsiteY6" fmla="*/ 7144 h 74104"/>
                  <a:gd name="connsiteX7" fmla="*/ 104013 w 104013"/>
                  <a:gd name="connsiteY7" fmla="*/ 66961 h 74104"/>
                  <a:gd name="connsiteX8" fmla="*/ 96869 w 104013"/>
                  <a:gd name="connsiteY8" fmla="*/ 74105 h 74104"/>
                  <a:gd name="connsiteX9" fmla="*/ 14288 w 104013"/>
                  <a:gd name="connsiteY9" fmla="*/ 59817 h 74104"/>
                  <a:gd name="connsiteX10" fmla="*/ 89726 w 104013"/>
                  <a:gd name="connsiteY10" fmla="*/ 59817 h 74104"/>
                  <a:gd name="connsiteX11" fmla="*/ 89726 w 104013"/>
                  <a:gd name="connsiteY11" fmla="*/ 14288 h 74104"/>
                  <a:gd name="connsiteX12" fmla="*/ 14288 w 104013"/>
                  <a:gd name="connsiteY12" fmla="*/ 14288 h 74104"/>
                  <a:gd name="connsiteX13" fmla="*/ 14288 w 104013"/>
                  <a:gd name="connsiteY13" fmla="*/ 59817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013" h="74104">
                    <a:moveTo>
                      <a:pt x="96869" y="74105"/>
                    </a:moveTo>
                    <a:lnTo>
                      <a:pt x="7144" y="74105"/>
                    </a:lnTo>
                    <a:cubicBezTo>
                      <a:pt x="3239" y="74105"/>
                      <a:pt x="0" y="70866"/>
                      <a:pt x="0" y="66961"/>
                    </a:cubicBezTo>
                    <a:lnTo>
                      <a:pt x="0" y="7144"/>
                    </a:lnTo>
                    <a:cubicBezTo>
                      <a:pt x="0" y="3239"/>
                      <a:pt x="3239" y="0"/>
                      <a:pt x="7144" y="0"/>
                    </a:cubicBezTo>
                    <a:lnTo>
                      <a:pt x="96869" y="0"/>
                    </a:lnTo>
                    <a:cubicBezTo>
                      <a:pt x="100775" y="0"/>
                      <a:pt x="104013" y="3239"/>
                      <a:pt x="104013" y="7144"/>
                    </a:cubicBezTo>
                    <a:lnTo>
                      <a:pt x="104013" y="66961"/>
                    </a:lnTo>
                    <a:cubicBezTo>
                      <a:pt x="104013" y="70961"/>
                      <a:pt x="100870" y="74105"/>
                      <a:pt x="96869" y="74105"/>
                    </a:cubicBezTo>
                    <a:close/>
                    <a:moveTo>
                      <a:pt x="14288" y="59817"/>
                    </a:moveTo>
                    <a:lnTo>
                      <a:pt x="89726" y="59817"/>
                    </a:lnTo>
                    <a:lnTo>
                      <a:pt x="89726" y="14288"/>
                    </a:lnTo>
                    <a:lnTo>
                      <a:pt x="14288" y="14288"/>
                    </a:lnTo>
                    <a:lnTo>
                      <a:pt x="14288" y="59817"/>
                    </a:lnTo>
                    <a:close/>
                  </a:path>
                </a:pathLst>
              </a:custGeom>
              <a:grpFill/>
              <a:ln w="9525" cap="flat">
                <a:noFill/>
                <a:prstDash val="solid"/>
                <a:miter/>
              </a:ln>
            </p:spPr>
            <p:txBody>
              <a:bodyPr lIns="0" tIns="0" rIns="0" bIns="0" rtlCol="0" anchor="ctr"/>
              <a:lstStyle/>
              <a:p>
                <a:endParaRPr lang="en-US"/>
              </a:p>
            </p:txBody>
          </p:sp>
          <p:sp>
            <p:nvSpPr>
              <p:cNvPr id="799" name="Grafik 7">
                <a:extLst>
                  <a:ext uri="{FF2B5EF4-FFF2-40B4-BE49-F238E27FC236}">
                    <a16:creationId xmlns:a16="http://schemas.microsoft.com/office/drawing/2014/main" id="{B3117D0A-DD97-CD60-F367-DAB3C3E46925}"/>
                  </a:ext>
                </a:extLst>
              </p:cNvPr>
              <p:cNvSpPr/>
              <p:nvPr/>
            </p:nvSpPr>
            <p:spPr bwMode="gray">
              <a:xfrm>
                <a:off x="5990652" y="3370992"/>
                <a:ext cx="119062" cy="74104"/>
              </a:xfrm>
              <a:custGeom>
                <a:avLst/>
                <a:gdLst>
                  <a:gd name="connsiteX0" fmla="*/ 81915 w 119062"/>
                  <a:gd name="connsiteY0" fmla="*/ 74105 h 74104"/>
                  <a:gd name="connsiteX1" fmla="*/ 37052 w 119062"/>
                  <a:gd name="connsiteY1" fmla="*/ 74105 h 74104"/>
                  <a:gd name="connsiteX2" fmla="*/ 0 w 119062"/>
                  <a:gd name="connsiteY2" fmla="*/ 37052 h 74104"/>
                  <a:gd name="connsiteX3" fmla="*/ 37052 w 119062"/>
                  <a:gd name="connsiteY3" fmla="*/ 0 h 74104"/>
                  <a:gd name="connsiteX4" fmla="*/ 59531 w 119062"/>
                  <a:gd name="connsiteY4" fmla="*/ 7715 h 74104"/>
                  <a:gd name="connsiteX5" fmla="*/ 82010 w 119062"/>
                  <a:gd name="connsiteY5" fmla="*/ 0 h 74104"/>
                  <a:gd name="connsiteX6" fmla="*/ 119063 w 119062"/>
                  <a:gd name="connsiteY6" fmla="*/ 37052 h 74104"/>
                  <a:gd name="connsiteX7" fmla="*/ 81915 w 119062"/>
                  <a:gd name="connsiteY7" fmla="*/ 74105 h 74104"/>
                  <a:gd name="connsiteX8" fmla="*/ 37052 w 119062"/>
                  <a:gd name="connsiteY8" fmla="*/ 14288 h 74104"/>
                  <a:gd name="connsiteX9" fmla="*/ 14288 w 119062"/>
                  <a:gd name="connsiteY9" fmla="*/ 37052 h 74104"/>
                  <a:gd name="connsiteX10" fmla="*/ 37052 w 119062"/>
                  <a:gd name="connsiteY10" fmla="*/ 59817 h 74104"/>
                  <a:gd name="connsiteX11" fmla="*/ 81915 w 119062"/>
                  <a:gd name="connsiteY11" fmla="*/ 59817 h 74104"/>
                  <a:gd name="connsiteX12" fmla="*/ 104680 w 119062"/>
                  <a:gd name="connsiteY12" fmla="*/ 37052 h 74104"/>
                  <a:gd name="connsiteX13" fmla="*/ 81915 w 119062"/>
                  <a:gd name="connsiteY13" fmla="*/ 14288 h 74104"/>
                  <a:gd name="connsiteX14" fmla="*/ 64865 w 119062"/>
                  <a:gd name="connsiteY14" fmla="*/ 22193 h 74104"/>
                  <a:gd name="connsiteX15" fmla="*/ 59531 w 119062"/>
                  <a:gd name="connsiteY15" fmla="*/ 24670 h 74104"/>
                  <a:gd name="connsiteX16" fmla="*/ 59531 w 119062"/>
                  <a:gd name="connsiteY16" fmla="*/ 24670 h 74104"/>
                  <a:gd name="connsiteX17" fmla="*/ 54197 w 119062"/>
                  <a:gd name="connsiteY17" fmla="*/ 22193 h 74104"/>
                  <a:gd name="connsiteX18" fmla="*/ 37052 w 119062"/>
                  <a:gd name="connsiteY18" fmla="*/ 14288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062" h="74104">
                    <a:moveTo>
                      <a:pt x="81915" y="74105"/>
                    </a:moveTo>
                    <a:lnTo>
                      <a:pt x="37052" y="74105"/>
                    </a:lnTo>
                    <a:cubicBezTo>
                      <a:pt x="16574" y="74105"/>
                      <a:pt x="0" y="57436"/>
                      <a:pt x="0" y="37052"/>
                    </a:cubicBezTo>
                    <a:cubicBezTo>
                      <a:pt x="0" y="16669"/>
                      <a:pt x="16669" y="0"/>
                      <a:pt x="37052" y="0"/>
                    </a:cubicBezTo>
                    <a:cubicBezTo>
                      <a:pt x="45149" y="0"/>
                      <a:pt x="53054" y="2762"/>
                      <a:pt x="59531" y="7715"/>
                    </a:cubicBezTo>
                    <a:cubicBezTo>
                      <a:pt x="65913" y="2762"/>
                      <a:pt x="73819" y="0"/>
                      <a:pt x="82010" y="0"/>
                    </a:cubicBezTo>
                    <a:cubicBezTo>
                      <a:pt x="102489" y="0"/>
                      <a:pt x="119063" y="16669"/>
                      <a:pt x="119063" y="37052"/>
                    </a:cubicBezTo>
                    <a:cubicBezTo>
                      <a:pt x="119063" y="57436"/>
                      <a:pt x="102299" y="74105"/>
                      <a:pt x="81915" y="74105"/>
                    </a:cubicBezTo>
                    <a:close/>
                    <a:moveTo>
                      <a:pt x="37052" y="14288"/>
                    </a:moveTo>
                    <a:cubicBezTo>
                      <a:pt x="24479" y="14288"/>
                      <a:pt x="14288" y="24479"/>
                      <a:pt x="14288" y="37052"/>
                    </a:cubicBezTo>
                    <a:cubicBezTo>
                      <a:pt x="14288" y="49625"/>
                      <a:pt x="24479" y="59817"/>
                      <a:pt x="37052" y="59817"/>
                    </a:cubicBezTo>
                    <a:lnTo>
                      <a:pt x="81915" y="59817"/>
                    </a:lnTo>
                    <a:cubicBezTo>
                      <a:pt x="94488" y="59817"/>
                      <a:pt x="104680" y="49625"/>
                      <a:pt x="104680" y="37052"/>
                    </a:cubicBezTo>
                    <a:cubicBezTo>
                      <a:pt x="104680" y="24479"/>
                      <a:pt x="94488" y="14288"/>
                      <a:pt x="81915" y="14288"/>
                    </a:cubicBezTo>
                    <a:cubicBezTo>
                      <a:pt x="75438" y="14288"/>
                      <a:pt x="69247" y="17145"/>
                      <a:pt x="64865" y="22193"/>
                    </a:cubicBezTo>
                    <a:cubicBezTo>
                      <a:pt x="63532" y="23717"/>
                      <a:pt x="61532" y="24670"/>
                      <a:pt x="59531" y="24670"/>
                    </a:cubicBezTo>
                    <a:lnTo>
                      <a:pt x="59531" y="24670"/>
                    </a:lnTo>
                    <a:cubicBezTo>
                      <a:pt x="57436" y="24670"/>
                      <a:pt x="55531" y="23813"/>
                      <a:pt x="54197" y="22193"/>
                    </a:cubicBezTo>
                    <a:cubicBezTo>
                      <a:pt x="49625" y="17050"/>
                      <a:pt x="43625" y="14288"/>
                      <a:pt x="37052" y="14288"/>
                    </a:cubicBezTo>
                    <a:close/>
                  </a:path>
                </a:pathLst>
              </a:custGeom>
              <a:grpFill/>
              <a:ln w="9525" cap="flat">
                <a:noFill/>
                <a:prstDash val="solid"/>
                <a:miter/>
              </a:ln>
            </p:spPr>
            <p:txBody>
              <a:bodyPr lIns="0" tIns="0" rIns="0" bIns="0" rtlCol="0" anchor="ctr"/>
              <a:lstStyle/>
              <a:p>
                <a:endParaRPr lang="en-US"/>
              </a:p>
            </p:txBody>
          </p:sp>
          <p:sp>
            <p:nvSpPr>
              <p:cNvPr id="800" name="Grafik 7">
                <a:extLst>
                  <a:ext uri="{FF2B5EF4-FFF2-40B4-BE49-F238E27FC236}">
                    <a16:creationId xmlns:a16="http://schemas.microsoft.com/office/drawing/2014/main" id="{0DFA1AE4-A2F8-0060-BC0E-DA83F95AC68C}"/>
                  </a:ext>
                </a:extLst>
              </p:cNvPr>
              <p:cNvSpPr/>
              <p:nvPr/>
            </p:nvSpPr>
            <p:spPr bwMode="gray">
              <a:xfrm>
                <a:off x="6087903" y="3430679"/>
                <a:ext cx="44196" cy="74234"/>
              </a:xfrm>
              <a:custGeom>
                <a:avLst/>
                <a:gdLst>
                  <a:gd name="connsiteX0" fmla="*/ 37052 w 44196"/>
                  <a:gd name="connsiteY0" fmla="*/ 74234 h 74234"/>
                  <a:gd name="connsiteX1" fmla="*/ 34671 w 44196"/>
                  <a:gd name="connsiteY1" fmla="*/ 73853 h 74234"/>
                  <a:gd name="connsiteX2" fmla="*/ 4763 w 44196"/>
                  <a:gd name="connsiteY2" fmla="*/ 63281 h 74234"/>
                  <a:gd name="connsiteX3" fmla="*/ 0 w 44196"/>
                  <a:gd name="connsiteY3" fmla="*/ 56518 h 74234"/>
                  <a:gd name="connsiteX4" fmla="*/ 0 w 44196"/>
                  <a:gd name="connsiteY4" fmla="*/ 17751 h 74234"/>
                  <a:gd name="connsiteX5" fmla="*/ 4763 w 44196"/>
                  <a:gd name="connsiteY5" fmla="*/ 10988 h 74234"/>
                  <a:gd name="connsiteX6" fmla="*/ 34671 w 44196"/>
                  <a:gd name="connsiteY6" fmla="*/ 416 h 74234"/>
                  <a:gd name="connsiteX7" fmla="*/ 41148 w 44196"/>
                  <a:gd name="connsiteY7" fmla="*/ 1273 h 74234"/>
                  <a:gd name="connsiteX8" fmla="*/ 44196 w 44196"/>
                  <a:gd name="connsiteY8" fmla="*/ 7083 h 74234"/>
                  <a:gd name="connsiteX9" fmla="*/ 44196 w 44196"/>
                  <a:gd name="connsiteY9" fmla="*/ 66900 h 74234"/>
                  <a:gd name="connsiteX10" fmla="*/ 41148 w 44196"/>
                  <a:gd name="connsiteY10" fmla="*/ 72710 h 74234"/>
                  <a:gd name="connsiteX11" fmla="*/ 37052 w 44196"/>
                  <a:gd name="connsiteY11" fmla="*/ 74234 h 74234"/>
                  <a:gd name="connsiteX12" fmla="*/ 14192 w 44196"/>
                  <a:gd name="connsiteY12" fmla="*/ 51565 h 74234"/>
                  <a:gd name="connsiteX13" fmla="*/ 29813 w 44196"/>
                  <a:gd name="connsiteY13" fmla="*/ 57089 h 74234"/>
                  <a:gd name="connsiteX14" fmla="*/ 29813 w 44196"/>
                  <a:gd name="connsiteY14" fmla="*/ 17370 h 74234"/>
                  <a:gd name="connsiteX15" fmla="*/ 14192 w 44196"/>
                  <a:gd name="connsiteY15" fmla="*/ 22895 h 74234"/>
                  <a:gd name="connsiteX16" fmla="*/ 14192 w 44196"/>
                  <a:gd name="connsiteY16" fmla="*/ 51565 h 7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196" h="74234">
                    <a:moveTo>
                      <a:pt x="37052" y="74234"/>
                    </a:moveTo>
                    <a:cubicBezTo>
                      <a:pt x="36290" y="74234"/>
                      <a:pt x="35433" y="74139"/>
                      <a:pt x="34671" y="73853"/>
                    </a:cubicBezTo>
                    <a:lnTo>
                      <a:pt x="4763" y="63281"/>
                    </a:lnTo>
                    <a:cubicBezTo>
                      <a:pt x="1905" y="62233"/>
                      <a:pt x="0" y="59566"/>
                      <a:pt x="0" y="56518"/>
                    </a:cubicBezTo>
                    <a:lnTo>
                      <a:pt x="0" y="17751"/>
                    </a:lnTo>
                    <a:cubicBezTo>
                      <a:pt x="0" y="14703"/>
                      <a:pt x="1905" y="12036"/>
                      <a:pt x="4763" y="10988"/>
                    </a:cubicBezTo>
                    <a:lnTo>
                      <a:pt x="34671" y="416"/>
                    </a:lnTo>
                    <a:cubicBezTo>
                      <a:pt x="36862" y="-346"/>
                      <a:pt x="39243" y="-61"/>
                      <a:pt x="41148" y="1273"/>
                    </a:cubicBezTo>
                    <a:cubicBezTo>
                      <a:pt x="43053" y="2606"/>
                      <a:pt x="44196" y="4797"/>
                      <a:pt x="44196" y="7083"/>
                    </a:cubicBezTo>
                    <a:lnTo>
                      <a:pt x="44196" y="66900"/>
                    </a:lnTo>
                    <a:cubicBezTo>
                      <a:pt x="44196" y="69186"/>
                      <a:pt x="43053" y="71377"/>
                      <a:pt x="41148" y="72710"/>
                    </a:cubicBezTo>
                    <a:cubicBezTo>
                      <a:pt x="39910" y="73853"/>
                      <a:pt x="38481" y="74234"/>
                      <a:pt x="37052" y="74234"/>
                    </a:cubicBezTo>
                    <a:close/>
                    <a:moveTo>
                      <a:pt x="14192" y="51565"/>
                    </a:moveTo>
                    <a:lnTo>
                      <a:pt x="29813" y="57089"/>
                    </a:lnTo>
                    <a:lnTo>
                      <a:pt x="29813" y="17370"/>
                    </a:lnTo>
                    <a:lnTo>
                      <a:pt x="14192" y="22895"/>
                    </a:lnTo>
                    <a:lnTo>
                      <a:pt x="14192" y="51565"/>
                    </a:lnTo>
                    <a:close/>
                  </a:path>
                </a:pathLst>
              </a:custGeom>
              <a:grpFill/>
              <a:ln w="9525" cap="flat">
                <a:noFill/>
                <a:prstDash val="solid"/>
                <a:miter/>
              </a:ln>
            </p:spPr>
            <p:txBody>
              <a:bodyPr lIns="0" tIns="0" rIns="0" bIns="0" rtlCol="0" anchor="ctr"/>
              <a:lstStyle/>
              <a:p>
                <a:endParaRPr lang="en-US"/>
              </a:p>
            </p:txBody>
          </p:sp>
          <p:sp>
            <p:nvSpPr>
              <p:cNvPr id="801" name="Grafik 7">
                <a:extLst>
                  <a:ext uri="{FF2B5EF4-FFF2-40B4-BE49-F238E27FC236}">
                    <a16:creationId xmlns:a16="http://schemas.microsoft.com/office/drawing/2014/main" id="{702ADB45-B80B-6C53-9813-51E67954CF09}"/>
                  </a:ext>
                </a:extLst>
              </p:cNvPr>
              <p:cNvSpPr/>
              <p:nvPr/>
            </p:nvSpPr>
            <p:spPr bwMode="gray">
              <a:xfrm>
                <a:off x="6000678" y="3490816"/>
                <a:ext cx="98821" cy="56483"/>
              </a:xfrm>
              <a:custGeom>
                <a:avLst/>
                <a:gdLst>
                  <a:gd name="connsiteX0" fmla="*/ 91702 w 98821"/>
                  <a:gd name="connsiteY0" fmla="*/ 56483 h 56483"/>
                  <a:gd name="connsiteX1" fmla="*/ 86654 w 98821"/>
                  <a:gd name="connsiteY1" fmla="*/ 54388 h 56483"/>
                  <a:gd name="connsiteX2" fmla="*/ 49411 w 98821"/>
                  <a:gd name="connsiteY2" fmla="*/ 17145 h 56483"/>
                  <a:gd name="connsiteX3" fmla="*/ 12168 w 98821"/>
                  <a:gd name="connsiteY3" fmla="*/ 54388 h 56483"/>
                  <a:gd name="connsiteX4" fmla="*/ 2072 w 98821"/>
                  <a:gd name="connsiteY4" fmla="*/ 54388 h 56483"/>
                  <a:gd name="connsiteX5" fmla="*/ 2072 w 98821"/>
                  <a:gd name="connsiteY5" fmla="*/ 44291 h 56483"/>
                  <a:gd name="connsiteX6" fmla="*/ 44363 w 98821"/>
                  <a:gd name="connsiteY6" fmla="*/ 2000 h 56483"/>
                  <a:gd name="connsiteX7" fmla="*/ 54459 w 98821"/>
                  <a:gd name="connsiteY7" fmla="*/ 2000 h 56483"/>
                  <a:gd name="connsiteX8" fmla="*/ 96750 w 98821"/>
                  <a:gd name="connsiteY8" fmla="*/ 44291 h 56483"/>
                  <a:gd name="connsiteX9" fmla="*/ 96750 w 98821"/>
                  <a:gd name="connsiteY9" fmla="*/ 54388 h 56483"/>
                  <a:gd name="connsiteX10" fmla="*/ 91702 w 98821"/>
                  <a:gd name="connsiteY10" fmla="*/ 56483 h 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821" h="56483">
                    <a:moveTo>
                      <a:pt x="91702" y="56483"/>
                    </a:moveTo>
                    <a:cubicBezTo>
                      <a:pt x="89892" y="56483"/>
                      <a:pt x="88082" y="55816"/>
                      <a:pt x="86654" y="54388"/>
                    </a:cubicBezTo>
                    <a:lnTo>
                      <a:pt x="49411" y="17145"/>
                    </a:lnTo>
                    <a:lnTo>
                      <a:pt x="12168" y="54388"/>
                    </a:lnTo>
                    <a:cubicBezTo>
                      <a:pt x="9406" y="57150"/>
                      <a:pt x="4834" y="57150"/>
                      <a:pt x="2072" y="54388"/>
                    </a:cubicBezTo>
                    <a:cubicBezTo>
                      <a:pt x="-691" y="51626"/>
                      <a:pt x="-691" y="47054"/>
                      <a:pt x="2072" y="44291"/>
                    </a:cubicBezTo>
                    <a:lnTo>
                      <a:pt x="44363" y="2000"/>
                    </a:lnTo>
                    <a:cubicBezTo>
                      <a:pt x="47030" y="-667"/>
                      <a:pt x="51792" y="-667"/>
                      <a:pt x="54459" y="2000"/>
                    </a:cubicBezTo>
                    <a:lnTo>
                      <a:pt x="96750" y="44291"/>
                    </a:lnTo>
                    <a:cubicBezTo>
                      <a:pt x="99512" y="47054"/>
                      <a:pt x="99512" y="51626"/>
                      <a:pt x="96750" y="54388"/>
                    </a:cubicBezTo>
                    <a:cubicBezTo>
                      <a:pt x="95417" y="55721"/>
                      <a:pt x="93607" y="56483"/>
                      <a:pt x="91702" y="56483"/>
                    </a:cubicBezTo>
                    <a:close/>
                  </a:path>
                </a:pathLst>
              </a:custGeom>
              <a:grpFill/>
              <a:ln w="9525" cap="flat">
                <a:noFill/>
                <a:prstDash val="solid"/>
                <a:miter/>
              </a:ln>
            </p:spPr>
            <p:txBody>
              <a:bodyPr lIns="0" tIns="0" rIns="0" bIns="0" rtlCol="0" anchor="ctr"/>
              <a:lstStyle/>
              <a:p>
                <a:endParaRPr lang="en-US"/>
              </a:p>
            </p:txBody>
          </p:sp>
        </p:grpSp>
        <p:sp>
          <p:nvSpPr>
            <p:cNvPr id="777" name="Grafik 7">
              <a:extLst>
                <a:ext uri="{FF2B5EF4-FFF2-40B4-BE49-F238E27FC236}">
                  <a16:creationId xmlns:a16="http://schemas.microsoft.com/office/drawing/2014/main" id="{07B6F81E-208D-5DF3-17FF-BB547C721EE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78" name="Grafik 7">
              <a:extLst>
                <a:ext uri="{FF2B5EF4-FFF2-40B4-BE49-F238E27FC236}">
                  <a16:creationId xmlns:a16="http://schemas.microsoft.com/office/drawing/2014/main" id="{DA1841A9-5FC3-AE95-2DBB-234F9C4DF95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79" name="Grafik 7">
              <a:extLst>
                <a:ext uri="{FF2B5EF4-FFF2-40B4-BE49-F238E27FC236}">
                  <a16:creationId xmlns:a16="http://schemas.microsoft.com/office/drawing/2014/main" id="{48045222-C450-8EE3-53A5-3A8FA495EC1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80" name="Grafik 7">
              <a:extLst>
                <a:ext uri="{FF2B5EF4-FFF2-40B4-BE49-F238E27FC236}">
                  <a16:creationId xmlns:a16="http://schemas.microsoft.com/office/drawing/2014/main" id="{9DA76A58-5F68-57C5-4B3B-0506F96C091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81" name="Grafik 7">
              <a:extLst>
                <a:ext uri="{FF2B5EF4-FFF2-40B4-BE49-F238E27FC236}">
                  <a16:creationId xmlns:a16="http://schemas.microsoft.com/office/drawing/2014/main" id="{AC0AE9D7-2D0A-ACCB-4D16-24BF0AD69196}"/>
                </a:ext>
              </a:extLst>
            </p:cNvPr>
            <p:cNvGrpSpPr/>
            <p:nvPr/>
          </p:nvGrpSpPr>
          <p:grpSpPr bwMode="gray">
            <a:xfrm>
              <a:off x="6167627" y="3307865"/>
              <a:ext cx="79057" cy="302490"/>
              <a:chOff x="6167627" y="3307865"/>
              <a:chExt cx="79057" cy="302490"/>
            </a:xfrm>
            <a:grpFill/>
          </p:grpSpPr>
          <p:grpSp>
            <p:nvGrpSpPr>
              <p:cNvPr id="786" name="Grafik 7">
                <a:extLst>
                  <a:ext uri="{FF2B5EF4-FFF2-40B4-BE49-F238E27FC236}">
                    <a16:creationId xmlns:a16="http://schemas.microsoft.com/office/drawing/2014/main" id="{712AEC3C-5F46-D465-5A58-F7A372D7B1DF}"/>
                  </a:ext>
                </a:extLst>
              </p:cNvPr>
              <p:cNvGrpSpPr/>
              <p:nvPr/>
            </p:nvGrpSpPr>
            <p:grpSpPr bwMode="gray">
              <a:xfrm>
                <a:off x="6167627" y="3424451"/>
                <a:ext cx="79057" cy="69318"/>
                <a:chOff x="6167627" y="3424451"/>
                <a:chExt cx="79057" cy="69318"/>
              </a:xfrm>
              <a:grpFill/>
            </p:grpSpPr>
            <p:sp>
              <p:nvSpPr>
                <p:cNvPr id="795" name="Grafik 7">
                  <a:extLst>
                    <a:ext uri="{FF2B5EF4-FFF2-40B4-BE49-F238E27FC236}">
                      <a16:creationId xmlns:a16="http://schemas.microsoft.com/office/drawing/2014/main" id="{CA0681B3-75B9-31BF-E954-2308E3BC9196}"/>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6" name="Grafik 7">
                  <a:extLst>
                    <a:ext uri="{FF2B5EF4-FFF2-40B4-BE49-F238E27FC236}">
                      <a16:creationId xmlns:a16="http://schemas.microsoft.com/office/drawing/2014/main" id="{E8B0DB14-38AF-AA1A-9733-A9156328819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7" name="Grafik 7">
                  <a:extLst>
                    <a:ext uri="{FF2B5EF4-FFF2-40B4-BE49-F238E27FC236}">
                      <a16:creationId xmlns:a16="http://schemas.microsoft.com/office/drawing/2014/main" id="{CB5C6B53-DE5E-EDA4-1454-5B7B96C910AD}"/>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7" name="Grafik 7">
                <a:extLst>
                  <a:ext uri="{FF2B5EF4-FFF2-40B4-BE49-F238E27FC236}">
                    <a16:creationId xmlns:a16="http://schemas.microsoft.com/office/drawing/2014/main" id="{AFC7815D-4244-18E3-17E2-13F33FCFEEBE}"/>
                  </a:ext>
                </a:extLst>
              </p:cNvPr>
              <p:cNvGrpSpPr/>
              <p:nvPr/>
            </p:nvGrpSpPr>
            <p:grpSpPr bwMode="gray">
              <a:xfrm>
                <a:off x="6167627" y="3307865"/>
                <a:ext cx="79057" cy="69318"/>
                <a:chOff x="6167627" y="3307865"/>
                <a:chExt cx="79057" cy="69318"/>
              </a:xfrm>
              <a:grpFill/>
            </p:grpSpPr>
            <p:sp>
              <p:nvSpPr>
                <p:cNvPr id="792" name="Grafik 7">
                  <a:extLst>
                    <a:ext uri="{FF2B5EF4-FFF2-40B4-BE49-F238E27FC236}">
                      <a16:creationId xmlns:a16="http://schemas.microsoft.com/office/drawing/2014/main" id="{93BA9475-7D0F-46CB-CF0E-479283B46F9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3" name="Grafik 7">
                  <a:extLst>
                    <a:ext uri="{FF2B5EF4-FFF2-40B4-BE49-F238E27FC236}">
                      <a16:creationId xmlns:a16="http://schemas.microsoft.com/office/drawing/2014/main" id="{85B0B0B0-9CFA-6EA6-EA45-9E7DA5FBD100}"/>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4" name="Grafik 7">
                  <a:extLst>
                    <a:ext uri="{FF2B5EF4-FFF2-40B4-BE49-F238E27FC236}">
                      <a16:creationId xmlns:a16="http://schemas.microsoft.com/office/drawing/2014/main" id="{0BA5283C-0C15-3800-F51C-79BF59A2EC04}"/>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8" name="Grafik 7">
                <a:extLst>
                  <a:ext uri="{FF2B5EF4-FFF2-40B4-BE49-F238E27FC236}">
                    <a16:creationId xmlns:a16="http://schemas.microsoft.com/office/drawing/2014/main" id="{0CEEF9E3-CCFD-FE6B-7EE6-3E60774B90AF}"/>
                  </a:ext>
                </a:extLst>
              </p:cNvPr>
              <p:cNvGrpSpPr/>
              <p:nvPr/>
            </p:nvGrpSpPr>
            <p:grpSpPr bwMode="gray">
              <a:xfrm>
                <a:off x="6167627" y="3541132"/>
                <a:ext cx="79057" cy="69222"/>
                <a:chOff x="6167627" y="3541132"/>
                <a:chExt cx="79057" cy="69222"/>
              </a:xfrm>
              <a:grpFill/>
            </p:grpSpPr>
            <p:sp>
              <p:nvSpPr>
                <p:cNvPr id="789" name="Grafik 7">
                  <a:extLst>
                    <a:ext uri="{FF2B5EF4-FFF2-40B4-BE49-F238E27FC236}">
                      <a16:creationId xmlns:a16="http://schemas.microsoft.com/office/drawing/2014/main" id="{35EAD4FC-705F-DAC3-DCE8-174D23474EB5}"/>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0" name="Grafik 7">
                  <a:extLst>
                    <a:ext uri="{FF2B5EF4-FFF2-40B4-BE49-F238E27FC236}">
                      <a16:creationId xmlns:a16="http://schemas.microsoft.com/office/drawing/2014/main" id="{822A29B3-023E-7EBA-136C-DDD3DCD24542}"/>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1" name="Grafik 7">
                  <a:extLst>
                    <a:ext uri="{FF2B5EF4-FFF2-40B4-BE49-F238E27FC236}">
                      <a16:creationId xmlns:a16="http://schemas.microsoft.com/office/drawing/2014/main" id="{1FDA2E27-655F-C1D7-3D0A-C2247F7E7FE8}"/>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82" name="Grafik 7">
              <a:extLst>
                <a:ext uri="{FF2B5EF4-FFF2-40B4-BE49-F238E27FC236}">
                  <a16:creationId xmlns:a16="http://schemas.microsoft.com/office/drawing/2014/main" id="{F7B60524-D3E8-C797-45FB-2D1BB55B7B12}"/>
                </a:ext>
              </a:extLst>
            </p:cNvPr>
            <p:cNvGrpSpPr/>
            <p:nvPr/>
          </p:nvGrpSpPr>
          <p:grpSpPr bwMode="gray">
            <a:xfrm>
              <a:off x="5875972" y="3424451"/>
              <a:ext cx="79128" cy="69318"/>
              <a:chOff x="5875972" y="3424451"/>
              <a:chExt cx="79128" cy="69318"/>
            </a:xfrm>
            <a:grpFill/>
          </p:grpSpPr>
          <p:sp>
            <p:nvSpPr>
              <p:cNvPr id="783" name="Grafik 7">
                <a:extLst>
                  <a:ext uri="{FF2B5EF4-FFF2-40B4-BE49-F238E27FC236}">
                    <a16:creationId xmlns:a16="http://schemas.microsoft.com/office/drawing/2014/main" id="{5C2EC948-9200-C2F1-A7F1-5A434566267B}"/>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84" name="Grafik 7">
                <a:extLst>
                  <a:ext uri="{FF2B5EF4-FFF2-40B4-BE49-F238E27FC236}">
                    <a16:creationId xmlns:a16="http://schemas.microsoft.com/office/drawing/2014/main" id="{212EC64B-5B23-7272-7F52-63B3484C9D68}"/>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85" name="Grafik 7">
                <a:extLst>
                  <a:ext uri="{FF2B5EF4-FFF2-40B4-BE49-F238E27FC236}">
                    <a16:creationId xmlns:a16="http://schemas.microsoft.com/office/drawing/2014/main" id="{51B47EBB-606D-C934-F193-1B31532FC16D}"/>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802" name="Grafik 9">
            <a:extLst>
              <a:ext uri="{FF2B5EF4-FFF2-40B4-BE49-F238E27FC236}">
                <a16:creationId xmlns:a16="http://schemas.microsoft.com/office/drawing/2014/main" id="{8B429BB6-BF03-6253-1C8E-56B406B3B612}"/>
              </a:ext>
            </a:extLst>
          </p:cNvPr>
          <p:cNvGrpSpPr>
            <a:grpSpLocks noChangeAspect="1"/>
          </p:cNvGrpSpPr>
          <p:nvPr/>
        </p:nvGrpSpPr>
        <p:grpSpPr bwMode="gray">
          <a:xfrm>
            <a:off x="9942167" y="1869504"/>
            <a:ext cx="374400" cy="374400"/>
            <a:chOff x="5843587" y="3176587"/>
            <a:chExt cx="500253" cy="500253"/>
          </a:xfrm>
          <a:solidFill>
            <a:schemeClr val="tx1"/>
          </a:solidFill>
        </p:grpSpPr>
        <p:grpSp>
          <p:nvGrpSpPr>
            <p:cNvPr id="803" name="Grafik 9">
              <a:extLst>
                <a:ext uri="{FF2B5EF4-FFF2-40B4-BE49-F238E27FC236}">
                  <a16:creationId xmlns:a16="http://schemas.microsoft.com/office/drawing/2014/main" id="{B9C20477-9E7B-6DD2-2337-21A65DF33D96}"/>
                </a:ext>
              </a:extLst>
            </p:cNvPr>
            <p:cNvGrpSpPr/>
            <p:nvPr/>
          </p:nvGrpSpPr>
          <p:grpSpPr bwMode="gray">
            <a:xfrm>
              <a:off x="5916548" y="3387184"/>
              <a:ext cx="176212" cy="176307"/>
              <a:chOff x="5916548" y="3387184"/>
              <a:chExt cx="176212" cy="176307"/>
            </a:xfrm>
            <a:grpFill/>
          </p:grpSpPr>
          <p:sp>
            <p:nvSpPr>
              <p:cNvPr id="835" name="Grafik 9">
                <a:extLst>
                  <a:ext uri="{FF2B5EF4-FFF2-40B4-BE49-F238E27FC236}">
                    <a16:creationId xmlns:a16="http://schemas.microsoft.com/office/drawing/2014/main" id="{70B9CDE1-9BC9-FB8D-0B0F-6B1BA9150430}"/>
                  </a:ext>
                </a:extLst>
              </p:cNvPr>
              <p:cNvSpPr/>
              <p:nvPr/>
            </p:nvSpPr>
            <p:spPr bwMode="gray">
              <a:xfrm>
                <a:off x="5916548" y="3387184"/>
                <a:ext cx="176212" cy="95250"/>
              </a:xfrm>
              <a:custGeom>
                <a:avLst/>
                <a:gdLst>
                  <a:gd name="connsiteX0" fmla="*/ 88106 w 176212"/>
                  <a:gd name="connsiteY0" fmla="*/ 95250 h 95250"/>
                  <a:gd name="connsiteX1" fmla="*/ 0 w 176212"/>
                  <a:gd name="connsiteY1" fmla="*/ 47625 h 95250"/>
                  <a:gd name="connsiteX2" fmla="*/ 88106 w 176212"/>
                  <a:gd name="connsiteY2" fmla="*/ 0 h 95250"/>
                  <a:gd name="connsiteX3" fmla="*/ 176213 w 176212"/>
                  <a:gd name="connsiteY3" fmla="*/ 47625 h 95250"/>
                  <a:gd name="connsiteX4" fmla="*/ 88106 w 176212"/>
                  <a:gd name="connsiteY4" fmla="*/ 95250 h 95250"/>
                  <a:gd name="connsiteX5" fmla="*/ 88106 w 176212"/>
                  <a:gd name="connsiteY5" fmla="*/ 14288 h 95250"/>
                  <a:gd name="connsiteX6" fmla="*/ 14288 w 176212"/>
                  <a:gd name="connsiteY6" fmla="*/ 47625 h 95250"/>
                  <a:gd name="connsiteX7" fmla="*/ 88106 w 176212"/>
                  <a:gd name="connsiteY7" fmla="*/ 80963 h 95250"/>
                  <a:gd name="connsiteX8" fmla="*/ 161925 w 176212"/>
                  <a:gd name="connsiteY8" fmla="*/ 47625 h 95250"/>
                  <a:gd name="connsiteX9" fmla="*/ 88106 w 176212"/>
                  <a:gd name="connsiteY9" fmla="*/ 1428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95250">
                    <a:moveTo>
                      <a:pt x="88106" y="95250"/>
                    </a:moveTo>
                    <a:cubicBezTo>
                      <a:pt x="38672" y="95250"/>
                      <a:pt x="0" y="74295"/>
                      <a:pt x="0" y="47625"/>
                    </a:cubicBezTo>
                    <a:cubicBezTo>
                      <a:pt x="0" y="20955"/>
                      <a:pt x="38672" y="0"/>
                      <a:pt x="88106" y="0"/>
                    </a:cubicBezTo>
                    <a:cubicBezTo>
                      <a:pt x="137541" y="0"/>
                      <a:pt x="176213" y="20955"/>
                      <a:pt x="176213" y="47625"/>
                    </a:cubicBezTo>
                    <a:cubicBezTo>
                      <a:pt x="176213" y="74295"/>
                      <a:pt x="137541" y="95250"/>
                      <a:pt x="88106" y="95250"/>
                    </a:cubicBezTo>
                    <a:close/>
                    <a:moveTo>
                      <a:pt x="88106" y="14288"/>
                    </a:moveTo>
                    <a:cubicBezTo>
                      <a:pt x="44577" y="14288"/>
                      <a:pt x="14288" y="31909"/>
                      <a:pt x="14288" y="47625"/>
                    </a:cubicBezTo>
                    <a:cubicBezTo>
                      <a:pt x="14288" y="63341"/>
                      <a:pt x="44577" y="80963"/>
                      <a:pt x="88106" y="80963"/>
                    </a:cubicBezTo>
                    <a:cubicBezTo>
                      <a:pt x="131636" y="80963"/>
                      <a:pt x="161925" y="63341"/>
                      <a:pt x="161925" y="47625"/>
                    </a:cubicBezTo>
                    <a:cubicBezTo>
                      <a:pt x="161925" y="31909"/>
                      <a:pt x="131636" y="14288"/>
                      <a:pt x="88106" y="14288"/>
                    </a:cubicBezTo>
                    <a:close/>
                  </a:path>
                </a:pathLst>
              </a:custGeom>
              <a:grpFill/>
              <a:ln w="9525" cap="flat">
                <a:noFill/>
                <a:prstDash val="solid"/>
                <a:miter/>
              </a:ln>
            </p:spPr>
            <p:txBody>
              <a:bodyPr lIns="0" tIns="0" rIns="0" bIns="0" rtlCol="0" anchor="ctr"/>
              <a:lstStyle/>
              <a:p>
                <a:endParaRPr lang="en-US"/>
              </a:p>
            </p:txBody>
          </p:sp>
          <p:sp>
            <p:nvSpPr>
              <p:cNvPr id="836" name="Grafik 9">
                <a:extLst>
                  <a:ext uri="{FF2B5EF4-FFF2-40B4-BE49-F238E27FC236}">
                    <a16:creationId xmlns:a16="http://schemas.microsoft.com/office/drawing/2014/main" id="{349CAC85-F165-78F3-1D23-CD609B9549B8}"/>
                  </a:ext>
                </a:extLst>
              </p:cNvPr>
              <p:cNvSpPr/>
              <p:nvPr/>
            </p:nvSpPr>
            <p:spPr bwMode="gray">
              <a:xfrm>
                <a:off x="5916548" y="3427761"/>
                <a:ext cx="176212" cy="135731"/>
              </a:xfrm>
              <a:custGeom>
                <a:avLst/>
                <a:gdLst>
                  <a:gd name="connsiteX0" fmla="*/ 88106 w 176212"/>
                  <a:gd name="connsiteY0" fmla="*/ 135731 h 135731"/>
                  <a:gd name="connsiteX1" fmla="*/ 0 w 176212"/>
                  <a:gd name="connsiteY1" fmla="*/ 88106 h 135731"/>
                  <a:gd name="connsiteX2" fmla="*/ 0 w 176212"/>
                  <a:gd name="connsiteY2" fmla="*/ 7144 h 135731"/>
                  <a:gd name="connsiteX3" fmla="*/ 7144 w 176212"/>
                  <a:gd name="connsiteY3" fmla="*/ 0 h 135731"/>
                  <a:gd name="connsiteX4" fmla="*/ 14288 w 176212"/>
                  <a:gd name="connsiteY4" fmla="*/ 7144 h 135731"/>
                  <a:gd name="connsiteX5" fmla="*/ 14288 w 176212"/>
                  <a:gd name="connsiteY5" fmla="*/ 88106 h 135731"/>
                  <a:gd name="connsiteX6" fmla="*/ 88106 w 176212"/>
                  <a:gd name="connsiteY6" fmla="*/ 121444 h 135731"/>
                  <a:gd name="connsiteX7" fmla="*/ 161925 w 176212"/>
                  <a:gd name="connsiteY7" fmla="*/ 88106 h 135731"/>
                  <a:gd name="connsiteX8" fmla="*/ 161925 w 176212"/>
                  <a:gd name="connsiteY8" fmla="*/ 7144 h 135731"/>
                  <a:gd name="connsiteX9" fmla="*/ 169069 w 176212"/>
                  <a:gd name="connsiteY9" fmla="*/ 0 h 135731"/>
                  <a:gd name="connsiteX10" fmla="*/ 176213 w 176212"/>
                  <a:gd name="connsiteY10" fmla="*/ 7144 h 135731"/>
                  <a:gd name="connsiteX11" fmla="*/ 176213 w 176212"/>
                  <a:gd name="connsiteY11" fmla="*/ 88106 h 135731"/>
                  <a:gd name="connsiteX12" fmla="*/ 88106 w 176212"/>
                  <a:gd name="connsiteY12" fmla="*/ 135731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212" h="135731">
                    <a:moveTo>
                      <a:pt x="88106" y="135731"/>
                    </a:moveTo>
                    <a:cubicBezTo>
                      <a:pt x="38672" y="135731"/>
                      <a:pt x="0" y="114776"/>
                      <a:pt x="0" y="88106"/>
                    </a:cubicBezTo>
                    <a:lnTo>
                      <a:pt x="0" y="7144"/>
                    </a:lnTo>
                    <a:cubicBezTo>
                      <a:pt x="0" y="3238"/>
                      <a:pt x="3239" y="0"/>
                      <a:pt x="7144" y="0"/>
                    </a:cubicBezTo>
                    <a:cubicBezTo>
                      <a:pt x="11049" y="0"/>
                      <a:pt x="14288" y="3238"/>
                      <a:pt x="14288" y="7144"/>
                    </a:cubicBezTo>
                    <a:lnTo>
                      <a:pt x="14288" y="88106"/>
                    </a:lnTo>
                    <a:cubicBezTo>
                      <a:pt x="14288" y="103918"/>
                      <a:pt x="44577" y="121444"/>
                      <a:pt x="88106" y="121444"/>
                    </a:cubicBezTo>
                    <a:cubicBezTo>
                      <a:pt x="131636" y="121444"/>
                      <a:pt x="161925" y="103823"/>
                      <a:pt x="161925" y="88106"/>
                    </a:cubicBezTo>
                    <a:lnTo>
                      <a:pt x="161925" y="7144"/>
                    </a:lnTo>
                    <a:cubicBezTo>
                      <a:pt x="161925" y="3238"/>
                      <a:pt x="165164" y="0"/>
                      <a:pt x="169069" y="0"/>
                    </a:cubicBezTo>
                    <a:cubicBezTo>
                      <a:pt x="172974" y="0"/>
                      <a:pt x="176213" y="3238"/>
                      <a:pt x="176213" y="7144"/>
                    </a:cubicBezTo>
                    <a:lnTo>
                      <a:pt x="176213" y="88106"/>
                    </a:lnTo>
                    <a:cubicBezTo>
                      <a:pt x="176213" y="114776"/>
                      <a:pt x="137541" y="135731"/>
                      <a:pt x="88106" y="135731"/>
                    </a:cubicBezTo>
                    <a:close/>
                  </a:path>
                </a:pathLst>
              </a:custGeom>
              <a:grpFill/>
              <a:ln w="9525" cap="flat">
                <a:noFill/>
                <a:prstDash val="solid"/>
                <a:miter/>
              </a:ln>
            </p:spPr>
            <p:txBody>
              <a:bodyPr lIns="0" tIns="0" rIns="0" bIns="0" rtlCol="0" anchor="ctr"/>
              <a:lstStyle/>
              <a:p>
                <a:endParaRPr lang="en-US"/>
              </a:p>
            </p:txBody>
          </p:sp>
        </p:grpSp>
        <p:grpSp>
          <p:nvGrpSpPr>
            <p:cNvPr id="804" name="Grafik 9">
              <a:extLst>
                <a:ext uri="{FF2B5EF4-FFF2-40B4-BE49-F238E27FC236}">
                  <a16:creationId xmlns:a16="http://schemas.microsoft.com/office/drawing/2014/main" id="{6BF192D9-9AF1-D422-5F47-6FFA9A84C6AC}"/>
                </a:ext>
              </a:extLst>
            </p:cNvPr>
            <p:cNvGrpSpPr/>
            <p:nvPr/>
          </p:nvGrpSpPr>
          <p:grpSpPr bwMode="gray">
            <a:xfrm>
              <a:off x="6167627" y="3307865"/>
              <a:ext cx="79057" cy="302490"/>
              <a:chOff x="6167627" y="3307865"/>
              <a:chExt cx="79057" cy="302490"/>
            </a:xfrm>
            <a:grpFill/>
          </p:grpSpPr>
          <p:grpSp>
            <p:nvGrpSpPr>
              <p:cNvPr id="823" name="Grafik 9">
                <a:extLst>
                  <a:ext uri="{FF2B5EF4-FFF2-40B4-BE49-F238E27FC236}">
                    <a16:creationId xmlns:a16="http://schemas.microsoft.com/office/drawing/2014/main" id="{CEF9B81D-3FE2-3609-C81B-2746D69F70A5}"/>
                  </a:ext>
                </a:extLst>
              </p:cNvPr>
              <p:cNvGrpSpPr/>
              <p:nvPr/>
            </p:nvGrpSpPr>
            <p:grpSpPr bwMode="gray">
              <a:xfrm>
                <a:off x="6167627" y="3424451"/>
                <a:ext cx="79057" cy="69318"/>
                <a:chOff x="6167627" y="3424451"/>
                <a:chExt cx="79057" cy="69318"/>
              </a:xfrm>
              <a:grpFill/>
            </p:grpSpPr>
            <p:sp>
              <p:nvSpPr>
                <p:cNvPr id="832" name="Grafik 9">
                  <a:extLst>
                    <a:ext uri="{FF2B5EF4-FFF2-40B4-BE49-F238E27FC236}">
                      <a16:creationId xmlns:a16="http://schemas.microsoft.com/office/drawing/2014/main" id="{BBC8858A-E6AF-7E75-B521-3C07050C5E69}"/>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3" name="Grafik 9">
                  <a:extLst>
                    <a:ext uri="{FF2B5EF4-FFF2-40B4-BE49-F238E27FC236}">
                      <a16:creationId xmlns:a16="http://schemas.microsoft.com/office/drawing/2014/main" id="{B619314F-645A-B5A5-8752-F965E95795F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4" name="Grafik 9">
                  <a:extLst>
                    <a:ext uri="{FF2B5EF4-FFF2-40B4-BE49-F238E27FC236}">
                      <a16:creationId xmlns:a16="http://schemas.microsoft.com/office/drawing/2014/main" id="{90D9DD6F-F160-DB68-3999-642F9503C8E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4" name="Grafik 9">
                <a:extLst>
                  <a:ext uri="{FF2B5EF4-FFF2-40B4-BE49-F238E27FC236}">
                    <a16:creationId xmlns:a16="http://schemas.microsoft.com/office/drawing/2014/main" id="{101F09BC-8697-53E9-B5DE-8AFC2439B561}"/>
                  </a:ext>
                </a:extLst>
              </p:cNvPr>
              <p:cNvGrpSpPr/>
              <p:nvPr/>
            </p:nvGrpSpPr>
            <p:grpSpPr bwMode="gray">
              <a:xfrm>
                <a:off x="6167627" y="3307865"/>
                <a:ext cx="79057" cy="69318"/>
                <a:chOff x="6167627" y="3307865"/>
                <a:chExt cx="79057" cy="69318"/>
              </a:xfrm>
              <a:grpFill/>
            </p:grpSpPr>
            <p:sp>
              <p:nvSpPr>
                <p:cNvPr id="829" name="Grafik 9">
                  <a:extLst>
                    <a:ext uri="{FF2B5EF4-FFF2-40B4-BE49-F238E27FC236}">
                      <a16:creationId xmlns:a16="http://schemas.microsoft.com/office/drawing/2014/main" id="{EB7C7BDA-03F4-AAAC-ABF9-9BBF9D6F7C82}"/>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0" name="Grafik 9">
                  <a:extLst>
                    <a:ext uri="{FF2B5EF4-FFF2-40B4-BE49-F238E27FC236}">
                      <a16:creationId xmlns:a16="http://schemas.microsoft.com/office/drawing/2014/main" id="{585A600F-3D9C-9D5C-B151-081C68C2BD12}"/>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1" name="Grafik 9">
                  <a:extLst>
                    <a:ext uri="{FF2B5EF4-FFF2-40B4-BE49-F238E27FC236}">
                      <a16:creationId xmlns:a16="http://schemas.microsoft.com/office/drawing/2014/main" id="{30C608C3-F2FA-58FC-631C-55F34BF52D36}"/>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5" name="Grafik 9">
                <a:extLst>
                  <a:ext uri="{FF2B5EF4-FFF2-40B4-BE49-F238E27FC236}">
                    <a16:creationId xmlns:a16="http://schemas.microsoft.com/office/drawing/2014/main" id="{27E7192C-46A0-124A-3566-98C64885AA2F}"/>
                  </a:ext>
                </a:extLst>
              </p:cNvPr>
              <p:cNvGrpSpPr/>
              <p:nvPr/>
            </p:nvGrpSpPr>
            <p:grpSpPr bwMode="gray">
              <a:xfrm>
                <a:off x="6167627" y="3541132"/>
                <a:ext cx="79057" cy="69222"/>
                <a:chOff x="6167627" y="3541132"/>
                <a:chExt cx="79057" cy="69222"/>
              </a:xfrm>
              <a:grpFill/>
            </p:grpSpPr>
            <p:sp>
              <p:nvSpPr>
                <p:cNvPr id="826" name="Grafik 9">
                  <a:extLst>
                    <a:ext uri="{FF2B5EF4-FFF2-40B4-BE49-F238E27FC236}">
                      <a16:creationId xmlns:a16="http://schemas.microsoft.com/office/drawing/2014/main" id="{DD6E9BC8-0CFA-FD06-FBBC-7AA1A718FAF7}"/>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7" name="Grafik 9">
                  <a:extLst>
                    <a:ext uri="{FF2B5EF4-FFF2-40B4-BE49-F238E27FC236}">
                      <a16:creationId xmlns:a16="http://schemas.microsoft.com/office/drawing/2014/main" id="{2EEC3443-0BC4-025F-1946-5A743C62CC96}"/>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8" name="Grafik 9">
                  <a:extLst>
                    <a:ext uri="{FF2B5EF4-FFF2-40B4-BE49-F238E27FC236}">
                      <a16:creationId xmlns:a16="http://schemas.microsoft.com/office/drawing/2014/main" id="{0C3D34BC-45B2-1C66-12AF-E5259C12C71F}"/>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805" name="Grafik 9">
              <a:extLst>
                <a:ext uri="{FF2B5EF4-FFF2-40B4-BE49-F238E27FC236}">
                  <a16:creationId xmlns:a16="http://schemas.microsoft.com/office/drawing/2014/main" id="{38B571CC-2790-0BA2-B3DD-7F2259D9586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806" name="Grafik 9">
              <a:extLst>
                <a:ext uri="{FF2B5EF4-FFF2-40B4-BE49-F238E27FC236}">
                  <a16:creationId xmlns:a16="http://schemas.microsoft.com/office/drawing/2014/main" id="{80561A8D-154E-E460-5E82-FBA7E188F46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807" name="Grafik 9">
              <a:extLst>
                <a:ext uri="{FF2B5EF4-FFF2-40B4-BE49-F238E27FC236}">
                  <a16:creationId xmlns:a16="http://schemas.microsoft.com/office/drawing/2014/main" id="{9BEE6E80-F5E1-7F42-B620-B83E8240AD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8" name="Grafik 9">
              <a:extLst>
                <a:ext uri="{FF2B5EF4-FFF2-40B4-BE49-F238E27FC236}">
                  <a16:creationId xmlns:a16="http://schemas.microsoft.com/office/drawing/2014/main" id="{A1514D12-D816-95A9-ADD8-BA46E075801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9" name="Grafik 9">
              <a:extLst>
                <a:ext uri="{FF2B5EF4-FFF2-40B4-BE49-F238E27FC236}">
                  <a16:creationId xmlns:a16="http://schemas.microsoft.com/office/drawing/2014/main" id="{33ED7A20-3B0B-DE14-20BA-ADD5D42AD88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10" name="Grafik 9">
              <a:extLst>
                <a:ext uri="{FF2B5EF4-FFF2-40B4-BE49-F238E27FC236}">
                  <a16:creationId xmlns:a16="http://schemas.microsoft.com/office/drawing/2014/main" id="{1CD8AEC1-CED5-79CB-F4DB-B111121AD5E4}"/>
                </a:ext>
              </a:extLst>
            </p:cNvPr>
            <p:cNvGrpSpPr/>
            <p:nvPr/>
          </p:nvGrpSpPr>
          <p:grpSpPr bwMode="gray">
            <a:xfrm>
              <a:off x="6167627" y="3307865"/>
              <a:ext cx="79057" cy="302490"/>
              <a:chOff x="6167627" y="3307865"/>
              <a:chExt cx="79057" cy="302490"/>
            </a:xfrm>
            <a:grpFill/>
          </p:grpSpPr>
          <p:grpSp>
            <p:nvGrpSpPr>
              <p:cNvPr id="811" name="Grafik 9">
                <a:extLst>
                  <a:ext uri="{FF2B5EF4-FFF2-40B4-BE49-F238E27FC236}">
                    <a16:creationId xmlns:a16="http://schemas.microsoft.com/office/drawing/2014/main" id="{7107EF4C-2A62-FC56-8F1B-6E378BD0EF18}"/>
                  </a:ext>
                </a:extLst>
              </p:cNvPr>
              <p:cNvGrpSpPr/>
              <p:nvPr/>
            </p:nvGrpSpPr>
            <p:grpSpPr bwMode="gray">
              <a:xfrm>
                <a:off x="6167627" y="3424451"/>
                <a:ext cx="79057" cy="69318"/>
                <a:chOff x="6167627" y="3424451"/>
                <a:chExt cx="79057" cy="69318"/>
              </a:xfrm>
              <a:grpFill/>
            </p:grpSpPr>
            <p:sp>
              <p:nvSpPr>
                <p:cNvPr id="820" name="Grafik 9">
                  <a:extLst>
                    <a:ext uri="{FF2B5EF4-FFF2-40B4-BE49-F238E27FC236}">
                      <a16:creationId xmlns:a16="http://schemas.microsoft.com/office/drawing/2014/main" id="{D81F00E8-8418-2F4D-65F7-9E5E5142ABC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1" name="Grafik 9">
                  <a:extLst>
                    <a:ext uri="{FF2B5EF4-FFF2-40B4-BE49-F238E27FC236}">
                      <a16:creationId xmlns:a16="http://schemas.microsoft.com/office/drawing/2014/main" id="{63392F5C-94EF-5FED-709E-32653F628AFA}"/>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2" name="Grafik 9">
                  <a:extLst>
                    <a:ext uri="{FF2B5EF4-FFF2-40B4-BE49-F238E27FC236}">
                      <a16:creationId xmlns:a16="http://schemas.microsoft.com/office/drawing/2014/main" id="{2D73A7EF-8307-DBAE-222A-40827827125F}"/>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2" name="Grafik 9">
                <a:extLst>
                  <a:ext uri="{FF2B5EF4-FFF2-40B4-BE49-F238E27FC236}">
                    <a16:creationId xmlns:a16="http://schemas.microsoft.com/office/drawing/2014/main" id="{2A48FB92-2508-C7A7-ED29-DCD35851DD37}"/>
                  </a:ext>
                </a:extLst>
              </p:cNvPr>
              <p:cNvGrpSpPr/>
              <p:nvPr/>
            </p:nvGrpSpPr>
            <p:grpSpPr bwMode="gray">
              <a:xfrm>
                <a:off x="6167627" y="3307865"/>
                <a:ext cx="79057" cy="69318"/>
                <a:chOff x="6167627" y="3307865"/>
                <a:chExt cx="79057" cy="69318"/>
              </a:xfrm>
              <a:grpFill/>
            </p:grpSpPr>
            <p:sp>
              <p:nvSpPr>
                <p:cNvPr id="817" name="Grafik 9">
                  <a:extLst>
                    <a:ext uri="{FF2B5EF4-FFF2-40B4-BE49-F238E27FC236}">
                      <a16:creationId xmlns:a16="http://schemas.microsoft.com/office/drawing/2014/main" id="{9B0294CE-433F-60AE-D7C8-B94441DCEE3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8" name="Grafik 9">
                  <a:extLst>
                    <a:ext uri="{FF2B5EF4-FFF2-40B4-BE49-F238E27FC236}">
                      <a16:creationId xmlns:a16="http://schemas.microsoft.com/office/drawing/2014/main" id="{E216181B-F28B-1442-AA7A-BF7463BB550B}"/>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9" name="Grafik 9">
                  <a:extLst>
                    <a:ext uri="{FF2B5EF4-FFF2-40B4-BE49-F238E27FC236}">
                      <a16:creationId xmlns:a16="http://schemas.microsoft.com/office/drawing/2014/main" id="{FC069F47-4224-5AF5-BD1E-B2841305DCDC}"/>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3" name="Grafik 9">
                <a:extLst>
                  <a:ext uri="{FF2B5EF4-FFF2-40B4-BE49-F238E27FC236}">
                    <a16:creationId xmlns:a16="http://schemas.microsoft.com/office/drawing/2014/main" id="{3A00B347-044B-DD2D-FE04-803566F44BF4}"/>
                  </a:ext>
                </a:extLst>
              </p:cNvPr>
              <p:cNvGrpSpPr/>
              <p:nvPr/>
            </p:nvGrpSpPr>
            <p:grpSpPr bwMode="gray">
              <a:xfrm>
                <a:off x="6167627" y="3541132"/>
                <a:ext cx="79057" cy="69222"/>
                <a:chOff x="6167627" y="3541132"/>
                <a:chExt cx="79057" cy="69222"/>
              </a:xfrm>
              <a:grpFill/>
            </p:grpSpPr>
            <p:sp>
              <p:nvSpPr>
                <p:cNvPr id="814" name="Grafik 9">
                  <a:extLst>
                    <a:ext uri="{FF2B5EF4-FFF2-40B4-BE49-F238E27FC236}">
                      <a16:creationId xmlns:a16="http://schemas.microsoft.com/office/drawing/2014/main" id="{B5C75FF1-4B92-FDBA-D341-39F8AEE44C51}"/>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5" name="Grafik 9">
                  <a:extLst>
                    <a:ext uri="{FF2B5EF4-FFF2-40B4-BE49-F238E27FC236}">
                      <a16:creationId xmlns:a16="http://schemas.microsoft.com/office/drawing/2014/main" id="{9DB8DF92-2CA6-B487-4ACC-3F23FD3E9D4C}"/>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6" name="Grafik 9">
                  <a:extLst>
                    <a:ext uri="{FF2B5EF4-FFF2-40B4-BE49-F238E27FC236}">
                      <a16:creationId xmlns:a16="http://schemas.microsoft.com/office/drawing/2014/main" id="{248F1980-FA93-7114-6F87-24E3B3A71116}"/>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grpSp>
        <p:nvGrpSpPr>
          <p:cNvPr id="837" name="Grafik 3844">
            <a:extLst>
              <a:ext uri="{FF2B5EF4-FFF2-40B4-BE49-F238E27FC236}">
                <a16:creationId xmlns:a16="http://schemas.microsoft.com/office/drawing/2014/main" id="{3D89B161-CF23-ACA8-D5C0-DB23AECBC88B}"/>
              </a:ext>
            </a:extLst>
          </p:cNvPr>
          <p:cNvGrpSpPr/>
          <p:nvPr/>
        </p:nvGrpSpPr>
        <p:grpSpPr bwMode="gray">
          <a:xfrm>
            <a:off x="9942167" y="3478392"/>
            <a:ext cx="374400" cy="374400"/>
            <a:chOff x="5843587" y="3176587"/>
            <a:chExt cx="500253" cy="500253"/>
          </a:xfrm>
          <a:solidFill>
            <a:schemeClr val="tx1"/>
          </a:solidFill>
        </p:grpSpPr>
        <p:sp>
          <p:nvSpPr>
            <p:cNvPr id="838" name="Grafik 3844">
              <a:extLst>
                <a:ext uri="{FF2B5EF4-FFF2-40B4-BE49-F238E27FC236}">
                  <a16:creationId xmlns:a16="http://schemas.microsoft.com/office/drawing/2014/main" id="{9012948C-780A-907D-2A62-E81B8F9999C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39" name="Grafik 3844">
              <a:extLst>
                <a:ext uri="{FF2B5EF4-FFF2-40B4-BE49-F238E27FC236}">
                  <a16:creationId xmlns:a16="http://schemas.microsoft.com/office/drawing/2014/main" id="{0572C9F8-3512-BE31-2380-F6BCB755855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40" name="Grafik 3844">
              <a:extLst>
                <a:ext uri="{FF2B5EF4-FFF2-40B4-BE49-F238E27FC236}">
                  <a16:creationId xmlns:a16="http://schemas.microsoft.com/office/drawing/2014/main" id="{ABBFE01A-81D6-9E96-FD7B-8604B990A45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1" name="Grafik 3844">
              <a:extLst>
                <a:ext uri="{FF2B5EF4-FFF2-40B4-BE49-F238E27FC236}">
                  <a16:creationId xmlns:a16="http://schemas.microsoft.com/office/drawing/2014/main" id="{C88DE2C4-5F72-EB88-3C09-6D791D8F595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2" name="Grafik 3844">
              <a:extLst>
                <a:ext uri="{FF2B5EF4-FFF2-40B4-BE49-F238E27FC236}">
                  <a16:creationId xmlns:a16="http://schemas.microsoft.com/office/drawing/2014/main" id="{221127BF-0E73-9614-FB9A-93B3F2F42A8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843" name="Grafik 3844">
              <a:extLst>
                <a:ext uri="{FF2B5EF4-FFF2-40B4-BE49-F238E27FC236}">
                  <a16:creationId xmlns:a16="http://schemas.microsoft.com/office/drawing/2014/main" id="{0252F163-4AF7-0BC4-8A81-03D40BDE7271}"/>
                </a:ext>
              </a:extLst>
            </p:cNvPr>
            <p:cNvGrpSpPr/>
            <p:nvPr/>
          </p:nvGrpSpPr>
          <p:grpSpPr bwMode="gray">
            <a:xfrm>
              <a:off x="5906356" y="3358323"/>
              <a:ext cx="309919" cy="201644"/>
              <a:chOff x="5906356" y="3358323"/>
              <a:chExt cx="309919" cy="201644"/>
            </a:xfrm>
            <a:grpFill/>
          </p:grpSpPr>
          <p:grpSp>
            <p:nvGrpSpPr>
              <p:cNvPr id="844" name="Grafik 3844">
                <a:extLst>
                  <a:ext uri="{FF2B5EF4-FFF2-40B4-BE49-F238E27FC236}">
                    <a16:creationId xmlns:a16="http://schemas.microsoft.com/office/drawing/2014/main" id="{718AED7F-C149-C41B-B76B-80BD137AF76F}"/>
                  </a:ext>
                </a:extLst>
              </p:cNvPr>
              <p:cNvGrpSpPr/>
              <p:nvPr/>
            </p:nvGrpSpPr>
            <p:grpSpPr bwMode="gray">
              <a:xfrm>
                <a:off x="5906356" y="3432261"/>
                <a:ext cx="93035" cy="53792"/>
                <a:chOff x="5906356" y="3432261"/>
                <a:chExt cx="93035" cy="53792"/>
              </a:xfrm>
              <a:grpFill/>
            </p:grpSpPr>
            <p:sp>
              <p:nvSpPr>
                <p:cNvPr id="858" name="Grafik 3844">
                  <a:extLst>
                    <a:ext uri="{FF2B5EF4-FFF2-40B4-BE49-F238E27FC236}">
                      <a16:creationId xmlns:a16="http://schemas.microsoft.com/office/drawing/2014/main" id="{CA077298-6815-08C9-BCBD-FA4DFD815315}"/>
                    </a:ext>
                  </a:extLst>
                </p:cNvPr>
                <p:cNvSpPr/>
                <p:nvPr/>
              </p:nvSpPr>
              <p:spPr bwMode="gray">
                <a:xfrm>
                  <a:off x="5906356"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8" y="14288"/>
                        <a:pt x="0" y="11049"/>
                        <a:pt x="0" y="7144"/>
                      </a:cubicBezTo>
                      <a:cubicBezTo>
                        <a:pt x="0" y="3239"/>
                        <a:pt x="3238"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59" name="Grafik 3844">
                  <a:extLst>
                    <a:ext uri="{FF2B5EF4-FFF2-40B4-BE49-F238E27FC236}">
                      <a16:creationId xmlns:a16="http://schemas.microsoft.com/office/drawing/2014/main" id="{97E7E092-C354-CB41-6412-F66820F92A93}"/>
                    </a:ext>
                  </a:extLst>
                </p:cNvPr>
                <p:cNvSpPr/>
                <p:nvPr/>
              </p:nvSpPr>
              <p:spPr bwMode="gray">
                <a:xfrm>
                  <a:off x="5965435"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60" name="Grafik 3844">
                  <a:extLst>
                    <a:ext uri="{FF2B5EF4-FFF2-40B4-BE49-F238E27FC236}">
                      <a16:creationId xmlns:a16="http://schemas.microsoft.com/office/drawing/2014/main" id="{1041C509-A2EA-849F-0BFC-CCE02C611634}"/>
                    </a:ext>
                  </a:extLst>
                </p:cNvPr>
                <p:cNvSpPr/>
                <p:nvPr/>
              </p:nvSpPr>
              <p:spPr bwMode="gray">
                <a:xfrm>
                  <a:off x="5965435"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5" name="Grafik 3844">
                <a:extLst>
                  <a:ext uri="{FF2B5EF4-FFF2-40B4-BE49-F238E27FC236}">
                    <a16:creationId xmlns:a16="http://schemas.microsoft.com/office/drawing/2014/main" id="{1E44EC32-D6C4-830B-D5D6-9A54F14AB37E}"/>
                  </a:ext>
                </a:extLst>
              </p:cNvPr>
              <p:cNvGrpSpPr/>
              <p:nvPr/>
            </p:nvGrpSpPr>
            <p:grpSpPr bwMode="gray">
              <a:xfrm>
                <a:off x="6123241" y="3432261"/>
                <a:ext cx="93035" cy="53792"/>
                <a:chOff x="6123241" y="3432261"/>
                <a:chExt cx="93035" cy="53792"/>
              </a:xfrm>
              <a:grpFill/>
            </p:grpSpPr>
            <p:sp>
              <p:nvSpPr>
                <p:cNvPr id="855" name="Grafik 3844">
                  <a:extLst>
                    <a:ext uri="{FF2B5EF4-FFF2-40B4-BE49-F238E27FC236}">
                      <a16:creationId xmlns:a16="http://schemas.microsoft.com/office/drawing/2014/main" id="{20C46010-BEC6-4EEB-33C9-D65DAA20A714}"/>
                    </a:ext>
                  </a:extLst>
                </p:cNvPr>
                <p:cNvSpPr/>
                <p:nvPr/>
              </p:nvSpPr>
              <p:spPr bwMode="gray">
                <a:xfrm>
                  <a:off x="6123241"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5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5" y="3239"/>
                        <a:pt x="82105" y="7144"/>
                      </a:cubicBezTo>
                      <a:cubicBezTo>
                        <a:pt x="82105" y="11049"/>
                        <a:pt x="78962" y="14288"/>
                        <a:pt x="74962" y="14288"/>
                      </a:cubicBezTo>
                      <a:close/>
                    </a:path>
                  </a:pathLst>
                </a:custGeom>
                <a:grpFill/>
                <a:ln w="9525" cap="flat">
                  <a:noFill/>
                  <a:prstDash val="solid"/>
                  <a:miter/>
                </a:ln>
              </p:spPr>
              <p:txBody>
                <a:bodyPr rtlCol="0" anchor="ctr"/>
                <a:lstStyle/>
                <a:p>
                  <a:endParaRPr lang="de-DE"/>
                </a:p>
              </p:txBody>
            </p:sp>
            <p:sp>
              <p:nvSpPr>
                <p:cNvPr id="856" name="Grafik 3844">
                  <a:extLst>
                    <a:ext uri="{FF2B5EF4-FFF2-40B4-BE49-F238E27FC236}">
                      <a16:creationId xmlns:a16="http://schemas.microsoft.com/office/drawing/2014/main" id="{BC65478E-E70C-2052-AB5F-B751694BD166}"/>
                    </a:ext>
                  </a:extLst>
                </p:cNvPr>
                <p:cNvSpPr/>
                <p:nvPr/>
              </p:nvSpPr>
              <p:spPr bwMode="gray">
                <a:xfrm>
                  <a:off x="6182319"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57" name="Grafik 3844">
                  <a:extLst>
                    <a:ext uri="{FF2B5EF4-FFF2-40B4-BE49-F238E27FC236}">
                      <a16:creationId xmlns:a16="http://schemas.microsoft.com/office/drawing/2014/main" id="{C136E251-6B48-73DE-9464-40A291CD310A}"/>
                    </a:ext>
                  </a:extLst>
                </p:cNvPr>
                <p:cNvSpPr/>
                <p:nvPr/>
              </p:nvSpPr>
              <p:spPr bwMode="gray">
                <a:xfrm>
                  <a:off x="6182319"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6" name="Grafik 3844">
                <a:extLst>
                  <a:ext uri="{FF2B5EF4-FFF2-40B4-BE49-F238E27FC236}">
                    <a16:creationId xmlns:a16="http://schemas.microsoft.com/office/drawing/2014/main" id="{5DDA211A-DE3A-B055-FE41-AFBE32788A1F}"/>
                  </a:ext>
                </a:extLst>
              </p:cNvPr>
              <p:cNvGrpSpPr/>
              <p:nvPr/>
            </p:nvGrpSpPr>
            <p:grpSpPr bwMode="gray">
              <a:xfrm>
                <a:off x="6123264" y="3358323"/>
                <a:ext cx="69984" cy="69913"/>
                <a:chOff x="6123264" y="3358323"/>
                <a:chExt cx="69984" cy="69913"/>
              </a:xfrm>
              <a:grpFill/>
            </p:grpSpPr>
            <p:sp>
              <p:nvSpPr>
                <p:cNvPr id="852" name="Grafik 3844">
                  <a:extLst>
                    <a:ext uri="{FF2B5EF4-FFF2-40B4-BE49-F238E27FC236}">
                      <a16:creationId xmlns:a16="http://schemas.microsoft.com/office/drawing/2014/main" id="{9C05AC70-B7DE-0FB9-9207-64A64C507C47}"/>
                    </a:ext>
                  </a:extLst>
                </p:cNvPr>
                <p:cNvSpPr/>
                <p:nvPr/>
              </p:nvSpPr>
              <p:spPr bwMode="gray">
                <a:xfrm>
                  <a:off x="6123264" y="3365967"/>
                  <a:ext cx="62245" cy="62269"/>
                </a:xfrm>
                <a:custGeom>
                  <a:avLst/>
                  <a:gdLst>
                    <a:gd name="connsiteX0" fmla="*/ 7120 w 62245"/>
                    <a:gd name="connsiteY0" fmla="*/ 62270 h 62269"/>
                    <a:gd name="connsiteX1" fmla="*/ 2072 w 62245"/>
                    <a:gd name="connsiteY1" fmla="*/ 60174 h 62269"/>
                    <a:gd name="connsiteX2" fmla="*/ 2072 w 62245"/>
                    <a:gd name="connsiteY2" fmla="*/ 50078 h 62269"/>
                    <a:gd name="connsiteX3" fmla="*/ 50078 w 62245"/>
                    <a:gd name="connsiteY3" fmla="*/ 2072 h 62269"/>
                    <a:gd name="connsiteX4" fmla="*/ 60174 w 62245"/>
                    <a:gd name="connsiteY4" fmla="*/ 2072 h 62269"/>
                    <a:gd name="connsiteX5" fmla="*/ 60174 w 62245"/>
                    <a:gd name="connsiteY5" fmla="*/ 12168 h 62269"/>
                    <a:gd name="connsiteX6" fmla="*/ 12168 w 62245"/>
                    <a:gd name="connsiteY6" fmla="*/ 60174 h 62269"/>
                    <a:gd name="connsiteX7" fmla="*/ 7120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7120" y="62270"/>
                      </a:moveTo>
                      <a:cubicBezTo>
                        <a:pt x="5310" y="62270"/>
                        <a:pt x="3500" y="61603"/>
                        <a:pt x="2072" y="60174"/>
                      </a:cubicBezTo>
                      <a:cubicBezTo>
                        <a:pt x="-691" y="57412"/>
                        <a:pt x="-691" y="52840"/>
                        <a:pt x="2072" y="50078"/>
                      </a:cubicBezTo>
                      <a:lnTo>
                        <a:pt x="50078" y="2072"/>
                      </a:lnTo>
                      <a:cubicBezTo>
                        <a:pt x="52840" y="-691"/>
                        <a:pt x="57412" y="-691"/>
                        <a:pt x="60174" y="2072"/>
                      </a:cubicBezTo>
                      <a:cubicBezTo>
                        <a:pt x="62936" y="4834"/>
                        <a:pt x="62936" y="9406"/>
                        <a:pt x="60174" y="12168"/>
                      </a:cubicBezTo>
                      <a:lnTo>
                        <a:pt x="12168" y="60174"/>
                      </a:lnTo>
                      <a:cubicBezTo>
                        <a:pt x="10739" y="61603"/>
                        <a:pt x="8930" y="62270"/>
                        <a:pt x="7120" y="62270"/>
                      </a:cubicBezTo>
                      <a:close/>
                    </a:path>
                  </a:pathLst>
                </a:custGeom>
                <a:grpFill/>
                <a:ln w="9525" cap="flat">
                  <a:noFill/>
                  <a:prstDash val="solid"/>
                  <a:miter/>
                </a:ln>
              </p:spPr>
              <p:txBody>
                <a:bodyPr rtlCol="0" anchor="ctr"/>
                <a:lstStyle/>
                <a:p>
                  <a:endParaRPr lang="de-DE"/>
                </a:p>
              </p:txBody>
            </p:sp>
            <p:sp>
              <p:nvSpPr>
                <p:cNvPr id="853" name="Grafik 3844">
                  <a:extLst>
                    <a:ext uri="{FF2B5EF4-FFF2-40B4-BE49-F238E27FC236}">
                      <a16:creationId xmlns:a16="http://schemas.microsoft.com/office/drawing/2014/main" id="{5E22C1BC-E1AA-2DAF-99D6-7510356BA412}"/>
                    </a:ext>
                  </a:extLst>
                </p:cNvPr>
                <p:cNvSpPr/>
                <p:nvPr/>
              </p:nvSpPr>
              <p:spPr bwMode="gray">
                <a:xfrm>
                  <a:off x="6151053" y="3358323"/>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4" name="Grafik 3844">
                  <a:extLst>
                    <a:ext uri="{FF2B5EF4-FFF2-40B4-BE49-F238E27FC236}">
                      <a16:creationId xmlns:a16="http://schemas.microsoft.com/office/drawing/2014/main" id="{24A64AB4-7848-E18A-9CDB-9026456DC1D6}"/>
                    </a:ext>
                  </a:extLst>
                </p:cNvPr>
                <p:cNvSpPr/>
                <p:nvPr/>
              </p:nvSpPr>
              <p:spPr bwMode="gray">
                <a:xfrm>
                  <a:off x="6178962" y="3358323"/>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grpSp>
            <p:nvGrpSpPr>
              <p:cNvPr id="847" name="Grafik 3844">
                <a:extLst>
                  <a:ext uri="{FF2B5EF4-FFF2-40B4-BE49-F238E27FC236}">
                    <a16:creationId xmlns:a16="http://schemas.microsoft.com/office/drawing/2014/main" id="{02977FDD-EB6C-961A-2783-6ACE9270C734}"/>
                  </a:ext>
                </a:extLst>
              </p:cNvPr>
              <p:cNvGrpSpPr/>
              <p:nvPr/>
            </p:nvGrpSpPr>
            <p:grpSpPr bwMode="gray">
              <a:xfrm>
                <a:off x="6123264" y="3489983"/>
                <a:ext cx="69984" cy="69984"/>
                <a:chOff x="6123264" y="3489983"/>
                <a:chExt cx="69984" cy="69984"/>
              </a:xfrm>
              <a:grpFill/>
            </p:grpSpPr>
            <p:sp>
              <p:nvSpPr>
                <p:cNvPr id="849" name="Grafik 3844">
                  <a:extLst>
                    <a:ext uri="{FF2B5EF4-FFF2-40B4-BE49-F238E27FC236}">
                      <a16:creationId xmlns:a16="http://schemas.microsoft.com/office/drawing/2014/main" id="{DE4CCF1D-9B37-4216-3D64-2F2EFBEA06CA}"/>
                    </a:ext>
                  </a:extLst>
                </p:cNvPr>
                <p:cNvSpPr/>
                <p:nvPr/>
              </p:nvSpPr>
              <p:spPr bwMode="gray">
                <a:xfrm>
                  <a:off x="6123264" y="3489983"/>
                  <a:ext cx="62245" cy="62269"/>
                </a:xfrm>
                <a:custGeom>
                  <a:avLst/>
                  <a:gdLst>
                    <a:gd name="connsiteX0" fmla="*/ 55126 w 62245"/>
                    <a:gd name="connsiteY0" fmla="*/ 62270 h 62269"/>
                    <a:gd name="connsiteX1" fmla="*/ 50078 w 62245"/>
                    <a:gd name="connsiteY1" fmla="*/ 60174 h 62269"/>
                    <a:gd name="connsiteX2" fmla="*/ 2072 w 62245"/>
                    <a:gd name="connsiteY2" fmla="*/ 12168 h 62269"/>
                    <a:gd name="connsiteX3" fmla="*/ 2072 w 62245"/>
                    <a:gd name="connsiteY3" fmla="*/ 2072 h 62269"/>
                    <a:gd name="connsiteX4" fmla="*/ 12168 w 62245"/>
                    <a:gd name="connsiteY4" fmla="*/ 2072 h 62269"/>
                    <a:gd name="connsiteX5" fmla="*/ 60174 w 62245"/>
                    <a:gd name="connsiteY5" fmla="*/ 50078 h 62269"/>
                    <a:gd name="connsiteX6" fmla="*/ 60174 w 62245"/>
                    <a:gd name="connsiteY6" fmla="*/ 60174 h 62269"/>
                    <a:gd name="connsiteX7" fmla="*/ 55126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55126" y="62270"/>
                      </a:moveTo>
                      <a:cubicBezTo>
                        <a:pt x="53316" y="62270"/>
                        <a:pt x="51506" y="61603"/>
                        <a:pt x="50078" y="60174"/>
                      </a:cubicBezTo>
                      <a:lnTo>
                        <a:pt x="2072" y="12168"/>
                      </a:lnTo>
                      <a:cubicBezTo>
                        <a:pt x="-691" y="9406"/>
                        <a:pt x="-691" y="4834"/>
                        <a:pt x="2072" y="2072"/>
                      </a:cubicBezTo>
                      <a:cubicBezTo>
                        <a:pt x="4834" y="-691"/>
                        <a:pt x="9406" y="-691"/>
                        <a:pt x="12168" y="2072"/>
                      </a:cubicBezTo>
                      <a:lnTo>
                        <a:pt x="60174" y="50078"/>
                      </a:lnTo>
                      <a:cubicBezTo>
                        <a:pt x="62936" y="52840"/>
                        <a:pt x="62936" y="57412"/>
                        <a:pt x="60174" y="60174"/>
                      </a:cubicBezTo>
                      <a:cubicBezTo>
                        <a:pt x="58745" y="61603"/>
                        <a:pt x="56936" y="62270"/>
                        <a:pt x="55126" y="62270"/>
                      </a:cubicBezTo>
                      <a:close/>
                    </a:path>
                  </a:pathLst>
                </a:custGeom>
                <a:grpFill/>
                <a:ln w="9525" cap="flat">
                  <a:noFill/>
                  <a:prstDash val="solid"/>
                  <a:miter/>
                </a:ln>
              </p:spPr>
              <p:txBody>
                <a:bodyPr rtlCol="0" anchor="ctr"/>
                <a:lstStyle/>
                <a:p>
                  <a:endParaRPr lang="de-DE"/>
                </a:p>
              </p:txBody>
            </p:sp>
            <p:sp>
              <p:nvSpPr>
                <p:cNvPr id="850" name="Grafik 3844">
                  <a:extLst>
                    <a:ext uri="{FF2B5EF4-FFF2-40B4-BE49-F238E27FC236}">
                      <a16:creationId xmlns:a16="http://schemas.microsoft.com/office/drawing/2014/main" id="{F9C753C4-D0DF-2666-B358-BC2B80AEBA42}"/>
                    </a:ext>
                  </a:extLst>
                </p:cNvPr>
                <p:cNvSpPr/>
                <p:nvPr/>
              </p:nvSpPr>
              <p:spPr bwMode="gray">
                <a:xfrm>
                  <a:off x="6151053" y="3545680"/>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1" name="Grafik 3844">
                  <a:extLst>
                    <a:ext uri="{FF2B5EF4-FFF2-40B4-BE49-F238E27FC236}">
                      <a16:creationId xmlns:a16="http://schemas.microsoft.com/office/drawing/2014/main" id="{2FCF2B7E-6261-8719-D677-7AE3E0C2637A}"/>
                    </a:ext>
                  </a:extLst>
                </p:cNvPr>
                <p:cNvSpPr/>
                <p:nvPr/>
              </p:nvSpPr>
              <p:spPr bwMode="gray">
                <a:xfrm>
                  <a:off x="6178962" y="3517772"/>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sp>
            <p:nvSpPr>
              <p:cNvPr id="848" name="Grafik 3844">
                <a:extLst>
                  <a:ext uri="{FF2B5EF4-FFF2-40B4-BE49-F238E27FC236}">
                    <a16:creationId xmlns:a16="http://schemas.microsoft.com/office/drawing/2014/main" id="{57272237-C648-4E39-82BD-CDF6D03A48ED}"/>
                  </a:ext>
                </a:extLst>
              </p:cNvPr>
              <p:cNvSpPr/>
              <p:nvPr/>
            </p:nvSpPr>
            <p:spPr bwMode="gray">
              <a:xfrm>
                <a:off x="6014370" y="3413950"/>
                <a:ext cx="90296" cy="90297"/>
              </a:xfrm>
              <a:custGeom>
                <a:avLst/>
                <a:gdLst>
                  <a:gd name="connsiteX0" fmla="*/ 45148 w 90296"/>
                  <a:gd name="connsiteY0" fmla="*/ 90297 h 90297"/>
                  <a:gd name="connsiteX1" fmla="*/ 0 w 90296"/>
                  <a:gd name="connsiteY1" fmla="*/ 45148 h 90297"/>
                  <a:gd name="connsiteX2" fmla="*/ 45148 w 90296"/>
                  <a:gd name="connsiteY2" fmla="*/ 0 h 90297"/>
                  <a:gd name="connsiteX3" fmla="*/ 90297 w 90296"/>
                  <a:gd name="connsiteY3" fmla="*/ 45148 h 90297"/>
                  <a:gd name="connsiteX4" fmla="*/ 45148 w 90296"/>
                  <a:gd name="connsiteY4" fmla="*/ 90297 h 90297"/>
                  <a:gd name="connsiteX5" fmla="*/ 45148 w 90296"/>
                  <a:gd name="connsiteY5" fmla="*/ 14288 h 90297"/>
                  <a:gd name="connsiteX6" fmla="*/ 14288 w 90296"/>
                  <a:gd name="connsiteY6" fmla="*/ 45148 h 90297"/>
                  <a:gd name="connsiteX7" fmla="*/ 45148 w 90296"/>
                  <a:gd name="connsiteY7" fmla="*/ 76010 h 90297"/>
                  <a:gd name="connsiteX8" fmla="*/ 76009 w 90296"/>
                  <a:gd name="connsiteY8" fmla="*/ 45148 h 90297"/>
                  <a:gd name="connsiteX9" fmla="*/ 45148 w 90296"/>
                  <a:gd name="connsiteY9" fmla="*/ 14288 h 9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96" h="90297">
                    <a:moveTo>
                      <a:pt x="45148" y="90297"/>
                    </a:moveTo>
                    <a:cubicBezTo>
                      <a:pt x="20288" y="90297"/>
                      <a:pt x="0" y="70009"/>
                      <a:pt x="0" y="45148"/>
                    </a:cubicBezTo>
                    <a:cubicBezTo>
                      <a:pt x="0" y="20288"/>
                      <a:pt x="20288" y="0"/>
                      <a:pt x="45148" y="0"/>
                    </a:cubicBezTo>
                    <a:cubicBezTo>
                      <a:pt x="70009" y="0"/>
                      <a:pt x="90297" y="20288"/>
                      <a:pt x="90297" y="45148"/>
                    </a:cubicBezTo>
                    <a:cubicBezTo>
                      <a:pt x="90297" y="70104"/>
                      <a:pt x="70009" y="90297"/>
                      <a:pt x="45148" y="90297"/>
                    </a:cubicBezTo>
                    <a:close/>
                    <a:moveTo>
                      <a:pt x="45148" y="14288"/>
                    </a:moveTo>
                    <a:cubicBezTo>
                      <a:pt x="28099" y="14288"/>
                      <a:pt x="14288" y="28099"/>
                      <a:pt x="14288" y="45148"/>
                    </a:cubicBezTo>
                    <a:cubicBezTo>
                      <a:pt x="14288" y="62198"/>
                      <a:pt x="28099" y="76010"/>
                      <a:pt x="45148" y="76010"/>
                    </a:cubicBezTo>
                    <a:cubicBezTo>
                      <a:pt x="62198" y="76010"/>
                      <a:pt x="76009" y="62198"/>
                      <a:pt x="76009" y="45148"/>
                    </a:cubicBezTo>
                    <a:cubicBezTo>
                      <a:pt x="76009" y="28194"/>
                      <a:pt x="62103" y="14288"/>
                      <a:pt x="45148" y="14288"/>
                    </a:cubicBezTo>
                    <a:close/>
                  </a:path>
                </a:pathLst>
              </a:custGeom>
              <a:grpFill/>
              <a:ln w="9525" cap="flat">
                <a:noFill/>
                <a:prstDash val="solid"/>
                <a:miter/>
              </a:ln>
            </p:spPr>
            <p:txBody>
              <a:bodyPr rtlCol="0" anchor="ctr"/>
              <a:lstStyle/>
              <a:p>
                <a:endParaRPr lang="de-DE"/>
              </a:p>
            </p:txBody>
          </p:sp>
        </p:grpSp>
      </p:grpSp>
      <p:grpSp>
        <p:nvGrpSpPr>
          <p:cNvPr id="861" name="Grafik 3846">
            <a:extLst>
              <a:ext uri="{FF2B5EF4-FFF2-40B4-BE49-F238E27FC236}">
                <a16:creationId xmlns:a16="http://schemas.microsoft.com/office/drawing/2014/main" id="{03ACEBB6-5495-4285-D809-055807AC6C42}"/>
              </a:ext>
            </a:extLst>
          </p:cNvPr>
          <p:cNvGrpSpPr/>
          <p:nvPr/>
        </p:nvGrpSpPr>
        <p:grpSpPr bwMode="gray">
          <a:xfrm>
            <a:off x="9942167" y="4014689"/>
            <a:ext cx="374400" cy="374400"/>
            <a:chOff x="5843587" y="3176587"/>
            <a:chExt cx="500253" cy="500253"/>
          </a:xfrm>
          <a:solidFill>
            <a:schemeClr val="tx1"/>
          </a:solidFill>
        </p:grpSpPr>
        <p:grpSp>
          <p:nvGrpSpPr>
            <p:cNvPr id="862" name="Grafik 3846">
              <a:extLst>
                <a:ext uri="{FF2B5EF4-FFF2-40B4-BE49-F238E27FC236}">
                  <a16:creationId xmlns:a16="http://schemas.microsoft.com/office/drawing/2014/main" id="{9A3B13A8-0C3A-DC1A-ABA5-816266323DC2}"/>
                </a:ext>
              </a:extLst>
            </p:cNvPr>
            <p:cNvGrpSpPr/>
            <p:nvPr/>
          </p:nvGrpSpPr>
          <p:grpSpPr bwMode="gray">
            <a:xfrm>
              <a:off x="5843587" y="3176587"/>
              <a:ext cx="500253" cy="500253"/>
              <a:chOff x="5843587" y="3176587"/>
              <a:chExt cx="500253" cy="500253"/>
            </a:xfrm>
            <a:grpFill/>
          </p:grpSpPr>
          <p:sp>
            <p:nvSpPr>
              <p:cNvPr id="876" name="Grafik 3846">
                <a:extLst>
                  <a:ext uri="{FF2B5EF4-FFF2-40B4-BE49-F238E27FC236}">
                    <a16:creationId xmlns:a16="http://schemas.microsoft.com/office/drawing/2014/main" id="{1B1C7C56-8DC2-968C-164E-60F500482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77" name="Grafik 3846">
                <a:extLst>
                  <a:ext uri="{FF2B5EF4-FFF2-40B4-BE49-F238E27FC236}">
                    <a16:creationId xmlns:a16="http://schemas.microsoft.com/office/drawing/2014/main" id="{676589E2-3E67-4084-1857-277CCA1264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78" name="Grafik 3846">
                <a:extLst>
                  <a:ext uri="{FF2B5EF4-FFF2-40B4-BE49-F238E27FC236}">
                    <a16:creationId xmlns:a16="http://schemas.microsoft.com/office/drawing/2014/main" id="{FF9812E6-4E00-D40E-08FF-2DE17C1FCF8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79" name="Grafik 3846">
                <a:extLst>
                  <a:ext uri="{FF2B5EF4-FFF2-40B4-BE49-F238E27FC236}">
                    <a16:creationId xmlns:a16="http://schemas.microsoft.com/office/drawing/2014/main" id="{62FF64A9-6F0B-AA96-3F3D-93C15F608F3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80" name="Grafik 3846">
                <a:extLst>
                  <a:ext uri="{FF2B5EF4-FFF2-40B4-BE49-F238E27FC236}">
                    <a16:creationId xmlns:a16="http://schemas.microsoft.com/office/drawing/2014/main" id="{201EE8D0-A481-4D44-DFE1-80BC037E1E4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63" name="Grafik 3846">
              <a:extLst>
                <a:ext uri="{FF2B5EF4-FFF2-40B4-BE49-F238E27FC236}">
                  <a16:creationId xmlns:a16="http://schemas.microsoft.com/office/drawing/2014/main" id="{786E6AB2-4A3D-557E-ECA8-5A9A7CF3E075}"/>
                </a:ext>
              </a:extLst>
            </p:cNvPr>
            <p:cNvGrpSpPr/>
            <p:nvPr/>
          </p:nvGrpSpPr>
          <p:grpSpPr bwMode="gray">
            <a:xfrm>
              <a:off x="5890164" y="3339202"/>
              <a:ext cx="342304" cy="239910"/>
              <a:chOff x="5890164" y="3339202"/>
              <a:chExt cx="342304" cy="239910"/>
            </a:xfrm>
            <a:grpFill/>
          </p:grpSpPr>
          <p:grpSp>
            <p:nvGrpSpPr>
              <p:cNvPr id="864" name="Grafik 3846">
                <a:extLst>
                  <a:ext uri="{FF2B5EF4-FFF2-40B4-BE49-F238E27FC236}">
                    <a16:creationId xmlns:a16="http://schemas.microsoft.com/office/drawing/2014/main" id="{6B0C0619-B158-B83D-641F-B0DEAE0E7EFC}"/>
                  </a:ext>
                </a:extLst>
              </p:cNvPr>
              <p:cNvGrpSpPr/>
              <p:nvPr/>
            </p:nvGrpSpPr>
            <p:grpSpPr bwMode="gray">
              <a:xfrm>
                <a:off x="5890164" y="3339202"/>
                <a:ext cx="93035" cy="53697"/>
                <a:chOff x="5890164" y="3339202"/>
                <a:chExt cx="93035" cy="53697"/>
              </a:xfrm>
              <a:grpFill/>
            </p:grpSpPr>
            <p:sp>
              <p:nvSpPr>
                <p:cNvPr id="873" name="Grafik 3846">
                  <a:extLst>
                    <a:ext uri="{FF2B5EF4-FFF2-40B4-BE49-F238E27FC236}">
                      <a16:creationId xmlns:a16="http://schemas.microsoft.com/office/drawing/2014/main" id="{34AECBF9-74F7-0E59-C2CB-7E0B816E5374}"/>
                    </a:ext>
                  </a:extLst>
                </p:cNvPr>
                <p:cNvSpPr/>
                <p:nvPr/>
              </p:nvSpPr>
              <p:spPr bwMode="gray">
                <a:xfrm>
                  <a:off x="5890164" y="3358895"/>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74" name="Grafik 3846">
                  <a:extLst>
                    <a:ext uri="{FF2B5EF4-FFF2-40B4-BE49-F238E27FC236}">
                      <a16:creationId xmlns:a16="http://schemas.microsoft.com/office/drawing/2014/main" id="{AD4A3776-FA4B-79A7-B2ED-5C6FA135E56A}"/>
                    </a:ext>
                  </a:extLst>
                </p:cNvPr>
                <p:cNvSpPr/>
                <p:nvPr/>
              </p:nvSpPr>
              <p:spPr bwMode="gray">
                <a:xfrm>
                  <a:off x="5949243" y="3339202"/>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75" name="Grafik 3846">
                  <a:extLst>
                    <a:ext uri="{FF2B5EF4-FFF2-40B4-BE49-F238E27FC236}">
                      <a16:creationId xmlns:a16="http://schemas.microsoft.com/office/drawing/2014/main" id="{5E6BC27C-AECF-FE50-67B4-1E07267C62B6}"/>
                    </a:ext>
                  </a:extLst>
                </p:cNvPr>
                <p:cNvSpPr/>
                <p:nvPr/>
              </p:nvSpPr>
              <p:spPr bwMode="gray">
                <a:xfrm>
                  <a:off x="5949243" y="3358919"/>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314"/>
                        <a:pt x="8930" y="33980"/>
                        <a:pt x="7120" y="33980"/>
                      </a:cubicBezTo>
                      <a:close/>
                    </a:path>
                  </a:pathLst>
                </a:custGeom>
                <a:grpFill/>
                <a:ln w="9525" cap="flat">
                  <a:noFill/>
                  <a:prstDash val="solid"/>
                  <a:miter/>
                </a:ln>
              </p:spPr>
              <p:txBody>
                <a:bodyPr rtlCol="0" anchor="ctr"/>
                <a:lstStyle/>
                <a:p>
                  <a:endParaRPr lang="de-DE"/>
                </a:p>
              </p:txBody>
            </p:sp>
          </p:grpSp>
          <p:grpSp>
            <p:nvGrpSpPr>
              <p:cNvPr id="865" name="Grafik 3846">
                <a:extLst>
                  <a:ext uri="{FF2B5EF4-FFF2-40B4-BE49-F238E27FC236}">
                    <a16:creationId xmlns:a16="http://schemas.microsoft.com/office/drawing/2014/main" id="{24F64F6A-068F-A59C-C521-A01552AF1F8D}"/>
                  </a:ext>
                </a:extLst>
              </p:cNvPr>
              <p:cNvGrpSpPr/>
              <p:nvPr/>
            </p:nvGrpSpPr>
            <p:grpSpPr bwMode="gray">
              <a:xfrm>
                <a:off x="6139433" y="3525416"/>
                <a:ext cx="93035" cy="53697"/>
                <a:chOff x="6139433" y="3525416"/>
                <a:chExt cx="93035" cy="53697"/>
              </a:xfrm>
              <a:grpFill/>
            </p:grpSpPr>
            <p:sp>
              <p:nvSpPr>
                <p:cNvPr id="870" name="Grafik 3846">
                  <a:extLst>
                    <a:ext uri="{FF2B5EF4-FFF2-40B4-BE49-F238E27FC236}">
                      <a16:creationId xmlns:a16="http://schemas.microsoft.com/office/drawing/2014/main" id="{9E28C89C-B2E0-4E76-AD4D-FF51FE7789FD}"/>
                    </a:ext>
                  </a:extLst>
                </p:cNvPr>
                <p:cNvSpPr/>
                <p:nvPr/>
              </p:nvSpPr>
              <p:spPr bwMode="gray">
                <a:xfrm>
                  <a:off x="6139433" y="3545109"/>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867" y="14288"/>
                        <a:pt x="74962" y="14288"/>
                      </a:cubicBezTo>
                      <a:close/>
                    </a:path>
                  </a:pathLst>
                </a:custGeom>
                <a:grpFill/>
                <a:ln w="9525" cap="flat">
                  <a:noFill/>
                  <a:prstDash val="solid"/>
                  <a:miter/>
                </a:ln>
              </p:spPr>
              <p:txBody>
                <a:bodyPr rtlCol="0" anchor="ctr"/>
                <a:lstStyle/>
                <a:p>
                  <a:endParaRPr lang="de-DE"/>
                </a:p>
              </p:txBody>
            </p:sp>
            <p:sp>
              <p:nvSpPr>
                <p:cNvPr id="871" name="Grafik 3846">
                  <a:extLst>
                    <a:ext uri="{FF2B5EF4-FFF2-40B4-BE49-F238E27FC236}">
                      <a16:creationId xmlns:a16="http://schemas.microsoft.com/office/drawing/2014/main" id="{622CCDAB-2B89-67D7-DB10-55896FD5D1F0}"/>
                    </a:ext>
                  </a:extLst>
                </p:cNvPr>
                <p:cNvSpPr/>
                <p:nvPr/>
              </p:nvSpPr>
              <p:spPr bwMode="gray">
                <a:xfrm>
                  <a:off x="6198512" y="3525416"/>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218"/>
                        <a:pt x="28646" y="33980"/>
                        <a:pt x="26837" y="33980"/>
                      </a:cubicBezTo>
                      <a:close/>
                    </a:path>
                  </a:pathLst>
                </a:custGeom>
                <a:grpFill/>
                <a:ln w="9525" cap="flat">
                  <a:noFill/>
                  <a:prstDash val="solid"/>
                  <a:miter/>
                </a:ln>
              </p:spPr>
              <p:txBody>
                <a:bodyPr rtlCol="0" anchor="ctr"/>
                <a:lstStyle/>
                <a:p>
                  <a:endParaRPr lang="de-DE"/>
                </a:p>
              </p:txBody>
            </p:sp>
            <p:sp>
              <p:nvSpPr>
                <p:cNvPr id="872" name="Grafik 3846">
                  <a:extLst>
                    <a:ext uri="{FF2B5EF4-FFF2-40B4-BE49-F238E27FC236}">
                      <a16:creationId xmlns:a16="http://schemas.microsoft.com/office/drawing/2014/main" id="{1C792A4C-A0AA-D919-E67C-0CCB2265A41E}"/>
                    </a:ext>
                  </a:extLst>
                </p:cNvPr>
                <p:cNvSpPr/>
                <p:nvPr/>
              </p:nvSpPr>
              <p:spPr bwMode="gray">
                <a:xfrm>
                  <a:off x="6198512" y="354513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66" name="Grafik 3846">
                <a:extLst>
                  <a:ext uri="{FF2B5EF4-FFF2-40B4-BE49-F238E27FC236}">
                    <a16:creationId xmlns:a16="http://schemas.microsoft.com/office/drawing/2014/main" id="{6F583B7D-1CD1-9898-C6EC-8D6C988FABA0}"/>
                  </a:ext>
                </a:extLst>
              </p:cNvPr>
              <p:cNvGrpSpPr/>
              <p:nvPr/>
            </p:nvGrpSpPr>
            <p:grpSpPr bwMode="gray">
              <a:xfrm>
                <a:off x="5989319" y="3359181"/>
                <a:ext cx="144398" cy="200215"/>
                <a:chOff x="5989319" y="3359181"/>
                <a:chExt cx="144398" cy="200215"/>
              </a:xfrm>
              <a:grpFill/>
            </p:grpSpPr>
            <p:sp>
              <p:nvSpPr>
                <p:cNvPr id="867" name="Grafik 3846">
                  <a:extLst>
                    <a:ext uri="{FF2B5EF4-FFF2-40B4-BE49-F238E27FC236}">
                      <a16:creationId xmlns:a16="http://schemas.microsoft.com/office/drawing/2014/main" id="{C0791AAD-0965-6CF5-9A44-5BD4943507F3}"/>
                    </a:ext>
                  </a:extLst>
                </p:cNvPr>
                <p:cNvSpPr/>
                <p:nvPr/>
              </p:nvSpPr>
              <p:spPr bwMode="gray">
                <a:xfrm>
                  <a:off x="6019513" y="3389946"/>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8 w 84105"/>
                    <a:gd name="connsiteY11" fmla="*/ 14288 h 138207"/>
                    <a:gd name="connsiteX12" fmla="*/ 14288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8" y="14288"/>
                      </a:lnTo>
                      <a:lnTo>
                        <a:pt x="14288"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8" name="Grafik 3846">
                  <a:extLst>
                    <a:ext uri="{FF2B5EF4-FFF2-40B4-BE49-F238E27FC236}">
                      <a16:creationId xmlns:a16="http://schemas.microsoft.com/office/drawing/2014/main" id="{764AC050-B02B-869A-A237-068BD5432B50}"/>
                    </a:ext>
                  </a:extLst>
                </p:cNvPr>
                <p:cNvSpPr/>
                <p:nvPr/>
              </p:nvSpPr>
              <p:spPr bwMode="gray">
                <a:xfrm>
                  <a:off x="5989319" y="3359181"/>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7 w 84105"/>
                    <a:gd name="connsiteY11" fmla="*/ 14288 h 138207"/>
                    <a:gd name="connsiteX12" fmla="*/ 14287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7" y="14288"/>
                      </a:lnTo>
                      <a:lnTo>
                        <a:pt x="14287"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9" name="Grafik 3846">
                  <a:extLst>
                    <a:ext uri="{FF2B5EF4-FFF2-40B4-BE49-F238E27FC236}">
                      <a16:creationId xmlns:a16="http://schemas.microsoft.com/office/drawing/2014/main" id="{77EEBD61-4896-24E2-8FAA-1C24924B4A05}"/>
                    </a:ext>
                  </a:extLst>
                </p:cNvPr>
                <p:cNvSpPr/>
                <p:nvPr/>
              </p:nvSpPr>
              <p:spPr bwMode="gray">
                <a:xfrm>
                  <a:off x="6049612" y="3421189"/>
                  <a:ext cx="84105" cy="138207"/>
                </a:xfrm>
                <a:custGeom>
                  <a:avLst/>
                  <a:gdLst>
                    <a:gd name="connsiteX0" fmla="*/ 76962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31064 h 138207"/>
                    <a:gd name="connsiteX8" fmla="*/ 76962 w 84105"/>
                    <a:gd name="connsiteY8" fmla="*/ 138208 h 138207"/>
                    <a:gd name="connsiteX9" fmla="*/ 14383 w 84105"/>
                    <a:gd name="connsiteY9" fmla="*/ 123920 h 138207"/>
                    <a:gd name="connsiteX10" fmla="*/ 69914 w 84105"/>
                    <a:gd name="connsiteY10" fmla="*/ 123920 h 138207"/>
                    <a:gd name="connsiteX11" fmla="*/ 69914 w 84105"/>
                    <a:gd name="connsiteY11" fmla="*/ 14288 h 138207"/>
                    <a:gd name="connsiteX12" fmla="*/ 14383 w 84105"/>
                    <a:gd name="connsiteY12" fmla="*/ 14288 h 138207"/>
                    <a:gd name="connsiteX13" fmla="*/ 14383 w 84105"/>
                    <a:gd name="connsiteY13" fmla="*/ 123920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105" h="138207">
                      <a:moveTo>
                        <a:pt x="76962"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31064"/>
                      </a:lnTo>
                      <a:cubicBezTo>
                        <a:pt x="84106" y="134969"/>
                        <a:pt x="80963" y="138208"/>
                        <a:pt x="76962" y="138208"/>
                      </a:cubicBezTo>
                      <a:close/>
                      <a:moveTo>
                        <a:pt x="14383" y="123920"/>
                      </a:moveTo>
                      <a:lnTo>
                        <a:pt x="69914" y="123920"/>
                      </a:lnTo>
                      <a:lnTo>
                        <a:pt x="69914" y="14288"/>
                      </a:lnTo>
                      <a:lnTo>
                        <a:pt x="14383" y="14288"/>
                      </a:lnTo>
                      <a:lnTo>
                        <a:pt x="14383" y="123920"/>
                      </a:lnTo>
                      <a:close/>
                    </a:path>
                  </a:pathLst>
                </a:custGeom>
                <a:grpFill/>
                <a:ln w="9525" cap="flat">
                  <a:noFill/>
                  <a:prstDash val="solid"/>
                  <a:miter/>
                </a:ln>
              </p:spPr>
              <p:txBody>
                <a:bodyPr rtlCol="0" anchor="ctr"/>
                <a:lstStyle/>
                <a:p>
                  <a:endParaRPr lang="de-DE"/>
                </a:p>
              </p:txBody>
            </p:sp>
          </p:grpSp>
        </p:grpSp>
      </p:grpSp>
      <p:grpSp>
        <p:nvGrpSpPr>
          <p:cNvPr id="881" name="Group 880">
            <a:extLst>
              <a:ext uri="{FF2B5EF4-FFF2-40B4-BE49-F238E27FC236}">
                <a16:creationId xmlns:a16="http://schemas.microsoft.com/office/drawing/2014/main" id="{E7B9CE27-545B-E3E6-7399-E562B2CF53B1}"/>
              </a:ext>
            </a:extLst>
          </p:cNvPr>
          <p:cNvGrpSpPr/>
          <p:nvPr/>
        </p:nvGrpSpPr>
        <p:grpSpPr>
          <a:xfrm>
            <a:off x="5130237" y="3476660"/>
            <a:ext cx="374400" cy="374400"/>
            <a:chOff x="6096000" y="4549430"/>
            <a:chExt cx="374400" cy="374400"/>
          </a:xfrm>
        </p:grpSpPr>
        <p:grpSp>
          <p:nvGrpSpPr>
            <p:cNvPr id="882" name="Grafik 13">
              <a:extLst>
                <a:ext uri="{FF2B5EF4-FFF2-40B4-BE49-F238E27FC236}">
                  <a16:creationId xmlns:a16="http://schemas.microsoft.com/office/drawing/2014/main" id="{2026A4D7-6EA2-7FEB-EC03-F70B881288FA}"/>
                </a:ext>
              </a:extLst>
            </p:cNvPr>
            <p:cNvGrpSpPr/>
            <p:nvPr/>
          </p:nvGrpSpPr>
          <p:grpSpPr bwMode="gray">
            <a:xfrm>
              <a:off x="6217832" y="4648439"/>
              <a:ext cx="82904" cy="225631"/>
              <a:chOff x="6060661" y="3306222"/>
              <a:chExt cx="130968" cy="305847"/>
            </a:xfrm>
            <a:solidFill>
              <a:schemeClr val="tx1"/>
            </a:solidFill>
          </p:grpSpPr>
          <p:sp>
            <p:nvSpPr>
              <p:cNvPr id="904" name="Grafik 13">
                <a:extLst>
                  <a:ext uri="{FF2B5EF4-FFF2-40B4-BE49-F238E27FC236}">
                    <a16:creationId xmlns:a16="http://schemas.microsoft.com/office/drawing/2014/main" id="{A06225E5-2F03-31B4-64FE-86A3B70E3AE5}"/>
                  </a:ext>
                </a:extLst>
              </p:cNvPr>
              <p:cNvSpPr/>
              <p:nvPr/>
            </p:nvSpPr>
            <p:spPr bwMode="gray">
              <a:xfrm>
                <a:off x="6060661" y="3306222"/>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5" name="Grafik 13">
                <a:extLst>
                  <a:ext uri="{FF2B5EF4-FFF2-40B4-BE49-F238E27FC236}">
                    <a16:creationId xmlns:a16="http://schemas.microsoft.com/office/drawing/2014/main" id="{0D641307-FBBB-B8C7-AB1D-F55C76514C86}"/>
                  </a:ext>
                </a:extLst>
              </p:cNvPr>
              <p:cNvSpPr/>
              <p:nvPr/>
            </p:nvSpPr>
            <p:spPr bwMode="gray">
              <a:xfrm>
                <a:off x="6060661"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1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8" y="72581"/>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437"/>
                      <a:pt x="69437" y="72581"/>
                      <a:pt x="65437" y="72581"/>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6" name="Grafik 13">
                <a:extLst>
                  <a:ext uri="{FF2B5EF4-FFF2-40B4-BE49-F238E27FC236}">
                    <a16:creationId xmlns:a16="http://schemas.microsoft.com/office/drawing/2014/main" id="{9E67C8E2-BFD1-9785-4205-3420AB431A0F}"/>
                  </a:ext>
                </a:extLst>
              </p:cNvPr>
              <p:cNvSpPr/>
              <p:nvPr/>
            </p:nvSpPr>
            <p:spPr bwMode="gray">
              <a:xfrm>
                <a:off x="6060661" y="3422808"/>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437"/>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7" name="Grafik 13">
                <a:extLst>
                  <a:ext uri="{FF2B5EF4-FFF2-40B4-BE49-F238E27FC236}">
                    <a16:creationId xmlns:a16="http://schemas.microsoft.com/office/drawing/2014/main" id="{F1D1D4FC-E928-A7DC-EED8-B4C5A1363AB2}"/>
                  </a:ext>
                </a:extLst>
              </p:cNvPr>
              <p:cNvSpPr/>
              <p:nvPr/>
            </p:nvSpPr>
            <p:spPr bwMode="gray">
              <a:xfrm>
                <a:off x="6060661"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0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8" y="72580"/>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342"/>
                      <a:pt x="69437" y="72580"/>
                      <a:pt x="65437" y="72580"/>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8" name="Grafik 13">
                <a:extLst>
                  <a:ext uri="{FF2B5EF4-FFF2-40B4-BE49-F238E27FC236}">
                    <a16:creationId xmlns:a16="http://schemas.microsoft.com/office/drawing/2014/main" id="{F31AF0AF-CF71-C9D8-E56A-4C989184CC12}"/>
                  </a:ext>
                </a:extLst>
              </p:cNvPr>
              <p:cNvSpPr/>
              <p:nvPr/>
            </p:nvSpPr>
            <p:spPr bwMode="gray">
              <a:xfrm>
                <a:off x="6119050"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1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9" y="72581"/>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437"/>
                      <a:pt x="69342" y="72581"/>
                      <a:pt x="65437" y="72581"/>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09" name="Grafik 13">
                <a:extLst>
                  <a:ext uri="{FF2B5EF4-FFF2-40B4-BE49-F238E27FC236}">
                    <a16:creationId xmlns:a16="http://schemas.microsoft.com/office/drawing/2014/main" id="{F95C68D6-51C9-AF70-C994-0BEBDA72544E}"/>
                  </a:ext>
                </a:extLst>
              </p:cNvPr>
              <p:cNvSpPr/>
              <p:nvPr/>
            </p:nvSpPr>
            <p:spPr bwMode="gray">
              <a:xfrm>
                <a:off x="6119050"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0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9" y="72580"/>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342"/>
                      <a:pt x="69342" y="72580"/>
                      <a:pt x="65437" y="72580"/>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10" name="Grafik 13">
                <a:extLst>
                  <a:ext uri="{FF2B5EF4-FFF2-40B4-BE49-F238E27FC236}">
                    <a16:creationId xmlns:a16="http://schemas.microsoft.com/office/drawing/2014/main" id="{588D789C-178B-5976-D959-7859D1E7383D}"/>
                  </a:ext>
                </a:extLst>
              </p:cNvPr>
              <p:cNvSpPr/>
              <p:nvPr/>
            </p:nvSpPr>
            <p:spPr bwMode="gray">
              <a:xfrm>
                <a:off x="6060661" y="3539489"/>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grpSp>
        <p:sp>
          <p:nvSpPr>
            <p:cNvPr id="883" name="Grafik 31">
              <a:extLst>
                <a:ext uri="{FF2B5EF4-FFF2-40B4-BE49-F238E27FC236}">
                  <a16:creationId xmlns:a16="http://schemas.microsoft.com/office/drawing/2014/main" id="{4C0E8747-5B52-3F13-11D0-8BE3B72546F6}"/>
                </a:ext>
              </a:extLst>
            </p:cNvPr>
            <p:cNvSpPr/>
            <p:nvPr/>
          </p:nvSpPr>
          <p:spPr bwMode="gray">
            <a:xfrm>
              <a:off x="6096000" y="4597905"/>
              <a:ext cx="325925" cy="325925"/>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solidFill>
              <a:schemeClr val="tx1"/>
            </a:solidFill>
            <a:ln w="9525" cap="flat">
              <a:noFill/>
              <a:prstDash val="solid"/>
              <a:miter/>
            </a:ln>
          </p:spPr>
          <p:txBody>
            <a:bodyPr lIns="0" tIns="0" rIns="0" bIns="0" rtlCol="0" anchor="ctr"/>
            <a:lstStyle/>
            <a:p>
              <a:endParaRPr lang="en-US"/>
            </a:p>
          </p:txBody>
        </p:sp>
        <p:sp>
          <p:nvSpPr>
            <p:cNvPr id="884" name="Grafik 31">
              <a:extLst>
                <a:ext uri="{FF2B5EF4-FFF2-40B4-BE49-F238E27FC236}">
                  <a16:creationId xmlns:a16="http://schemas.microsoft.com/office/drawing/2014/main" id="{25CB3767-1A3C-358E-BB63-8EA8E8171758}"/>
                </a:ext>
              </a:extLst>
            </p:cNvPr>
            <p:cNvSpPr/>
            <p:nvPr/>
          </p:nvSpPr>
          <p:spPr bwMode="gray">
            <a:xfrm>
              <a:off x="6144475" y="4549430"/>
              <a:ext cx="325925" cy="325925"/>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solidFill>
              <a:schemeClr val="tx1"/>
            </a:solidFill>
            <a:ln w="9525" cap="flat">
              <a:noFill/>
              <a:prstDash val="solid"/>
              <a:miter/>
            </a:ln>
          </p:spPr>
          <p:txBody>
            <a:bodyPr lIns="0" tIns="0" rIns="0" bIns="0" rtlCol="0" anchor="ctr"/>
            <a:lstStyle/>
            <a:p>
              <a:endParaRPr lang="en-US"/>
            </a:p>
          </p:txBody>
        </p:sp>
        <p:sp>
          <p:nvSpPr>
            <p:cNvPr id="885" name="Grafik 31">
              <a:extLst>
                <a:ext uri="{FF2B5EF4-FFF2-40B4-BE49-F238E27FC236}">
                  <a16:creationId xmlns:a16="http://schemas.microsoft.com/office/drawing/2014/main" id="{D2834544-E769-45F1-7B6F-CEF8021A39CB}"/>
                </a:ext>
              </a:extLst>
            </p:cNvPr>
            <p:cNvSpPr/>
            <p:nvPr/>
          </p:nvSpPr>
          <p:spPr bwMode="gray">
            <a:xfrm>
              <a:off x="6411249"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6" name="Grafik 31">
              <a:extLst>
                <a:ext uri="{FF2B5EF4-FFF2-40B4-BE49-F238E27FC236}">
                  <a16:creationId xmlns:a16="http://schemas.microsoft.com/office/drawing/2014/main" id="{DCBE5577-B1C4-2099-6797-9BAE7334AD74}"/>
                </a:ext>
              </a:extLst>
            </p:cNvPr>
            <p:cNvSpPr/>
            <p:nvPr/>
          </p:nvSpPr>
          <p:spPr bwMode="gray">
            <a:xfrm>
              <a:off x="6096017"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7" name="Grafik 31">
              <a:extLst>
                <a:ext uri="{FF2B5EF4-FFF2-40B4-BE49-F238E27FC236}">
                  <a16:creationId xmlns:a16="http://schemas.microsoft.com/office/drawing/2014/main" id="{5631D816-B6D3-1024-F668-A79B2419433E}"/>
                </a:ext>
              </a:extLst>
            </p:cNvPr>
            <p:cNvSpPr/>
            <p:nvPr/>
          </p:nvSpPr>
          <p:spPr bwMode="gray">
            <a:xfrm>
              <a:off x="6411249" y="4864679"/>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grpSp>
          <p:nvGrpSpPr>
            <p:cNvPr id="888" name="Grafik 31">
              <a:extLst>
                <a:ext uri="{FF2B5EF4-FFF2-40B4-BE49-F238E27FC236}">
                  <a16:creationId xmlns:a16="http://schemas.microsoft.com/office/drawing/2014/main" id="{282AB194-75DF-AD4B-2A30-46CE70FCBA74}"/>
                </a:ext>
              </a:extLst>
            </p:cNvPr>
            <p:cNvGrpSpPr/>
            <p:nvPr/>
          </p:nvGrpSpPr>
          <p:grpSpPr bwMode="gray">
            <a:xfrm>
              <a:off x="6314210" y="4734937"/>
              <a:ext cx="83477" cy="51879"/>
              <a:chOff x="6135147" y="3424451"/>
              <a:chExt cx="111537" cy="69318"/>
            </a:xfrm>
            <a:solidFill>
              <a:schemeClr val="tx1"/>
            </a:solidFill>
          </p:grpSpPr>
          <p:sp>
            <p:nvSpPr>
              <p:cNvPr id="901" name="Grafik 31">
                <a:extLst>
                  <a:ext uri="{FF2B5EF4-FFF2-40B4-BE49-F238E27FC236}">
                    <a16:creationId xmlns:a16="http://schemas.microsoft.com/office/drawing/2014/main" id="{9A3C6C0B-547B-B41C-BC25-9B2FFE27B99D}"/>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902" name="Grafik 31">
                <a:extLst>
                  <a:ext uri="{FF2B5EF4-FFF2-40B4-BE49-F238E27FC236}">
                    <a16:creationId xmlns:a16="http://schemas.microsoft.com/office/drawing/2014/main" id="{61EE94F0-6A8E-55E9-1317-D2BC866AB8B2}"/>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903" name="Grafik 31">
                <a:extLst>
                  <a:ext uri="{FF2B5EF4-FFF2-40B4-BE49-F238E27FC236}">
                    <a16:creationId xmlns:a16="http://schemas.microsoft.com/office/drawing/2014/main" id="{8D4DA76F-7DE4-1EE5-C640-DF5E30EF835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89" name="Grafik 31">
              <a:extLst>
                <a:ext uri="{FF2B5EF4-FFF2-40B4-BE49-F238E27FC236}">
                  <a16:creationId xmlns:a16="http://schemas.microsoft.com/office/drawing/2014/main" id="{64955334-D6A4-8F36-701E-208DE99E63C1}"/>
                </a:ext>
              </a:extLst>
            </p:cNvPr>
            <p:cNvGrpSpPr/>
            <p:nvPr/>
          </p:nvGrpSpPr>
          <p:grpSpPr bwMode="gray">
            <a:xfrm>
              <a:off x="6120309" y="4822263"/>
              <a:ext cx="59168" cy="51807"/>
              <a:chOff x="5876067" y="3541132"/>
              <a:chExt cx="79057" cy="69222"/>
            </a:xfrm>
            <a:solidFill>
              <a:schemeClr val="tx1"/>
            </a:solidFill>
          </p:grpSpPr>
          <p:sp>
            <p:nvSpPr>
              <p:cNvPr id="898" name="Grafik 31">
                <a:extLst>
                  <a:ext uri="{FF2B5EF4-FFF2-40B4-BE49-F238E27FC236}">
                    <a16:creationId xmlns:a16="http://schemas.microsoft.com/office/drawing/2014/main" id="{759B2A8C-4D25-FC93-A8DC-BDE9AA6840CF}"/>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9" name="Grafik 31">
                <a:extLst>
                  <a:ext uri="{FF2B5EF4-FFF2-40B4-BE49-F238E27FC236}">
                    <a16:creationId xmlns:a16="http://schemas.microsoft.com/office/drawing/2014/main" id="{415F2D01-09AD-5565-CA0B-039412773A52}"/>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900" name="Grafik 31">
                <a:extLst>
                  <a:ext uri="{FF2B5EF4-FFF2-40B4-BE49-F238E27FC236}">
                    <a16:creationId xmlns:a16="http://schemas.microsoft.com/office/drawing/2014/main" id="{A98871EC-9550-8110-37B1-45CFD123D464}"/>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0" name="Grafik 31">
              <a:extLst>
                <a:ext uri="{FF2B5EF4-FFF2-40B4-BE49-F238E27FC236}">
                  <a16:creationId xmlns:a16="http://schemas.microsoft.com/office/drawing/2014/main" id="{BBAD91EC-A5B0-D96B-0910-7499CB5B4DA4}"/>
                </a:ext>
              </a:extLst>
            </p:cNvPr>
            <p:cNvGrpSpPr/>
            <p:nvPr/>
          </p:nvGrpSpPr>
          <p:grpSpPr bwMode="gray">
            <a:xfrm>
              <a:off x="6120309" y="4647681"/>
              <a:ext cx="59168" cy="51879"/>
              <a:chOff x="5876067" y="3307865"/>
              <a:chExt cx="79057" cy="69318"/>
            </a:xfrm>
            <a:solidFill>
              <a:schemeClr val="tx1"/>
            </a:solidFill>
          </p:grpSpPr>
          <p:sp>
            <p:nvSpPr>
              <p:cNvPr id="895" name="Grafik 31">
                <a:extLst>
                  <a:ext uri="{FF2B5EF4-FFF2-40B4-BE49-F238E27FC236}">
                    <a16:creationId xmlns:a16="http://schemas.microsoft.com/office/drawing/2014/main" id="{E9B8862E-4B07-4AC2-050E-415B75A71471}"/>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6" name="Grafik 31">
                <a:extLst>
                  <a:ext uri="{FF2B5EF4-FFF2-40B4-BE49-F238E27FC236}">
                    <a16:creationId xmlns:a16="http://schemas.microsoft.com/office/drawing/2014/main" id="{CA36367A-C661-4D59-73EF-8D6DE182A5F3}"/>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7" name="Grafik 31">
                <a:extLst>
                  <a:ext uri="{FF2B5EF4-FFF2-40B4-BE49-F238E27FC236}">
                    <a16:creationId xmlns:a16="http://schemas.microsoft.com/office/drawing/2014/main" id="{9F92E461-2235-AE7F-C0EF-5CD7829D9BF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1" name="Grafik 31">
              <a:extLst>
                <a:ext uri="{FF2B5EF4-FFF2-40B4-BE49-F238E27FC236}">
                  <a16:creationId xmlns:a16="http://schemas.microsoft.com/office/drawing/2014/main" id="{E62D4063-7C9B-FD7C-0C2C-AE80049D46C3}"/>
                </a:ext>
              </a:extLst>
            </p:cNvPr>
            <p:cNvGrpSpPr/>
            <p:nvPr/>
          </p:nvGrpSpPr>
          <p:grpSpPr bwMode="gray">
            <a:xfrm>
              <a:off x="6120309" y="4734937"/>
              <a:ext cx="59168" cy="51879"/>
              <a:chOff x="5876067" y="3307865"/>
              <a:chExt cx="79057" cy="69318"/>
            </a:xfrm>
            <a:solidFill>
              <a:schemeClr val="tx1"/>
            </a:solidFill>
          </p:grpSpPr>
          <p:sp>
            <p:nvSpPr>
              <p:cNvPr id="892" name="Grafik 31">
                <a:extLst>
                  <a:ext uri="{FF2B5EF4-FFF2-40B4-BE49-F238E27FC236}">
                    <a16:creationId xmlns:a16="http://schemas.microsoft.com/office/drawing/2014/main" id="{7BB5FB44-F425-5262-9FA2-AB1E48BCEC7F}"/>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3" name="Grafik 31">
                <a:extLst>
                  <a:ext uri="{FF2B5EF4-FFF2-40B4-BE49-F238E27FC236}">
                    <a16:creationId xmlns:a16="http://schemas.microsoft.com/office/drawing/2014/main" id="{56B4EA95-11F4-72F4-4317-9EB97D8EC207}"/>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4" name="Grafik 31">
                <a:extLst>
                  <a:ext uri="{FF2B5EF4-FFF2-40B4-BE49-F238E27FC236}">
                    <a16:creationId xmlns:a16="http://schemas.microsoft.com/office/drawing/2014/main" id="{1DAEF871-818C-F4EC-D6B7-0C89C920B4C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spTree>
    <p:extLst>
      <p:ext uri="{BB962C8B-B14F-4D97-AF65-F5344CB8AC3E}">
        <p14:creationId xmlns:p14="http://schemas.microsoft.com/office/powerpoint/2010/main" val="30119256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468847-C770-2CC1-5E24-BB402769B4CF}"/>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2)</a:t>
            </a:r>
          </a:p>
        </p:txBody>
      </p:sp>
      <p:sp>
        <p:nvSpPr>
          <p:cNvPr id="3" name="Rectangle 2">
            <a:extLst>
              <a:ext uri="{FF2B5EF4-FFF2-40B4-BE49-F238E27FC236}">
                <a16:creationId xmlns:a16="http://schemas.microsoft.com/office/drawing/2014/main" id="{CC6EF30B-69C7-F407-B842-A3D7A9D136D7}"/>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Voice Platform</a:t>
            </a:r>
            <a:endParaRPr lang="en-US" sz="1100" dirty="0">
              <a:solidFill>
                <a:schemeClr val="tx1"/>
              </a:solidFill>
            </a:endParaRPr>
          </a:p>
        </p:txBody>
      </p:sp>
      <p:sp>
        <p:nvSpPr>
          <p:cNvPr id="4" name="Text Box 55">
            <a:extLst>
              <a:ext uri="{FF2B5EF4-FFF2-40B4-BE49-F238E27FC236}">
                <a16:creationId xmlns:a16="http://schemas.microsoft.com/office/drawing/2014/main" id="{A4FF12AF-4CA9-B4A4-6CED-7989ACFF0745}"/>
              </a:ext>
            </a:extLst>
          </p:cNvPr>
          <p:cNvSpPr txBox="1">
            <a:spLocks noChangeArrowheads="1"/>
          </p:cNvSpPr>
          <p:nvPr/>
        </p:nvSpPr>
        <p:spPr bwMode="auto">
          <a:xfrm>
            <a:off x="814530" y="1366838"/>
            <a:ext cx="106599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edia Gateway</a:t>
            </a:r>
          </a:p>
        </p:txBody>
      </p:sp>
      <p:sp>
        <p:nvSpPr>
          <p:cNvPr id="5" name="Text Box 56">
            <a:extLst>
              <a:ext uri="{FF2B5EF4-FFF2-40B4-BE49-F238E27FC236}">
                <a16:creationId xmlns:a16="http://schemas.microsoft.com/office/drawing/2014/main" id="{DEA598E9-3AB6-F58E-E1C5-35041131F787}"/>
              </a:ext>
            </a:extLst>
          </p:cNvPr>
          <p:cNvSpPr txBox="1">
            <a:spLocks noChangeArrowheads="1"/>
          </p:cNvSpPr>
          <p:nvPr/>
        </p:nvSpPr>
        <p:spPr bwMode="auto">
          <a:xfrm>
            <a:off x="814530" y="1912938"/>
            <a:ext cx="76944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oft Switch</a:t>
            </a:r>
          </a:p>
        </p:txBody>
      </p:sp>
      <p:sp>
        <p:nvSpPr>
          <p:cNvPr id="6" name="Text Box 57">
            <a:extLst>
              <a:ext uri="{FF2B5EF4-FFF2-40B4-BE49-F238E27FC236}">
                <a16:creationId xmlns:a16="http://schemas.microsoft.com/office/drawing/2014/main" id="{DE3910C9-B06D-7FAF-6F9B-341A08B7A325}"/>
              </a:ext>
            </a:extLst>
          </p:cNvPr>
          <p:cNvSpPr txBox="1">
            <a:spLocks noChangeArrowheads="1"/>
          </p:cNvSpPr>
          <p:nvPr/>
        </p:nvSpPr>
        <p:spPr bwMode="auto">
          <a:xfrm>
            <a:off x="814530" y="2459038"/>
            <a:ext cx="57066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Encoder</a:t>
            </a:r>
          </a:p>
        </p:txBody>
      </p:sp>
      <p:sp>
        <p:nvSpPr>
          <p:cNvPr id="7" name="Text Box 58">
            <a:extLst>
              <a:ext uri="{FF2B5EF4-FFF2-40B4-BE49-F238E27FC236}">
                <a16:creationId xmlns:a16="http://schemas.microsoft.com/office/drawing/2014/main" id="{9D2F14DC-4D60-A742-77B4-1D0304EBB27C}"/>
              </a:ext>
            </a:extLst>
          </p:cNvPr>
          <p:cNvSpPr txBox="1">
            <a:spLocks noChangeArrowheads="1"/>
          </p:cNvSpPr>
          <p:nvPr/>
        </p:nvSpPr>
        <p:spPr bwMode="auto">
          <a:xfrm>
            <a:off x="814530" y="3005138"/>
            <a:ext cx="57868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ecoder</a:t>
            </a:r>
          </a:p>
        </p:txBody>
      </p:sp>
      <p:sp>
        <p:nvSpPr>
          <p:cNvPr id="8" name="Text Box 59">
            <a:extLst>
              <a:ext uri="{FF2B5EF4-FFF2-40B4-BE49-F238E27FC236}">
                <a16:creationId xmlns:a16="http://schemas.microsoft.com/office/drawing/2014/main" id="{22707030-A6FE-CAD3-60EC-C9EFCE9F93E8}"/>
              </a:ext>
            </a:extLst>
          </p:cNvPr>
          <p:cNvSpPr txBox="1">
            <a:spLocks noChangeArrowheads="1"/>
          </p:cNvSpPr>
          <p:nvPr/>
        </p:nvSpPr>
        <p:spPr bwMode="auto">
          <a:xfrm>
            <a:off x="814530" y="3551238"/>
            <a:ext cx="77014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ranscoder</a:t>
            </a:r>
          </a:p>
        </p:txBody>
      </p:sp>
      <p:sp>
        <p:nvSpPr>
          <p:cNvPr id="9" name="Text Box 60">
            <a:extLst>
              <a:ext uri="{FF2B5EF4-FFF2-40B4-BE49-F238E27FC236}">
                <a16:creationId xmlns:a16="http://schemas.microsoft.com/office/drawing/2014/main" id="{AD73D9C8-FC28-5D6D-0E71-9158DB7088BA}"/>
              </a:ext>
            </a:extLst>
          </p:cNvPr>
          <p:cNvSpPr txBox="1">
            <a:spLocks noChangeArrowheads="1"/>
          </p:cNvSpPr>
          <p:nvPr/>
        </p:nvSpPr>
        <p:spPr bwMode="auto">
          <a:xfrm>
            <a:off x="814530" y="4097338"/>
            <a:ext cx="114454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Gateway</a:t>
            </a:r>
          </a:p>
        </p:txBody>
      </p:sp>
      <p:sp>
        <p:nvSpPr>
          <p:cNvPr id="10" name="Rectangle 9">
            <a:extLst>
              <a:ext uri="{FF2B5EF4-FFF2-40B4-BE49-F238E27FC236}">
                <a16:creationId xmlns:a16="http://schemas.microsoft.com/office/drawing/2014/main" id="{DF0CABE1-85D8-081F-E617-F8D0DE2D3854}"/>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a:t>
            </a:r>
            <a:endParaRPr lang="en-US" sz="1100" dirty="0">
              <a:solidFill>
                <a:schemeClr val="tx1"/>
              </a:solidFill>
            </a:endParaRPr>
          </a:p>
        </p:txBody>
      </p:sp>
      <p:sp>
        <p:nvSpPr>
          <p:cNvPr id="11" name="Text Box 55">
            <a:extLst>
              <a:ext uri="{FF2B5EF4-FFF2-40B4-BE49-F238E27FC236}">
                <a16:creationId xmlns:a16="http://schemas.microsoft.com/office/drawing/2014/main" id="{D9E2B0C8-B44C-F4B3-BF3A-01F651FA2C97}"/>
              </a:ext>
            </a:extLst>
          </p:cNvPr>
          <p:cNvSpPr txBox="1">
            <a:spLocks noChangeArrowheads="1"/>
          </p:cNvSpPr>
          <p:nvPr/>
        </p:nvSpPr>
        <p:spPr bwMode="auto">
          <a:xfrm>
            <a:off x="3308325" y="1366838"/>
            <a:ext cx="128035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Transport</a:t>
            </a:r>
          </a:p>
        </p:txBody>
      </p:sp>
      <p:sp>
        <p:nvSpPr>
          <p:cNvPr id="12" name="Text Box 56">
            <a:extLst>
              <a:ext uri="{FF2B5EF4-FFF2-40B4-BE49-F238E27FC236}">
                <a16:creationId xmlns:a16="http://schemas.microsoft.com/office/drawing/2014/main" id="{947B42F1-0DF1-524D-D334-C35C91E8D63E}"/>
              </a:ext>
            </a:extLst>
          </p:cNvPr>
          <p:cNvSpPr txBox="1">
            <a:spLocks noChangeArrowheads="1"/>
          </p:cNvSpPr>
          <p:nvPr/>
        </p:nvSpPr>
        <p:spPr bwMode="auto">
          <a:xfrm>
            <a:off x="3308325" y="1912938"/>
            <a:ext cx="10916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Router</a:t>
            </a:r>
          </a:p>
        </p:txBody>
      </p:sp>
      <p:sp>
        <p:nvSpPr>
          <p:cNvPr id="13" name="Text Box 57">
            <a:extLst>
              <a:ext uri="{FF2B5EF4-FFF2-40B4-BE49-F238E27FC236}">
                <a16:creationId xmlns:a16="http://schemas.microsoft.com/office/drawing/2014/main" id="{B07B3E0B-3756-0EEC-6208-3C55FC12727F}"/>
              </a:ext>
            </a:extLst>
          </p:cNvPr>
          <p:cNvSpPr txBox="1">
            <a:spLocks noChangeArrowheads="1"/>
          </p:cNvSpPr>
          <p:nvPr/>
        </p:nvSpPr>
        <p:spPr bwMode="auto">
          <a:xfrm>
            <a:off x="3308325" y="2459038"/>
            <a:ext cx="9137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ase Station </a:t>
            </a:r>
          </a:p>
        </p:txBody>
      </p:sp>
      <p:sp>
        <p:nvSpPr>
          <p:cNvPr id="14" name="Text Box 58">
            <a:extLst>
              <a:ext uri="{FF2B5EF4-FFF2-40B4-BE49-F238E27FC236}">
                <a16:creationId xmlns:a16="http://schemas.microsoft.com/office/drawing/2014/main" id="{DA6D69D5-FD99-14C5-DBAE-50F739534EE9}"/>
              </a:ext>
            </a:extLst>
          </p:cNvPr>
          <p:cNvSpPr txBox="1">
            <a:spLocks noChangeArrowheads="1"/>
          </p:cNvSpPr>
          <p:nvPr/>
        </p:nvSpPr>
        <p:spPr bwMode="auto">
          <a:xfrm>
            <a:off x="3308325" y="3005138"/>
            <a:ext cx="4680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odeB</a:t>
            </a:r>
            <a:endParaRPr lang="en-US" altLang="en-US" sz="1200" dirty="0"/>
          </a:p>
        </p:txBody>
      </p:sp>
      <p:sp>
        <p:nvSpPr>
          <p:cNvPr id="15" name="Text Box 59">
            <a:extLst>
              <a:ext uri="{FF2B5EF4-FFF2-40B4-BE49-F238E27FC236}">
                <a16:creationId xmlns:a16="http://schemas.microsoft.com/office/drawing/2014/main" id="{F753DDB4-03C9-FFBD-111A-FD8D38887426}"/>
              </a:ext>
            </a:extLst>
          </p:cNvPr>
          <p:cNvSpPr txBox="1">
            <a:spLocks noChangeArrowheads="1"/>
          </p:cNvSpPr>
          <p:nvPr/>
        </p:nvSpPr>
        <p:spPr bwMode="auto">
          <a:xfrm>
            <a:off x="3308325" y="3551238"/>
            <a:ext cx="39273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WiAN</a:t>
            </a:r>
            <a:endParaRPr lang="en-US" altLang="en-US" sz="1200" dirty="0"/>
          </a:p>
        </p:txBody>
      </p:sp>
      <p:sp>
        <p:nvSpPr>
          <p:cNvPr id="16" name="Rectangle 15">
            <a:extLst>
              <a:ext uri="{FF2B5EF4-FFF2-40B4-BE49-F238E27FC236}">
                <a16:creationId xmlns:a16="http://schemas.microsoft.com/office/drawing/2014/main" id="{DB71FD37-D7F7-43B4-8DC7-31A01B90B530}"/>
              </a:ext>
            </a:extLst>
          </p:cNvPr>
          <p:cNvSpPr/>
          <p:nvPr/>
        </p:nvSpPr>
        <p:spPr>
          <a:xfrm>
            <a:off x="5130236" y="850740"/>
            <a:ext cx="20097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 - Mobile Service Delivery Platform</a:t>
            </a:r>
            <a:endParaRPr lang="en-US" sz="1100" dirty="0">
              <a:solidFill>
                <a:schemeClr val="tx1"/>
              </a:solidFill>
            </a:endParaRPr>
          </a:p>
        </p:txBody>
      </p:sp>
      <p:sp>
        <p:nvSpPr>
          <p:cNvPr id="17" name="Text Box 55">
            <a:extLst>
              <a:ext uri="{FF2B5EF4-FFF2-40B4-BE49-F238E27FC236}">
                <a16:creationId xmlns:a16="http://schemas.microsoft.com/office/drawing/2014/main" id="{1A534524-8B75-FE53-588D-8EC4B7B52E4E}"/>
              </a:ext>
            </a:extLst>
          </p:cNvPr>
          <p:cNvSpPr txBox="1">
            <a:spLocks noChangeArrowheads="1"/>
          </p:cNvSpPr>
          <p:nvPr/>
        </p:nvSpPr>
        <p:spPr bwMode="auto">
          <a:xfrm>
            <a:off x="5668571" y="1366838"/>
            <a:ext cx="15111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Access Point</a:t>
            </a:r>
          </a:p>
        </p:txBody>
      </p:sp>
      <p:sp>
        <p:nvSpPr>
          <p:cNvPr id="18" name="Text Box 56">
            <a:extLst>
              <a:ext uri="{FF2B5EF4-FFF2-40B4-BE49-F238E27FC236}">
                <a16:creationId xmlns:a16="http://schemas.microsoft.com/office/drawing/2014/main" id="{D9CB9A5F-5CB7-9D67-4839-CBAF63E65F66}"/>
              </a:ext>
            </a:extLst>
          </p:cNvPr>
          <p:cNvSpPr txBox="1">
            <a:spLocks noChangeArrowheads="1"/>
          </p:cNvSpPr>
          <p:nvPr/>
        </p:nvSpPr>
        <p:spPr bwMode="auto">
          <a:xfrm>
            <a:off x="5668571" y="1912938"/>
            <a:ext cx="10740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Bridge</a:t>
            </a:r>
          </a:p>
        </p:txBody>
      </p:sp>
      <p:sp>
        <p:nvSpPr>
          <p:cNvPr id="19" name="Text Box 57">
            <a:extLst>
              <a:ext uri="{FF2B5EF4-FFF2-40B4-BE49-F238E27FC236}">
                <a16:creationId xmlns:a16="http://schemas.microsoft.com/office/drawing/2014/main" id="{78F325CA-659B-5DB1-5248-B71501A4D253}"/>
              </a:ext>
            </a:extLst>
          </p:cNvPr>
          <p:cNvSpPr txBox="1">
            <a:spLocks noChangeArrowheads="1"/>
          </p:cNvSpPr>
          <p:nvPr/>
        </p:nvSpPr>
        <p:spPr bwMode="auto">
          <a:xfrm>
            <a:off x="5668571" y="2459038"/>
            <a:ext cx="115095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LAN Controller</a:t>
            </a:r>
          </a:p>
        </p:txBody>
      </p:sp>
      <p:sp>
        <p:nvSpPr>
          <p:cNvPr id="20" name="Text Box 58">
            <a:extLst>
              <a:ext uri="{FF2B5EF4-FFF2-40B4-BE49-F238E27FC236}">
                <a16:creationId xmlns:a16="http://schemas.microsoft.com/office/drawing/2014/main" id="{954F10E1-6FB7-0A66-D598-E0F3C17AE9DB}"/>
              </a:ext>
            </a:extLst>
          </p:cNvPr>
          <p:cNvSpPr txBox="1">
            <a:spLocks noChangeArrowheads="1"/>
          </p:cNvSpPr>
          <p:nvPr/>
        </p:nvSpPr>
        <p:spPr bwMode="auto">
          <a:xfrm>
            <a:off x="5668571" y="3005138"/>
            <a:ext cx="7486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ell Phone</a:t>
            </a:r>
          </a:p>
        </p:txBody>
      </p:sp>
      <p:sp>
        <p:nvSpPr>
          <p:cNvPr id="21" name="Text Box 59">
            <a:extLst>
              <a:ext uri="{FF2B5EF4-FFF2-40B4-BE49-F238E27FC236}">
                <a16:creationId xmlns:a16="http://schemas.microsoft.com/office/drawing/2014/main" id="{D686A005-4A86-7195-EE3E-812EA59816A0}"/>
              </a:ext>
            </a:extLst>
          </p:cNvPr>
          <p:cNvSpPr txBox="1">
            <a:spLocks noChangeArrowheads="1"/>
          </p:cNvSpPr>
          <p:nvPr/>
        </p:nvSpPr>
        <p:spPr bwMode="auto">
          <a:xfrm>
            <a:off x="5668571" y="3551238"/>
            <a:ext cx="43601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GSN</a:t>
            </a:r>
          </a:p>
        </p:txBody>
      </p:sp>
      <p:sp>
        <p:nvSpPr>
          <p:cNvPr id="22" name="Rectangle 21">
            <a:extLst>
              <a:ext uri="{FF2B5EF4-FFF2-40B4-BE49-F238E27FC236}">
                <a16:creationId xmlns:a16="http://schemas.microsoft.com/office/drawing/2014/main" id="{698FD52B-784B-96F4-0BA8-F62F2C7FBFD3}"/>
              </a:ext>
            </a:extLst>
          </p:cNvPr>
          <p:cNvSpPr/>
          <p:nvPr/>
        </p:nvSpPr>
        <p:spPr>
          <a:xfrm>
            <a:off x="7536202" y="850740"/>
            <a:ext cx="20454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ine Technology - Signaling</a:t>
            </a:r>
            <a:endParaRPr lang="en-US" sz="1100" dirty="0">
              <a:solidFill>
                <a:schemeClr val="tx1"/>
              </a:solidFill>
            </a:endParaRPr>
          </a:p>
        </p:txBody>
      </p:sp>
      <p:sp>
        <p:nvSpPr>
          <p:cNvPr id="23" name="Text Box 55">
            <a:extLst>
              <a:ext uri="{FF2B5EF4-FFF2-40B4-BE49-F238E27FC236}">
                <a16:creationId xmlns:a16="http://schemas.microsoft.com/office/drawing/2014/main" id="{0F2B9284-FB5A-D247-EE8E-D14114FD264E}"/>
              </a:ext>
            </a:extLst>
          </p:cNvPr>
          <p:cNvSpPr txBox="1">
            <a:spLocks noChangeArrowheads="1"/>
          </p:cNvSpPr>
          <p:nvPr/>
        </p:nvSpPr>
        <p:spPr bwMode="auto">
          <a:xfrm>
            <a:off x="8074255" y="1366838"/>
            <a:ext cx="149079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igital Cross-Connect</a:t>
            </a:r>
          </a:p>
        </p:txBody>
      </p:sp>
      <p:sp>
        <p:nvSpPr>
          <p:cNvPr id="24" name="Text Box 56">
            <a:extLst>
              <a:ext uri="{FF2B5EF4-FFF2-40B4-BE49-F238E27FC236}">
                <a16:creationId xmlns:a16="http://schemas.microsoft.com/office/drawing/2014/main" id="{28A07BA3-8796-E51E-BFCC-2A1C6B798EC7}"/>
              </a:ext>
            </a:extLst>
          </p:cNvPr>
          <p:cNvSpPr txBox="1">
            <a:spLocks noChangeArrowheads="1"/>
          </p:cNvSpPr>
          <p:nvPr/>
        </p:nvSpPr>
        <p:spPr bwMode="auto">
          <a:xfrm>
            <a:off x="8074255" y="1912938"/>
            <a:ext cx="129798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xed Access Point</a:t>
            </a:r>
          </a:p>
        </p:txBody>
      </p:sp>
      <p:sp>
        <p:nvSpPr>
          <p:cNvPr id="25" name="Text Box 57">
            <a:extLst>
              <a:ext uri="{FF2B5EF4-FFF2-40B4-BE49-F238E27FC236}">
                <a16:creationId xmlns:a16="http://schemas.microsoft.com/office/drawing/2014/main" id="{D8BEC6AB-17AE-E809-9CC5-02AC8FF7D0AC}"/>
              </a:ext>
            </a:extLst>
          </p:cNvPr>
          <p:cNvSpPr txBox="1">
            <a:spLocks noChangeArrowheads="1"/>
          </p:cNvSpPr>
          <p:nvPr/>
        </p:nvSpPr>
        <p:spPr bwMode="auto">
          <a:xfrm>
            <a:off x="8074255" y="2459038"/>
            <a:ext cx="44403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AN</a:t>
            </a:r>
          </a:p>
        </p:txBody>
      </p:sp>
      <p:sp>
        <p:nvSpPr>
          <p:cNvPr id="26" name="Text Box 58">
            <a:extLst>
              <a:ext uri="{FF2B5EF4-FFF2-40B4-BE49-F238E27FC236}">
                <a16:creationId xmlns:a16="http://schemas.microsoft.com/office/drawing/2014/main" id="{7ECBECA6-40E2-F5E4-E26D-4C4BCFFBCF71}"/>
              </a:ext>
            </a:extLst>
          </p:cNvPr>
          <p:cNvSpPr txBox="1">
            <a:spLocks noChangeArrowheads="1"/>
          </p:cNvSpPr>
          <p:nvPr/>
        </p:nvSpPr>
        <p:spPr bwMode="auto">
          <a:xfrm>
            <a:off x="8074255" y="30051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BC</a:t>
            </a:r>
          </a:p>
        </p:txBody>
      </p:sp>
      <p:sp>
        <p:nvSpPr>
          <p:cNvPr id="27" name="Rectangle 26">
            <a:extLst>
              <a:ext uri="{FF2B5EF4-FFF2-40B4-BE49-F238E27FC236}">
                <a16:creationId xmlns:a16="http://schemas.microsoft.com/office/drawing/2014/main" id="{A8869166-0721-9AAD-1312-205476913F73}"/>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28" name="Text Box 55">
            <a:extLst>
              <a:ext uri="{FF2B5EF4-FFF2-40B4-BE49-F238E27FC236}">
                <a16:creationId xmlns:a16="http://schemas.microsoft.com/office/drawing/2014/main" id="{FECEC741-6D53-58A3-6266-3EF17ED20564}"/>
              </a:ext>
            </a:extLst>
          </p:cNvPr>
          <p:cNvSpPr txBox="1">
            <a:spLocks noChangeArrowheads="1"/>
          </p:cNvSpPr>
          <p:nvPr/>
        </p:nvSpPr>
        <p:spPr bwMode="auto">
          <a:xfrm>
            <a:off x="10517136" y="1366838"/>
            <a:ext cx="123591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atabase/Storage</a:t>
            </a:r>
          </a:p>
        </p:txBody>
      </p:sp>
      <p:sp>
        <p:nvSpPr>
          <p:cNvPr id="29" name="Text Box 56">
            <a:extLst>
              <a:ext uri="{FF2B5EF4-FFF2-40B4-BE49-F238E27FC236}">
                <a16:creationId xmlns:a16="http://schemas.microsoft.com/office/drawing/2014/main" id="{1A1A2521-95E1-BE33-8AEA-C4E1BE0B7448}"/>
              </a:ext>
            </a:extLst>
          </p:cNvPr>
          <p:cNvSpPr txBox="1">
            <a:spLocks noChangeArrowheads="1"/>
          </p:cNvSpPr>
          <p:nvPr/>
        </p:nvSpPr>
        <p:spPr bwMode="auto">
          <a:xfrm>
            <a:off x="10517136" y="1912938"/>
            <a:ext cx="60593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ateway</a:t>
            </a:r>
          </a:p>
        </p:txBody>
      </p:sp>
      <p:sp>
        <p:nvSpPr>
          <p:cNvPr id="30" name="Text Box 57">
            <a:extLst>
              <a:ext uri="{FF2B5EF4-FFF2-40B4-BE49-F238E27FC236}">
                <a16:creationId xmlns:a16="http://schemas.microsoft.com/office/drawing/2014/main" id="{8E99D301-D715-F69C-B0B7-E8EFA095ED7E}"/>
              </a:ext>
            </a:extLst>
          </p:cNvPr>
          <p:cNvSpPr txBox="1">
            <a:spLocks noChangeArrowheads="1"/>
          </p:cNvSpPr>
          <p:nvPr/>
        </p:nvSpPr>
        <p:spPr bwMode="auto">
          <a:xfrm>
            <a:off x="10517136" y="2459038"/>
            <a:ext cx="66364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ler</a:t>
            </a:r>
          </a:p>
        </p:txBody>
      </p:sp>
      <p:sp>
        <p:nvSpPr>
          <p:cNvPr id="31" name="Text Box 58">
            <a:extLst>
              <a:ext uri="{FF2B5EF4-FFF2-40B4-BE49-F238E27FC236}">
                <a16:creationId xmlns:a16="http://schemas.microsoft.com/office/drawing/2014/main" id="{37E3B3C6-6CEB-7B7C-2A3F-134DDF43B908}"/>
              </a:ext>
            </a:extLst>
          </p:cNvPr>
          <p:cNvSpPr txBox="1">
            <a:spLocks noChangeArrowheads="1"/>
          </p:cNvSpPr>
          <p:nvPr/>
        </p:nvSpPr>
        <p:spPr bwMode="auto">
          <a:xfrm>
            <a:off x="10517136" y="3005138"/>
            <a:ext cx="10050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 Device</a:t>
            </a:r>
          </a:p>
        </p:txBody>
      </p:sp>
      <p:sp>
        <p:nvSpPr>
          <p:cNvPr id="32" name="Text Box 59">
            <a:extLst>
              <a:ext uri="{FF2B5EF4-FFF2-40B4-BE49-F238E27FC236}">
                <a16:creationId xmlns:a16="http://schemas.microsoft.com/office/drawing/2014/main" id="{484EE3CC-8EA9-6F2F-9EC1-48B520198014}"/>
              </a:ext>
            </a:extLst>
          </p:cNvPr>
          <p:cNvSpPr txBox="1">
            <a:spLocks noChangeArrowheads="1"/>
          </p:cNvSpPr>
          <p:nvPr/>
        </p:nvSpPr>
        <p:spPr bwMode="auto">
          <a:xfrm>
            <a:off x="10517136" y="3551238"/>
            <a:ext cx="100668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Device</a:t>
            </a:r>
          </a:p>
        </p:txBody>
      </p:sp>
      <p:sp>
        <p:nvSpPr>
          <p:cNvPr id="33" name="Text Box 60">
            <a:extLst>
              <a:ext uri="{FF2B5EF4-FFF2-40B4-BE49-F238E27FC236}">
                <a16:creationId xmlns:a16="http://schemas.microsoft.com/office/drawing/2014/main" id="{BDD07E0D-0EF1-759C-F630-433A39EFC449}"/>
              </a:ext>
            </a:extLst>
          </p:cNvPr>
          <p:cNvSpPr txBox="1">
            <a:spLocks noChangeArrowheads="1"/>
          </p:cNvSpPr>
          <p:nvPr/>
        </p:nvSpPr>
        <p:spPr bwMode="auto">
          <a:xfrm>
            <a:off x="10517136" y="4097338"/>
            <a:ext cx="11691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POTS</a:t>
            </a:r>
          </a:p>
        </p:txBody>
      </p:sp>
      <p:grpSp>
        <p:nvGrpSpPr>
          <p:cNvPr id="34" name="Grafik 3848">
            <a:extLst>
              <a:ext uri="{FF2B5EF4-FFF2-40B4-BE49-F238E27FC236}">
                <a16:creationId xmlns:a16="http://schemas.microsoft.com/office/drawing/2014/main" id="{A0494834-C8E7-C40F-2A1B-F9A0965B2E7C}"/>
              </a:ext>
            </a:extLst>
          </p:cNvPr>
          <p:cNvGrpSpPr/>
          <p:nvPr/>
        </p:nvGrpSpPr>
        <p:grpSpPr bwMode="gray">
          <a:xfrm>
            <a:off x="318304" y="1327754"/>
            <a:ext cx="374400" cy="374400"/>
            <a:chOff x="5843587" y="3176587"/>
            <a:chExt cx="500253" cy="500253"/>
          </a:xfrm>
          <a:solidFill>
            <a:schemeClr val="tx1"/>
          </a:solidFill>
        </p:grpSpPr>
        <p:grpSp>
          <p:nvGrpSpPr>
            <p:cNvPr id="35" name="Grafik 3848">
              <a:extLst>
                <a:ext uri="{FF2B5EF4-FFF2-40B4-BE49-F238E27FC236}">
                  <a16:creationId xmlns:a16="http://schemas.microsoft.com/office/drawing/2014/main" id="{DF24C037-B2CE-B860-64FD-854BA3F7ADB2}"/>
                </a:ext>
              </a:extLst>
            </p:cNvPr>
            <p:cNvGrpSpPr/>
            <p:nvPr/>
          </p:nvGrpSpPr>
          <p:grpSpPr bwMode="gray">
            <a:xfrm>
              <a:off x="5843587" y="3176587"/>
              <a:ext cx="500253" cy="500253"/>
              <a:chOff x="5843587" y="3176587"/>
              <a:chExt cx="500253" cy="500253"/>
            </a:xfrm>
            <a:grpFill/>
          </p:grpSpPr>
          <p:sp>
            <p:nvSpPr>
              <p:cNvPr id="55" name="Grafik 3848">
                <a:extLst>
                  <a:ext uri="{FF2B5EF4-FFF2-40B4-BE49-F238E27FC236}">
                    <a16:creationId xmlns:a16="http://schemas.microsoft.com/office/drawing/2014/main" id="{8183B02B-9631-861D-E710-D45214FB6D1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 name="Grafik 3848">
                <a:extLst>
                  <a:ext uri="{FF2B5EF4-FFF2-40B4-BE49-F238E27FC236}">
                    <a16:creationId xmlns:a16="http://schemas.microsoft.com/office/drawing/2014/main" id="{7301E020-6702-ADCB-98BF-55EB077641F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 name="Grafik 3848">
                <a:extLst>
                  <a:ext uri="{FF2B5EF4-FFF2-40B4-BE49-F238E27FC236}">
                    <a16:creationId xmlns:a16="http://schemas.microsoft.com/office/drawing/2014/main" id="{5276BF08-0AA2-7B3B-43AA-86AE0E16B4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 name="Grafik 3848">
                <a:extLst>
                  <a:ext uri="{FF2B5EF4-FFF2-40B4-BE49-F238E27FC236}">
                    <a16:creationId xmlns:a16="http://schemas.microsoft.com/office/drawing/2014/main" id="{6CD1969A-5FAF-E962-C11F-23839758E6C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 name="Grafik 3848">
                <a:extLst>
                  <a:ext uri="{FF2B5EF4-FFF2-40B4-BE49-F238E27FC236}">
                    <a16:creationId xmlns:a16="http://schemas.microsoft.com/office/drawing/2014/main" id="{0923CF46-394A-8985-0EDE-22DC82C857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 name="Grafik 3848">
              <a:extLst>
                <a:ext uri="{FF2B5EF4-FFF2-40B4-BE49-F238E27FC236}">
                  <a16:creationId xmlns:a16="http://schemas.microsoft.com/office/drawing/2014/main" id="{C712DC00-9D5F-E594-9A7F-FF748082AB3A}"/>
                </a:ext>
              </a:extLst>
            </p:cNvPr>
            <p:cNvSpPr/>
            <p:nvPr/>
          </p:nvSpPr>
          <p:spPr bwMode="gray">
            <a:xfrm>
              <a:off x="6008103" y="3404948"/>
              <a:ext cx="108760" cy="108537"/>
            </a:xfrm>
            <a:custGeom>
              <a:avLst/>
              <a:gdLst>
                <a:gd name="connsiteX0" fmla="*/ 85515 w 108760"/>
                <a:gd name="connsiteY0" fmla="*/ 108537 h 108537"/>
                <a:gd name="connsiteX1" fmla="*/ 80467 w 108760"/>
                <a:gd name="connsiteY1" fmla="*/ 107585 h 108537"/>
                <a:gd name="connsiteX2" fmla="*/ 838 w 108760"/>
                <a:gd name="connsiteY2" fmla="*/ 27956 h 108537"/>
                <a:gd name="connsiteX3" fmla="*/ 4267 w 108760"/>
                <a:gd name="connsiteY3" fmla="*/ 12716 h 108537"/>
                <a:gd name="connsiteX4" fmla="*/ 13411 w 108760"/>
                <a:gd name="connsiteY4" fmla="*/ 3572 h 108537"/>
                <a:gd name="connsiteX5" fmla="*/ 31318 w 108760"/>
                <a:gd name="connsiteY5" fmla="*/ 3572 h 108537"/>
                <a:gd name="connsiteX6" fmla="*/ 46748 w 108760"/>
                <a:gd name="connsiteY6" fmla="*/ 19002 h 108537"/>
                <a:gd name="connsiteX7" fmla="*/ 46748 w 108760"/>
                <a:gd name="connsiteY7" fmla="*/ 36909 h 108537"/>
                <a:gd name="connsiteX8" fmla="*/ 39700 w 108760"/>
                <a:gd name="connsiteY8" fmla="*/ 43958 h 108537"/>
                <a:gd name="connsiteX9" fmla="*/ 64655 w 108760"/>
                <a:gd name="connsiteY9" fmla="*/ 68818 h 108537"/>
                <a:gd name="connsiteX10" fmla="*/ 71704 w 108760"/>
                <a:gd name="connsiteY10" fmla="*/ 61770 h 108537"/>
                <a:gd name="connsiteX11" fmla="*/ 89611 w 108760"/>
                <a:gd name="connsiteY11" fmla="*/ 61770 h 108537"/>
                <a:gd name="connsiteX12" fmla="*/ 105041 w 108760"/>
                <a:gd name="connsiteY12" fmla="*/ 77200 h 108537"/>
                <a:gd name="connsiteX13" fmla="*/ 108756 w 108760"/>
                <a:gd name="connsiteY13" fmla="*/ 86344 h 108537"/>
                <a:gd name="connsiteX14" fmla="*/ 104946 w 108760"/>
                <a:gd name="connsiteY14" fmla="*/ 95202 h 108537"/>
                <a:gd name="connsiteX15" fmla="*/ 95802 w 108760"/>
                <a:gd name="connsiteY15" fmla="*/ 104251 h 108537"/>
                <a:gd name="connsiteX16" fmla="*/ 85515 w 108760"/>
                <a:gd name="connsiteY16" fmla="*/ 108537 h 108537"/>
                <a:gd name="connsiteX17" fmla="*/ 63226 w 108760"/>
                <a:gd name="connsiteY17" fmla="*/ 83296 h 108537"/>
                <a:gd name="connsiteX18" fmla="*/ 85420 w 108760"/>
                <a:gd name="connsiteY18" fmla="*/ 94155 h 108537"/>
                <a:gd name="connsiteX19" fmla="*/ 93706 w 108760"/>
                <a:gd name="connsiteY19" fmla="*/ 86058 h 108537"/>
                <a:gd name="connsiteX20" fmla="*/ 80562 w 108760"/>
                <a:gd name="connsiteY20" fmla="*/ 72914 h 108537"/>
                <a:gd name="connsiteX21" fmla="*/ 73990 w 108760"/>
                <a:gd name="connsiteY21" fmla="*/ 79486 h 108537"/>
                <a:gd name="connsiteX22" fmla="*/ 63226 w 108760"/>
                <a:gd name="connsiteY22" fmla="*/ 83296 h 108537"/>
                <a:gd name="connsiteX23" fmla="*/ 94849 w 108760"/>
                <a:gd name="connsiteY23" fmla="*/ 87297 h 108537"/>
                <a:gd name="connsiteX24" fmla="*/ 94945 w 108760"/>
                <a:gd name="connsiteY24" fmla="*/ 87297 h 108537"/>
                <a:gd name="connsiteX25" fmla="*/ 94849 w 108760"/>
                <a:gd name="connsiteY25" fmla="*/ 87297 h 108537"/>
                <a:gd name="connsiteX26" fmla="*/ 94849 w 108760"/>
                <a:gd name="connsiteY26" fmla="*/ 84915 h 108537"/>
                <a:gd name="connsiteX27" fmla="*/ 94849 w 108760"/>
                <a:gd name="connsiteY27" fmla="*/ 84915 h 108537"/>
                <a:gd name="connsiteX28" fmla="*/ 94849 w 108760"/>
                <a:gd name="connsiteY28" fmla="*/ 84915 h 108537"/>
                <a:gd name="connsiteX29" fmla="*/ 22269 w 108760"/>
                <a:gd name="connsiteY29" fmla="*/ 14811 h 108537"/>
                <a:gd name="connsiteX30" fmla="*/ 14363 w 108760"/>
                <a:gd name="connsiteY30" fmla="*/ 22717 h 108537"/>
                <a:gd name="connsiteX31" fmla="*/ 25126 w 108760"/>
                <a:gd name="connsiteY31" fmla="*/ 44910 h 108537"/>
                <a:gd name="connsiteX32" fmla="*/ 28841 w 108760"/>
                <a:gd name="connsiteY32" fmla="*/ 34433 h 108537"/>
                <a:gd name="connsiteX33" fmla="*/ 35413 w 108760"/>
                <a:gd name="connsiteY33" fmla="*/ 27861 h 108537"/>
                <a:gd name="connsiteX34" fmla="*/ 22269 w 108760"/>
                <a:gd name="connsiteY34" fmla="*/ 14811 h 1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8760" h="108537">
                  <a:moveTo>
                    <a:pt x="85515" y="108537"/>
                  </a:moveTo>
                  <a:cubicBezTo>
                    <a:pt x="83800" y="108537"/>
                    <a:pt x="82086" y="108252"/>
                    <a:pt x="80467" y="107585"/>
                  </a:cubicBezTo>
                  <a:cubicBezTo>
                    <a:pt x="43510" y="93964"/>
                    <a:pt x="14458" y="65008"/>
                    <a:pt x="838" y="27956"/>
                  </a:cubicBezTo>
                  <a:cubicBezTo>
                    <a:pt x="-1067" y="22527"/>
                    <a:pt x="361" y="16621"/>
                    <a:pt x="4267" y="12716"/>
                  </a:cubicBezTo>
                  <a:lnTo>
                    <a:pt x="13411" y="3572"/>
                  </a:lnTo>
                  <a:cubicBezTo>
                    <a:pt x="18173" y="-1191"/>
                    <a:pt x="26555" y="-1191"/>
                    <a:pt x="31318" y="3572"/>
                  </a:cubicBezTo>
                  <a:lnTo>
                    <a:pt x="46748" y="19002"/>
                  </a:lnTo>
                  <a:cubicBezTo>
                    <a:pt x="51701" y="23955"/>
                    <a:pt x="51701" y="31956"/>
                    <a:pt x="46748" y="36909"/>
                  </a:cubicBezTo>
                  <a:lnTo>
                    <a:pt x="39700" y="43958"/>
                  </a:lnTo>
                  <a:cubicBezTo>
                    <a:pt x="45986" y="53769"/>
                    <a:pt x="54559" y="62341"/>
                    <a:pt x="64655" y="68818"/>
                  </a:cubicBezTo>
                  <a:lnTo>
                    <a:pt x="71704" y="61770"/>
                  </a:lnTo>
                  <a:cubicBezTo>
                    <a:pt x="76657" y="56817"/>
                    <a:pt x="84658" y="56817"/>
                    <a:pt x="89611" y="61770"/>
                  </a:cubicBezTo>
                  <a:lnTo>
                    <a:pt x="105041" y="77200"/>
                  </a:lnTo>
                  <a:cubicBezTo>
                    <a:pt x="107518" y="79677"/>
                    <a:pt x="108851" y="82915"/>
                    <a:pt x="108756" y="86344"/>
                  </a:cubicBezTo>
                  <a:cubicBezTo>
                    <a:pt x="108756" y="89773"/>
                    <a:pt x="107327" y="92916"/>
                    <a:pt x="104946" y="95202"/>
                  </a:cubicBezTo>
                  <a:lnTo>
                    <a:pt x="95802" y="104251"/>
                  </a:lnTo>
                  <a:cubicBezTo>
                    <a:pt x="93040" y="107013"/>
                    <a:pt x="89325" y="108537"/>
                    <a:pt x="85515" y="108537"/>
                  </a:cubicBezTo>
                  <a:close/>
                  <a:moveTo>
                    <a:pt x="63226" y="83296"/>
                  </a:moveTo>
                  <a:cubicBezTo>
                    <a:pt x="70180" y="87678"/>
                    <a:pt x="77609" y="91297"/>
                    <a:pt x="85420" y="94155"/>
                  </a:cubicBezTo>
                  <a:lnTo>
                    <a:pt x="93706" y="86058"/>
                  </a:lnTo>
                  <a:lnTo>
                    <a:pt x="80562" y="72914"/>
                  </a:lnTo>
                  <a:lnTo>
                    <a:pt x="73990" y="79486"/>
                  </a:lnTo>
                  <a:cubicBezTo>
                    <a:pt x="71037" y="82534"/>
                    <a:pt x="67036" y="83772"/>
                    <a:pt x="63226" y="83296"/>
                  </a:cubicBezTo>
                  <a:close/>
                  <a:moveTo>
                    <a:pt x="94849" y="87297"/>
                  </a:moveTo>
                  <a:lnTo>
                    <a:pt x="94945" y="87297"/>
                  </a:lnTo>
                  <a:lnTo>
                    <a:pt x="94849" y="87297"/>
                  </a:lnTo>
                  <a:close/>
                  <a:moveTo>
                    <a:pt x="94849" y="84915"/>
                  </a:moveTo>
                  <a:cubicBezTo>
                    <a:pt x="94849" y="84915"/>
                    <a:pt x="94849" y="84915"/>
                    <a:pt x="94849" y="84915"/>
                  </a:cubicBezTo>
                  <a:lnTo>
                    <a:pt x="94849" y="84915"/>
                  </a:lnTo>
                  <a:close/>
                  <a:moveTo>
                    <a:pt x="22269" y="14811"/>
                  </a:moveTo>
                  <a:lnTo>
                    <a:pt x="14363" y="22717"/>
                  </a:lnTo>
                  <a:cubicBezTo>
                    <a:pt x="17221" y="30528"/>
                    <a:pt x="20840" y="38052"/>
                    <a:pt x="25126" y="44910"/>
                  </a:cubicBezTo>
                  <a:cubicBezTo>
                    <a:pt x="24745" y="41100"/>
                    <a:pt x="26079" y="37195"/>
                    <a:pt x="28841" y="34433"/>
                  </a:cubicBezTo>
                  <a:lnTo>
                    <a:pt x="35413" y="27861"/>
                  </a:lnTo>
                  <a:lnTo>
                    <a:pt x="22269" y="14811"/>
                  </a:lnTo>
                  <a:close/>
                </a:path>
              </a:pathLst>
            </a:custGeom>
            <a:grpFill/>
            <a:ln w="9525" cap="flat">
              <a:noFill/>
              <a:prstDash val="solid"/>
              <a:miter/>
            </a:ln>
          </p:spPr>
          <p:txBody>
            <a:bodyPr rtlCol="0" anchor="ctr"/>
            <a:lstStyle/>
            <a:p>
              <a:endParaRPr lang="de-DE"/>
            </a:p>
          </p:txBody>
        </p:sp>
        <p:grpSp>
          <p:nvGrpSpPr>
            <p:cNvPr id="37" name="Grafik 3848">
              <a:extLst>
                <a:ext uri="{FF2B5EF4-FFF2-40B4-BE49-F238E27FC236}">
                  <a16:creationId xmlns:a16="http://schemas.microsoft.com/office/drawing/2014/main" id="{21AEEEE1-37FF-B6D2-57A7-7434A2871F86}"/>
                </a:ext>
              </a:extLst>
            </p:cNvPr>
            <p:cNvGrpSpPr/>
            <p:nvPr/>
          </p:nvGrpSpPr>
          <p:grpSpPr bwMode="gray">
            <a:xfrm>
              <a:off x="5883306" y="3281171"/>
              <a:ext cx="356044" cy="355949"/>
              <a:chOff x="5883306" y="3281171"/>
              <a:chExt cx="356044" cy="355949"/>
            </a:xfrm>
            <a:grpFill/>
          </p:grpSpPr>
          <p:grpSp>
            <p:nvGrpSpPr>
              <p:cNvPr id="38" name="Grafik 3848">
                <a:extLst>
                  <a:ext uri="{FF2B5EF4-FFF2-40B4-BE49-F238E27FC236}">
                    <a16:creationId xmlns:a16="http://schemas.microsoft.com/office/drawing/2014/main" id="{BDC2B659-2F86-EECB-0D93-4957C94D923C}"/>
                  </a:ext>
                </a:extLst>
              </p:cNvPr>
              <p:cNvGrpSpPr/>
              <p:nvPr/>
            </p:nvGrpSpPr>
            <p:grpSpPr bwMode="gray">
              <a:xfrm>
                <a:off x="6054184" y="3343203"/>
                <a:ext cx="185165" cy="71127"/>
                <a:chOff x="6054184" y="3343203"/>
                <a:chExt cx="185165" cy="71127"/>
              </a:xfrm>
              <a:grpFill/>
            </p:grpSpPr>
            <p:sp>
              <p:nvSpPr>
                <p:cNvPr id="52" name="Grafik 3848">
                  <a:extLst>
                    <a:ext uri="{FF2B5EF4-FFF2-40B4-BE49-F238E27FC236}">
                      <a16:creationId xmlns:a16="http://schemas.microsoft.com/office/drawing/2014/main" id="{79709A71-5FBE-562B-DDB4-3507D5A79DB3}"/>
                    </a:ext>
                  </a:extLst>
                </p:cNvPr>
                <p:cNvSpPr/>
                <p:nvPr/>
              </p:nvSpPr>
              <p:spPr bwMode="gray">
                <a:xfrm>
                  <a:off x="6054184" y="3371563"/>
                  <a:ext cx="185165" cy="14287"/>
                </a:xfrm>
                <a:custGeom>
                  <a:avLst/>
                  <a:gdLst>
                    <a:gd name="connsiteX0" fmla="*/ 178022 w 185165"/>
                    <a:gd name="connsiteY0" fmla="*/ 14288 h 14287"/>
                    <a:gd name="connsiteX1" fmla="*/ 7144 w 185165"/>
                    <a:gd name="connsiteY1" fmla="*/ 14288 h 14287"/>
                    <a:gd name="connsiteX2" fmla="*/ 0 w 185165"/>
                    <a:gd name="connsiteY2" fmla="*/ 7144 h 14287"/>
                    <a:gd name="connsiteX3" fmla="*/ 7144 w 185165"/>
                    <a:gd name="connsiteY3" fmla="*/ 0 h 14287"/>
                    <a:gd name="connsiteX4" fmla="*/ 178022 w 185165"/>
                    <a:gd name="connsiteY4" fmla="*/ 0 h 14287"/>
                    <a:gd name="connsiteX5" fmla="*/ 185166 w 185165"/>
                    <a:gd name="connsiteY5" fmla="*/ 7144 h 14287"/>
                    <a:gd name="connsiteX6" fmla="*/ 178022 w 1851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5" h="14287">
                      <a:moveTo>
                        <a:pt x="178022" y="14288"/>
                      </a:moveTo>
                      <a:lnTo>
                        <a:pt x="7144" y="14288"/>
                      </a:lnTo>
                      <a:cubicBezTo>
                        <a:pt x="3239" y="14288"/>
                        <a:pt x="0" y="11049"/>
                        <a:pt x="0" y="7144"/>
                      </a:cubicBezTo>
                      <a:cubicBezTo>
                        <a:pt x="0" y="3239"/>
                        <a:pt x="3239" y="0"/>
                        <a:pt x="7144" y="0"/>
                      </a:cubicBezTo>
                      <a:lnTo>
                        <a:pt x="178022" y="0"/>
                      </a:lnTo>
                      <a:cubicBezTo>
                        <a:pt x="181927" y="0"/>
                        <a:pt x="185166" y="3239"/>
                        <a:pt x="185166" y="7144"/>
                      </a:cubicBezTo>
                      <a:cubicBezTo>
                        <a:pt x="185166" y="11049"/>
                        <a:pt x="181927" y="14288"/>
                        <a:pt x="178022" y="14288"/>
                      </a:cubicBezTo>
                      <a:close/>
                    </a:path>
                  </a:pathLst>
                </a:custGeom>
                <a:grpFill/>
                <a:ln w="9525" cap="flat">
                  <a:noFill/>
                  <a:prstDash val="solid"/>
                  <a:miter/>
                </a:ln>
              </p:spPr>
              <p:txBody>
                <a:bodyPr rtlCol="0" anchor="ctr"/>
                <a:lstStyle/>
                <a:p>
                  <a:endParaRPr lang="de-DE"/>
                </a:p>
              </p:txBody>
            </p:sp>
            <p:sp>
              <p:nvSpPr>
                <p:cNvPr id="53" name="Grafik 3848">
                  <a:extLst>
                    <a:ext uri="{FF2B5EF4-FFF2-40B4-BE49-F238E27FC236}">
                      <a16:creationId xmlns:a16="http://schemas.microsoft.com/office/drawing/2014/main" id="{FEA18FA9-89A1-3158-62EF-65E87941959A}"/>
                    </a:ext>
                  </a:extLst>
                </p:cNvPr>
                <p:cNvSpPr/>
                <p:nvPr/>
              </p:nvSpPr>
              <p:spPr bwMode="gray">
                <a:xfrm>
                  <a:off x="6196702" y="3343203"/>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4" name="Grafik 3848">
                  <a:extLst>
                    <a:ext uri="{FF2B5EF4-FFF2-40B4-BE49-F238E27FC236}">
                      <a16:creationId xmlns:a16="http://schemas.microsoft.com/office/drawing/2014/main" id="{F83BDA41-00D3-7163-3A08-CDC4EF9C336F}"/>
                    </a:ext>
                  </a:extLst>
                </p:cNvPr>
                <p:cNvSpPr/>
                <p:nvPr/>
              </p:nvSpPr>
              <p:spPr bwMode="gray">
                <a:xfrm>
                  <a:off x="6196607" y="337168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886"/>
                        <a:pt x="8930" y="42648"/>
                        <a:pt x="7120" y="42648"/>
                      </a:cubicBezTo>
                      <a:close/>
                    </a:path>
                  </a:pathLst>
                </a:custGeom>
                <a:grpFill/>
                <a:ln w="9525" cap="flat">
                  <a:noFill/>
                  <a:prstDash val="solid"/>
                  <a:miter/>
                </a:ln>
              </p:spPr>
              <p:txBody>
                <a:bodyPr rtlCol="0" anchor="ctr"/>
                <a:lstStyle/>
                <a:p>
                  <a:endParaRPr lang="de-DE"/>
                </a:p>
              </p:txBody>
            </p:sp>
          </p:grpSp>
          <p:grpSp>
            <p:nvGrpSpPr>
              <p:cNvPr id="39" name="Grafik 3848">
                <a:extLst>
                  <a:ext uri="{FF2B5EF4-FFF2-40B4-BE49-F238E27FC236}">
                    <a16:creationId xmlns:a16="http://schemas.microsoft.com/office/drawing/2014/main" id="{41FAE19E-22B9-A700-F763-3F830DFA0814}"/>
                  </a:ext>
                </a:extLst>
              </p:cNvPr>
              <p:cNvGrpSpPr/>
              <p:nvPr/>
            </p:nvGrpSpPr>
            <p:grpSpPr bwMode="gray">
              <a:xfrm>
                <a:off x="5883306" y="3503985"/>
                <a:ext cx="185166" cy="71127"/>
                <a:chOff x="5883306" y="3503985"/>
                <a:chExt cx="185166" cy="71127"/>
              </a:xfrm>
              <a:grpFill/>
            </p:grpSpPr>
            <p:sp>
              <p:nvSpPr>
                <p:cNvPr id="49" name="Grafik 3848">
                  <a:extLst>
                    <a:ext uri="{FF2B5EF4-FFF2-40B4-BE49-F238E27FC236}">
                      <a16:creationId xmlns:a16="http://schemas.microsoft.com/office/drawing/2014/main" id="{E700C482-952D-13F4-B8FB-F5BCE67D054A}"/>
                    </a:ext>
                  </a:extLst>
                </p:cNvPr>
                <p:cNvSpPr/>
                <p:nvPr/>
              </p:nvSpPr>
              <p:spPr bwMode="gray">
                <a:xfrm>
                  <a:off x="5883306" y="3532345"/>
                  <a:ext cx="185166" cy="14287"/>
                </a:xfrm>
                <a:custGeom>
                  <a:avLst/>
                  <a:gdLst>
                    <a:gd name="connsiteX0" fmla="*/ 178022 w 185166"/>
                    <a:gd name="connsiteY0" fmla="*/ 14288 h 14287"/>
                    <a:gd name="connsiteX1" fmla="*/ 7144 w 185166"/>
                    <a:gd name="connsiteY1" fmla="*/ 14288 h 14287"/>
                    <a:gd name="connsiteX2" fmla="*/ 0 w 185166"/>
                    <a:gd name="connsiteY2" fmla="*/ 7144 h 14287"/>
                    <a:gd name="connsiteX3" fmla="*/ 7144 w 185166"/>
                    <a:gd name="connsiteY3" fmla="*/ 0 h 14287"/>
                    <a:gd name="connsiteX4" fmla="*/ 178022 w 185166"/>
                    <a:gd name="connsiteY4" fmla="*/ 0 h 14287"/>
                    <a:gd name="connsiteX5" fmla="*/ 185166 w 185166"/>
                    <a:gd name="connsiteY5" fmla="*/ 7144 h 14287"/>
                    <a:gd name="connsiteX6" fmla="*/ 178022 w 1851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 h="14287">
                      <a:moveTo>
                        <a:pt x="178022" y="14288"/>
                      </a:moveTo>
                      <a:lnTo>
                        <a:pt x="7144" y="14288"/>
                      </a:lnTo>
                      <a:cubicBezTo>
                        <a:pt x="3239" y="14288"/>
                        <a:pt x="0" y="11049"/>
                        <a:pt x="0" y="7144"/>
                      </a:cubicBezTo>
                      <a:cubicBezTo>
                        <a:pt x="0" y="3239"/>
                        <a:pt x="3239" y="0"/>
                        <a:pt x="7144" y="0"/>
                      </a:cubicBezTo>
                      <a:lnTo>
                        <a:pt x="178022" y="0"/>
                      </a:lnTo>
                      <a:cubicBezTo>
                        <a:pt x="181928" y="0"/>
                        <a:pt x="185166" y="3239"/>
                        <a:pt x="185166" y="7144"/>
                      </a:cubicBezTo>
                      <a:cubicBezTo>
                        <a:pt x="185166" y="11049"/>
                        <a:pt x="181928" y="14288"/>
                        <a:pt x="178022" y="14288"/>
                      </a:cubicBezTo>
                      <a:close/>
                    </a:path>
                  </a:pathLst>
                </a:custGeom>
                <a:grpFill/>
                <a:ln w="9525" cap="flat">
                  <a:noFill/>
                  <a:prstDash val="solid"/>
                  <a:miter/>
                </a:ln>
              </p:spPr>
              <p:txBody>
                <a:bodyPr rtlCol="0" anchor="ctr"/>
                <a:lstStyle/>
                <a:p>
                  <a:endParaRPr lang="de-DE"/>
                </a:p>
              </p:txBody>
            </p:sp>
            <p:sp>
              <p:nvSpPr>
                <p:cNvPr id="50" name="Grafik 3848">
                  <a:extLst>
                    <a:ext uri="{FF2B5EF4-FFF2-40B4-BE49-F238E27FC236}">
                      <a16:creationId xmlns:a16="http://schemas.microsoft.com/office/drawing/2014/main" id="{585C644B-67CE-5047-2402-A32EF2A84C94}"/>
                    </a:ext>
                  </a:extLst>
                </p:cNvPr>
                <p:cNvSpPr/>
                <p:nvPr/>
              </p:nvSpPr>
              <p:spPr bwMode="gray">
                <a:xfrm>
                  <a:off x="5883425" y="3532464"/>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1" name="Grafik 3848">
                  <a:extLst>
                    <a:ext uri="{FF2B5EF4-FFF2-40B4-BE49-F238E27FC236}">
                      <a16:creationId xmlns:a16="http://schemas.microsoft.com/office/drawing/2014/main" id="{50E5476B-04D2-AF2B-E450-B71E2A819128}"/>
                    </a:ext>
                  </a:extLst>
                </p:cNvPr>
                <p:cNvSpPr/>
                <p:nvPr/>
              </p:nvSpPr>
              <p:spPr bwMode="gray">
                <a:xfrm>
                  <a:off x="5883330" y="350398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9025" y="42648"/>
                        <a:pt x="7120" y="42648"/>
                      </a:cubicBezTo>
                      <a:close/>
                    </a:path>
                  </a:pathLst>
                </a:custGeom>
                <a:grpFill/>
                <a:ln w="9525" cap="flat">
                  <a:noFill/>
                  <a:prstDash val="solid"/>
                  <a:miter/>
                </a:ln>
              </p:spPr>
              <p:txBody>
                <a:bodyPr rtlCol="0" anchor="ctr"/>
                <a:lstStyle/>
                <a:p>
                  <a:endParaRPr lang="de-DE"/>
                </a:p>
              </p:txBody>
            </p:sp>
          </p:grpSp>
          <p:grpSp>
            <p:nvGrpSpPr>
              <p:cNvPr id="40" name="Grafik 3848">
                <a:extLst>
                  <a:ext uri="{FF2B5EF4-FFF2-40B4-BE49-F238E27FC236}">
                    <a16:creationId xmlns:a16="http://schemas.microsoft.com/office/drawing/2014/main" id="{CD7E9CEF-EC9A-A3A7-E8B7-738E6FEBB99C}"/>
                  </a:ext>
                </a:extLst>
              </p:cNvPr>
              <p:cNvGrpSpPr/>
              <p:nvPr/>
            </p:nvGrpSpPr>
            <p:grpSpPr bwMode="gray">
              <a:xfrm>
                <a:off x="6106215" y="3451954"/>
                <a:ext cx="71008" cy="185165"/>
                <a:chOff x="6106215" y="3451954"/>
                <a:chExt cx="71008" cy="185165"/>
              </a:xfrm>
              <a:grpFill/>
            </p:grpSpPr>
            <p:sp>
              <p:nvSpPr>
                <p:cNvPr id="46" name="Grafik 3848">
                  <a:extLst>
                    <a:ext uri="{FF2B5EF4-FFF2-40B4-BE49-F238E27FC236}">
                      <a16:creationId xmlns:a16="http://schemas.microsoft.com/office/drawing/2014/main" id="{64E26A47-66E7-602A-EF3B-FA8C3B59BA96}"/>
                    </a:ext>
                  </a:extLst>
                </p:cNvPr>
                <p:cNvSpPr/>
                <p:nvPr/>
              </p:nvSpPr>
              <p:spPr bwMode="gray">
                <a:xfrm>
                  <a:off x="6134575" y="3451954"/>
                  <a:ext cx="14287" cy="185165"/>
                </a:xfrm>
                <a:custGeom>
                  <a:avLst/>
                  <a:gdLst>
                    <a:gd name="connsiteX0" fmla="*/ 7144 w 14287"/>
                    <a:gd name="connsiteY0" fmla="*/ 185166 h 185165"/>
                    <a:gd name="connsiteX1" fmla="*/ 0 w 14287"/>
                    <a:gd name="connsiteY1" fmla="*/ 178022 h 185165"/>
                    <a:gd name="connsiteX2" fmla="*/ 0 w 14287"/>
                    <a:gd name="connsiteY2" fmla="*/ 7144 h 185165"/>
                    <a:gd name="connsiteX3" fmla="*/ 7144 w 14287"/>
                    <a:gd name="connsiteY3" fmla="*/ 0 h 185165"/>
                    <a:gd name="connsiteX4" fmla="*/ 14288 w 14287"/>
                    <a:gd name="connsiteY4" fmla="*/ 7144 h 185165"/>
                    <a:gd name="connsiteX5" fmla="*/ 14288 w 14287"/>
                    <a:gd name="connsiteY5" fmla="*/ 178022 h 185165"/>
                    <a:gd name="connsiteX6" fmla="*/ 7144 w 14287"/>
                    <a:gd name="connsiteY6" fmla="*/ 185166 h 1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165">
                      <a:moveTo>
                        <a:pt x="7144" y="185166"/>
                      </a:moveTo>
                      <a:cubicBezTo>
                        <a:pt x="3239" y="185166"/>
                        <a:pt x="0" y="181927"/>
                        <a:pt x="0" y="178022"/>
                      </a:cubicBezTo>
                      <a:lnTo>
                        <a:pt x="0" y="7144"/>
                      </a:lnTo>
                      <a:cubicBezTo>
                        <a:pt x="0" y="3239"/>
                        <a:pt x="3239" y="0"/>
                        <a:pt x="7144" y="0"/>
                      </a:cubicBezTo>
                      <a:cubicBezTo>
                        <a:pt x="11049" y="0"/>
                        <a:pt x="14288" y="3239"/>
                        <a:pt x="14288" y="7144"/>
                      </a:cubicBezTo>
                      <a:lnTo>
                        <a:pt x="14288" y="178022"/>
                      </a:lnTo>
                      <a:cubicBezTo>
                        <a:pt x="14288" y="181927"/>
                        <a:pt x="11144" y="185166"/>
                        <a:pt x="7144" y="185166"/>
                      </a:cubicBezTo>
                      <a:close/>
                    </a:path>
                  </a:pathLst>
                </a:custGeom>
                <a:grpFill/>
                <a:ln w="9525" cap="flat">
                  <a:noFill/>
                  <a:prstDash val="solid"/>
                  <a:miter/>
                </a:ln>
              </p:spPr>
              <p:txBody>
                <a:bodyPr rtlCol="0" anchor="ctr"/>
                <a:lstStyle/>
                <a:p>
                  <a:endParaRPr lang="de-DE"/>
                </a:p>
              </p:txBody>
            </p:sp>
            <p:sp>
              <p:nvSpPr>
                <p:cNvPr id="47" name="Grafik 3848">
                  <a:extLst>
                    <a:ext uri="{FF2B5EF4-FFF2-40B4-BE49-F238E27FC236}">
                      <a16:creationId xmlns:a16="http://schemas.microsoft.com/office/drawing/2014/main" id="{4BF4A930-8195-AB63-07BF-08F6E5D414CF}"/>
                    </a:ext>
                  </a:extLst>
                </p:cNvPr>
                <p:cNvSpPr/>
                <p:nvPr/>
              </p:nvSpPr>
              <p:spPr bwMode="gray">
                <a:xfrm>
                  <a:off x="6134599" y="359447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8930" y="42648"/>
                        <a:pt x="7120" y="42648"/>
                      </a:cubicBezTo>
                      <a:close/>
                    </a:path>
                  </a:pathLst>
                </a:custGeom>
                <a:grpFill/>
                <a:ln w="9525" cap="flat">
                  <a:noFill/>
                  <a:prstDash val="solid"/>
                  <a:miter/>
                </a:ln>
              </p:spPr>
              <p:txBody>
                <a:bodyPr rtlCol="0" anchor="ctr"/>
                <a:lstStyle/>
                <a:p>
                  <a:endParaRPr lang="de-DE"/>
                </a:p>
              </p:txBody>
            </p:sp>
            <p:sp>
              <p:nvSpPr>
                <p:cNvPr id="48" name="Grafik 3848">
                  <a:extLst>
                    <a:ext uri="{FF2B5EF4-FFF2-40B4-BE49-F238E27FC236}">
                      <a16:creationId xmlns:a16="http://schemas.microsoft.com/office/drawing/2014/main" id="{932F35B1-5602-7DC3-8FD4-317B289EE60B}"/>
                    </a:ext>
                  </a:extLst>
                </p:cNvPr>
                <p:cNvSpPr/>
                <p:nvPr/>
              </p:nvSpPr>
              <p:spPr bwMode="gray">
                <a:xfrm>
                  <a:off x="6106215" y="3594472"/>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314" y="42648"/>
                        <a:pt x="35504" y="42648"/>
                      </a:cubicBezTo>
                      <a:close/>
                    </a:path>
                  </a:pathLst>
                </a:custGeom>
                <a:grpFill/>
                <a:ln w="9525" cap="flat">
                  <a:noFill/>
                  <a:prstDash val="solid"/>
                  <a:miter/>
                </a:ln>
              </p:spPr>
              <p:txBody>
                <a:bodyPr rtlCol="0" anchor="ctr"/>
                <a:lstStyle/>
                <a:p>
                  <a:endParaRPr lang="de-DE"/>
                </a:p>
              </p:txBody>
            </p:sp>
          </p:grpSp>
          <p:grpSp>
            <p:nvGrpSpPr>
              <p:cNvPr id="41" name="Grafik 3848">
                <a:extLst>
                  <a:ext uri="{FF2B5EF4-FFF2-40B4-BE49-F238E27FC236}">
                    <a16:creationId xmlns:a16="http://schemas.microsoft.com/office/drawing/2014/main" id="{5C40E7B5-301F-111B-0D85-15B574213E70}"/>
                  </a:ext>
                </a:extLst>
              </p:cNvPr>
              <p:cNvGrpSpPr/>
              <p:nvPr/>
            </p:nvGrpSpPr>
            <p:grpSpPr bwMode="gray">
              <a:xfrm>
                <a:off x="5945433" y="3281171"/>
                <a:ext cx="71008" cy="185070"/>
                <a:chOff x="5945433" y="3281171"/>
                <a:chExt cx="71008" cy="185070"/>
              </a:xfrm>
              <a:grpFill/>
            </p:grpSpPr>
            <p:sp>
              <p:nvSpPr>
                <p:cNvPr id="43" name="Grafik 3848">
                  <a:extLst>
                    <a:ext uri="{FF2B5EF4-FFF2-40B4-BE49-F238E27FC236}">
                      <a16:creationId xmlns:a16="http://schemas.microsoft.com/office/drawing/2014/main" id="{344500DC-2F89-D811-4667-55B0BF1FDD95}"/>
                    </a:ext>
                  </a:extLst>
                </p:cNvPr>
                <p:cNvSpPr/>
                <p:nvPr/>
              </p:nvSpPr>
              <p:spPr bwMode="gray">
                <a:xfrm>
                  <a:off x="5973793" y="3281171"/>
                  <a:ext cx="14287" cy="185070"/>
                </a:xfrm>
                <a:custGeom>
                  <a:avLst/>
                  <a:gdLst>
                    <a:gd name="connsiteX0" fmla="*/ 7144 w 14287"/>
                    <a:gd name="connsiteY0" fmla="*/ 185071 h 185070"/>
                    <a:gd name="connsiteX1" fmla="*/ 0 w 14287"/>
                    <a:gd name="connsiteY1" fmla="*/ 177927 h 185070"/>
                    <a:gd name="connsiteX2" fmla="*/ 0 w 14287"/>
                    <a:gd name="connsiteY2" fmla="*/ 7144 h 185070"/>
                    <a:gd name="connsiteX3" fmla="*/ 7144 w 14287"/>
                    <a:gd name="connsiteY3" fmla="*/ 0 h 185070"/>
                    <a:gd name="connsiteX4" fmla="*/ 14288 w 14287"/>
                    <a:gd name="connsiteY4" fmla="*/ 7144 h 185070"/>
                    <a:gd name="connsiteX5" fmla="*/ 14288 w 14287"/>
                    <a:gd name="connsiteY5" fmla="*/ 178022 h 185070"/>
                    <a:gd name="connsiteX6" fmla="*/ 7144 w 14287"/>
                    <a:gd name="connsiteY6" fmla="*/ 185071 h 1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070">
                      <a:moveTo>
                        <a:pt x="7144" y="185071"/>
                      </a:moveTo>
                      <a:cubicBezTo>
                        <a:pt x="3239" y="185071"/>
                        <a:pt x="0" y="181832"/>
                        <a:pt x="0" y="177927"/>
                      </a:cubicBezTo>
                      <a:lnTo>
                        <a:pt x="0" y="7144"/>
                      </a:lnTo>
                      <a:cubicBezTo>
                        <a:pt x="0" y="3239"/>
                        <a:pt x="3239" y="0"/>
                        <a:pt x="7144" y="0"/>
                      </a:cubicBezTo>
                      <a:cubicBezTo>
                        <a:pt x="11049" y="0"/>
                        <a:pt x="14288" y="3239"/>
                        <a:pt x="14288" y="7144"/>
                      </a:cubicBezTo>
                      <a:lnTo>
                        <a:pt x="14288" y="178022"/>
                      </a:lnTo>
                      <a:cubicBezTo>
                        <a:pt x="14288" y="181928"/>
                        <a:pt x="11049" y="185071"/>
                        <a:pt x="7144" y="185071"/>
                      </a:cubicBezTo>
                      <a:close/>
                    </a:path>
                  </a:pathLst>
                </a:custGeom>
                <a:grpFill/>
                <a:ln w="9525" cap="flat">
                  <a:noFill/>
                  <a:prstDash val="solid"/>
                  <a:miter/>
                </a:ln>
              </p:spPr>
              <p:txBody>
                <a:bodyPr rtlCol="0" anchor="ctr"/>
                <a:lstStyle/>
                <a:p>
                  <a:endParaRPr lang="de-DE"/>
                </a:p>
              </p:txBody>
            </p:sp>
            <p:sp>
              <p:nvSpPr>
                <p:cNvPr id="44" name="Grafik 3848">
                  <a:extLst>
                    <a:ext uri="{FF2B5EF4-FFF2-40B4-BE49-F238E27FC236}">
                      <a16:creationId xmlns:a16="http://schemas.microsoft.com/office/drawing/2014/main" id="{354D5A01-26F1-1113-22D9-DC03ADA82C5A}"/>
                    </a:ext>
                  </a:extLst>
                </p:cNvPr>
                <p:cNvSpPr/>
                <p:nvPr/>
              </p:nvSpPr>
              <p:spPr bwMode="gray">
                <a:xfrm>
                  <a:off x="5945433" y="328119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739" y="41981"/>
                        <a:pt x="8930" y="42648"/>
                        <a:pt x="7120" y="42648"/>
                      </a:cubicBezTo>
                      <a:close/>
                    </a:path>
                  </a:pathLst>
                </a:custGeom>
                <a:grpFill/>
                <a:ln w="9525" cap="flat">
                  <a:noFill/>
                  <a:prstDash val="solid"/>
                  <a:miter/>
                </a:ln>
              </p:spPr>
              <p:txBody>
                <a:bodyPr rtlCol="0" anchor="ctr"/>
                <a:lstStyle/>
                <a:p>
                  <a:endParaRPr lang="de-DE"/>
                </a:p>
              </p:txBody>
            </p:sp>
            <p:sp>
              <p:nvSpPr>
                <p:cNvPr id="45" name="Grafik 3848">
                  <a:extLst>
                    <a:ext uri="{FF2B5EF4-FFF2-40B4-BE49-F238E27FC236}">
                      <a16:creationId xmlns:a16="http://schemas.microsoft.com/office/drawing/2014/main" id="{555E00DB-7C27-4901-42B5-C71FBA50C9D8}"/>
                    </a:ext>
                  </a:extLst>
                </p:cNvPr>
                <p:cNvSpPr/>
                <p:nvPr/>
              </p:nvSpPr>
              <p:spPr bwMode="gray">
                <a:xfrm>
                  <a:off x="5973817" y="3281195"/>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409" y="42648"/>
                        <a:pt x="35504" y="42648"/>
                      </a:cubicBezTo>
                      <a:close/>
                    </a:path>
                  </a:pathLst>
                </a:custGeom>
                <a:grpFill/>
                <a:ln w="9525" cap="flat">
                  <a:noFill/>
                  <a:prstDash val="solid"/>
                  <a:miter/>
                </a:ln>
              </p:spPr>
              <p:txBody>
                <a:bodyPr rtlCol="0" anchor="ctr"/>
                <a:lstStyle/>
                <a:p>
                  <a:endParaRPr lang="de-DE"/>
                </a:p>
              </p:txBody>
            </p:sp>
          </p:grpSp>
          <p:sp>
            <p:nvSpPr>
              <p:cNvPr id="42" name="Grafik 3848">
                <a:extLst>
                  <a:ext uri="{FF2B5EF4-FFF2-40B4-BE49-F238E27FC236}">
                    <a16:creationId xmlns:a16="http://schemas.microsoft.com/office/drawing/2014/main" id="{FFE7B46B-027A-68E3-D531-35569C2DF40F}"/>
                  </a:ext>
                </a:extLst>
              </p:cNvPr>
              <p:cNvSpPr/>
              <p:nvPr/>
            </p:nvSpPr>
            <p:spPr bwMode="gray">
              <a:xfrm>
                <a:off x="5973793" y="3371563"/>
                <a:ext cx="175069" cy="175069"/>
              </a:xfrm>
              <a:custGeom>
                <a:avLst/>
                <a:gdLst>
                  <a:gd name="connsiteX0" fmla="*/ 87535 w 175069"/>
                  <a:gd name="connsiteY0" fmla="*/ 175069 h 175069"/>
                  <a:gd name="connsiteX1" fmla="*/ 0 w 175069"/>
                  <a:gd name="connsiteY1" fmla="*/ 87535 h 175069"/>
                  <a:gd name="connsiteX2" fmla="*/ 87535 w 175069"/>
                  <a:gd name="connsiteY2" fmla="*/ 0 h 175069"/>
                  <a:gd name="connsiteX3" fmla="*/ 175069 w 175069"/>
                  <a:gd name="connsiteY3" fmla="*/ 87535 h 175069"/>
                  <a:gd name="connsiteX4" fmla="*/ 87535 w 175069"/>
                  <a:gd name="connsiteY4" fmla="*/ 175069 h 175069"/>
                  <a:gd name="connsiteX5" fmla="*/ 87535 w 175069"/>
                  <a:gd name="connsiteY5" fmla="*/ 14288 h 175069"/>
                  <a:gd name="connsiteX6" fmla="*/ 14288 w 175069"/>
                  <a:gd name="connsiteY6" fmla="*/ 87535 h 175069"/>
                  <a:gd name="connsiteX7" fmla="*/ 87535 w 175069"/>
                  <a:gd name="connsiteY7" fmla="*/ 160782 h 175069"/>
                  <a:gd name="connsiteX8" fmla="*/ 160782 w 175069"/>
                  <a:gd name="connsiteY8" fmla="*/ 87535 h 175069"/>
                  <a:gd name="connsiteX9" fmla="*/ 87535 w 175069"/>
                  <a:gd name="connsiteY9" fmla="*/ 14288 h 17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69" h="175069">
                    <a:moveTo>
                      <a:pt x="87535" y="175069"/>
                    </a:moveTo>
                    <a:cubicBezTo>
                      <a:pt x="39243" y="175069"/>
                      <a:pt x="0" y="135827"/>
                      <a:pt x="0" y="87535"/>
                    </a:cubicBezTo>
                    <a:cubicBezTo>
                      <a:pt x="0" y="39243"/>
                      <a:pt x="39243" y="0"/>
                      <a:pt x="87535" y="0"/>
                    </a:cubicBezTo>
                    <a:cubicBezTo>
                      <a:pt x="135827" y="0"/>
                      <a:pt x="175069" y="39243"/>
                      <a:pt x="175069" y="87535"/>
                    </a:cubicBezTo>
                    <a:cubicBezTo>
                      <a:pt x="175069" y="135827"/>
                      <a:pt x="135827" y="175069"/>
                      <a:pt x="87535" y="175069"/>
                    </a:cubicBezTo>
                    <a:close/>
                    <a:moveTo>
                      <a:pt x="87535" y="14288"/>
                    </a:moveTo>
                    <a:cubicBezTo>
                      <a:pt x="47149" y="14288"/>
                      <a:pt x="14288" y="47149"/>
                      <a:pt x="14288" y="87535"/>
                    </a:cubicBezTo>
                    <a:cubicBezTo>
                      <a:pt x="14288" y="127921"/>
                      <a:pt x="47149" y="160782"/>
                      <a:pt x="87535" y="160782"/>
                    </a:cubicBezTo>
                    <a:cubicBezTo>
                      <a:pt x="127921" y="160782"/>
                      <a:pt x="160782" y="127921"/>
                      <a:pt x="160782" y="87535"/>
                    </a:cubicBezTo>
                    <a:cubicBezTo>
                      <a:pt x="160782" y="47149"/>
                      <a:pt x="127921" y="14288"/>
                      <a:pt x="87535" y="14288"/>
                    </a:cubicBezTo>
                    <a:close/>
                  </a:path>
                </a:pathLst>
              </a:custGeom>
              <a:grpFill/>
              <a:ln w="9525" cap="flat">
                <a:noFill/>
                <a:prstDash val="solid"/>
                <a:miter/>
              </a:ln>
            </p:spPr>
            <p:txBody>
              <a:bodyPr rtlCol="0" anchor="ctr"/>
              <a:lstStyle/>
              <a:p>
                <a:endParaRPr lang="de-DE"/>
              </a:p>
            </p:txBody>
          </p:sp>
        </p:grpSp>
      </p:grpSp>
      <p:grpSp>
        <p:nvGrpSpPr>
          <p:cNvPr id="60" name="Grafik 3850">
            <a:extLst>
              <a:ext uri="{FF2B5EF4-FFF2-40B4-BE49-F238E27FC236}">
                <a16:creationId xmlns:a16="http://schemas.microsoft.com/office/drawing/2014/main" id="{0726DBA4-C68B-0D52-0DB8-8120AD4F010C}"/>
              </a:ext>
            </a:extLst>
          </p:cNvPr>
          <p:cNvGrpSpPr/>
          <p:nvPr/>
        </p:nvGrpSpPr>
        <p:grpSpPr bwMode="gray">
          <a:xfrm>
            <a:off x="318304" y="1865141"/>
            <a:ext cx="374400" cy="374400"/>
            <a:chOff x="5843587" y="3176587"/>
            <a:chExt cx="500253" cy="500253"/>
          </a:xfrm>
          <a:solidFill>
            <a:schemeClr val="tx1"/>
          </a:solidFill>
        </p:grpSpPr>
        <p:grpSp>
          <p:nvGrpSpPr>
            <p:cNvPr id="61" name="Grafik 3850">
              <a:extLst>
                <a:ext uri="{FF2B5EF4-FFF2-40B4-BE49-F238E27FC236}">
                  <a16:creationId xmlns:a16="http://schemas.microsoft.com/office/drawing/2014/main" id="{5F355383-644A-51B9-B489-8F9A8AD70CC3}"/>
                </a:ext>
              </a:extLst>
            </p:cNvPr>
            <p:cNvGrpSpPr/>
            <p:nvPr/>
          </p:nvGrpSpPr>
          <p:grpSpPr bwMode="gray">
            <a:xfrm>
              <a:off x="5843587" y="3176587"/>
              <a:ext cx="500253" cy="500253"/>
              <a:chOff x="5843587" y="3176587"/>
              <a:chExt cx="500253" cy="500253"/>
            </a:xfrm>
            <a:grpFill/>
          </p:grpSpPr>
          <p:sp>
            <p:nvSpPr>
              <p:cNvPr id="71" name="Grafik 3850">
                <a:extLst>
                  <a:ext uri="{FF2B5EF4-FFF2-40B4-BE49-F238E27FC236}">
                    <a16:creationId xmlns:a16="http://schemas.microsoft.com/office/drawing/2014/main" id="{B9AF9C1C-806D-D732-CA41-8AF69EE8347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72" name="Grafik 3850">
                <a:extLst>
                  <a:ext uri="{FF2B5EF4-FFF2-40B4-BE49-F238E27FC236}">
                    <a16:creationId xmlns:a16="http://schemas.microsoft.com/office/drawing/2014/main" id="{A2DE2DDD-4171-D5FB-81F0-FAC44623DDA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3" name="Grafik 3850">
                <a:extLst>
                  <a:ext uri="{FF2B5EF4-FFF2-40B4-BE49-F238E27FC236}">
                    <a16:creationId xmlns:a16="http://schemas.microsoft.com/office/drawing/2014/main" id="{F532C3CF-C942-0E78-B3F7-6A007EE2A3A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4" name="Grafik 3850">
                <a:extLst>
                  <a:ext uri="{FF2B5EF4-FFF2-40B4-BE49-F238E27FC236}">
                    <a16:creationId xmlns:a16="http://schemas.microsoft.com/office/drawing/2014/main" id="{DB2D3FE1-3DE9-71B5-25BA-498946F71BB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5" name="Grafik 3850">
                <a:extLst>
                  <a:ext uri="{FF2B5EF4-FFF2-40B4-BE49-F238E27FC236}">
                    <a16:creationId xmlns:a16="http://schemas.microsoft.com/office/drawing/2014/main" id="{4AD6DB7C-03F4-D929-3918-CC2A207B3D4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 name="Grafik 3850">
              <a:extLst>
                <a:ext uri="{FF2B5EF4-FFF2-40B4-BE49-F238E27FC236}">
                  <a16:creationId xmlns:a16="http://schemas.microsoft.com/office/drawing/2014/main" id="{D2202B1C-9DAD-E2C0-B677-9F0C833574E0}"/>
                </a:ext>
              </a:extLst>
            </p:cNvPr>
            <p:cNvGrpSpPr/>
            <p:nvPr/>
          </p:nvGrpSpPr>
          <p:grpSpPr bwMode="gray">
            <a:xfrm>
              <a:off x="5954648" y="3352055"/>
              <a:ext cx="213264" cy="214103"/>
              <a:chOff x="5954648" y="3352055"/>
              <a:chExt cx="213264" cy="214103"/>
            </a:xfrm>
            <a:grpFill/>
          </p:grpSpPr>
          <p:sp>
            <p:nvSpPr>
              <p:cNvPr id="63" name="Grafik 3850">
                <a:extLst>
                  <a:ext uri="{FF2B5EF4-FFF2-40B4-BE49-F238E27FC236}">
                    <a16:creationId xmlns:a16="http://schemas.microsoft.com/office/drawing/2014/main" id="{15AF6D3D-94A8-BF1E-B836-8191F5A2FF19}"/>
                  </a:ext>
                </a:extLst>
              </p:cNvPr>
              <p:cNvSpPr/>
              <p:nvPr/>
            </p:nvSpPr>
            <p:spPr bwMode="gray">
              <a:xfrm>
                <a:off x="5954648" y="3352799"/>
                <a:ext cx="165361" cy="172402"/>
              </a:xfrm>
              <a:custGeom>
                <a:avLst/>
                <a:gdLst>
                  <a:gd name="connsiteX0" fmla="*/ 26194 w 165361"/>
                  <a:gd name="connsiteY0" fmla="*/ 172402 h 172402"/>
                  <a:gd name="connsiteX1" fmla="*/ 20384 w 165361"/>
                  <a:gd name="connsiteY1" fmla="*/ 169450 h 172402"/>
                  <a:gd name="connsiteX2" fmla="*/ 0 w 165361"/>
                  <a:gd name="connsiteY2" fmla="*/ 106680 h 172402"/>
                  <a:gd name="connsiteX3" fmla="*/ 106680 w 165361"/>
                  <a:gd name="connsiteY3" fmla="*/ 0 h 172402"/>
                  <a:gd name="connsiteX4" fmla="*/ 161925 w 165361"/>
                  <a:gd name="connsiteY4" fmla="*/ 15431 h 172402"/>
                  <a:gd name="connsiteX5" fmla="*/ 164306 w 165361"/>
                  <a:gd name="connsiteY5" fmla="*/ 25241 h 172402"/>
                  <a:gd name="connsiteX6" fmla="*/ 154496 w 165361"/>
                  <a:gd name="connsiteY6" fmla="*/ 27622 h 172402"/>
                  <a:gd name="connsiteX7" fmla="*/ 106680 w 165361"/>
                  <a:gd name="connsiteY7" fmla="*/ 14288 h 172402"/>
                  <a:gd name="connsiteX8" fmla="*/ 14288 w 165361"/>
                  <a:gd name="connsiteY8" fmla="*/ 106680 h 172402"/>
                  <a:gd name="connsiteX9" fmla="*/ 31909 w 165361"/>
                  <a:gd name="connsiteY9" fmla="*/ 160973 h 172402"/>
                  <a:gd name="connsiteX10" fmla="*/ 30385 w 165361"/>
                  <a:gd name="connsiteY10" fmla="*/ 170974 h 172402"/>
                  <a:gd name="connsiteX11" fmla="*/ 26194 w 165361"/>
                  <a:gd name="connsiteY11" fmla="*/ 172402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361" h="172402">
                    <a:moveTo>
                      <a:pt x="26194" y="172402"/>
                    </a:moveTo>
                    <a:cubicBezTo>
                      <a:pt x="24003" y="172402"/>
                      <a:pt x="21812" y="171355"/>
                      <a:pt x="20384" y="169450"/>
                    </a:cubicBezTo>
                    <a:cubicBezTo>
                      <a:pt x="7048" y="151162"/>
                      <a:pt x="0" y="129445"/>
                      <a:pt x="0" y="106680"/>
                    </a:cubicBezTo>
                    <a:cubicBezTo>
                      <a:pt x="0" y="47816"/>
                      <a:pt x="47816" y="0"/>
                      <a:pt x="106680" y="0"/>
                    </a:cubicBezTo>
                    <a:cubicBezTo>
                      <a:pt x="126206" y="0"/>
                      <a:pt x="145352" y="5334"/>
                      <a:pt x="161925" y="15431"/>
                    </a:cubicBezTo>
                    <a:cubicBezTo>
                      <a:pt x="165259" y="17431"/>
                      <a:pt x="166402" y="21907"/>
                      <a:pt x="164306" y="25241"/>
                    </a:cubicBezTo>
                    <a:cubicBezTo>
                      <a:pt x="162211" y="28575"/>
                      <a:pt x="157829" y="29623"/>
                      <a:pt x="154496" y="27622"/>
                    </a:cubicBezTo>
                    <a:cubicBezTo>
                      <a:pt x="140113" y="18859"/>
                      <a:pt x="123539" y="14288"/>
                      <a:pt x="106680" y="14288"/>
                    </a:cubicBezTo>
                    <a:cubicBezTo>
                      <a:pt x="55721" y="14288"/>
                      <a:pt x="14288" y="55721"/>
                      <a:pt x="14288" y="106680"/>
                    </a:cubicBezTo>
                    <a:cubicBezTo>
                      <a:pt x="14288" y="126397"/>
                      <a:pt x="20384" y="145161"/>
                      <a:pt x="31909" y="160973"/>
                    </a:cubicBezTo>
                    <a:cubicBezTo>
                      <a:pt x="34195" y="164116"/>
                      <a:pt x="33528" y="168593"/>
                      <a:pt x="30385" y="170974"/>
                    </a:cubicBezTo>
                    <a:cubicBezTo>
                      <a:pt x="29051" y="171926"/>
                      <a:pt x="27623" y="172402"/>
                      <a:pt x="26194" y="172402"/>
                    </a:cubicBezTo>
                    <a:close/>
                  </a:path>
                </a:pathLst>
              </a:custGeom>
              <a:grpFill/>
              <a:ln w="9525" cap="flat">
                <a:noFill/>
                <a:prstDash val="solid"/>
                <a:miter/>
              </a:ln>
            </p:spPr>
            <p:txBody>
              <a:bodyPr rtlCol="0" anchor="ctr"/>
              <a:lstStyle/>
              <a:p>
                <a:endParaRPr lang="de-DE"/>
              </a:p>
            </p:txBody>
          </p:sp>
          <p:sp>
            <p:nvSpPr>
              <p:cNvPr id="64" name="Grafik 3850">
                <a:extLst>
                  <a:ext uri="{FF2B5EF4-FFF2-40B4-BE49-F238E27FC236}">
                    <a16:creationId xmlns:a16="http://schemas.microsoft.com/office/drawing/2014/main" id="{E9EC46FE-D16B-0200-995C-E5A4251D3B6E}"/>
                  </a:ext>
                </a:extLst>
              </p:cNvPr>
              <p:cNvSpPr/>
              <p:nvPr/>
            </p:nvSpPr>
            <p:spPr bwMode="gray">
              <a:xfrm>
                <a:off x="5996764" y="3388892"/>
                <a:ext cx="171148" cy="177266"/>
              </a:xfrm>
              <a:custGeom>
                <a:avLst/>
                <a:gdLst>
                  <a:gd name="connsiteX0" fmla="*/ 64564 w 171148"/>
                  <a:gd name="connsiteY0" fmla="*/ 177267 h 177266"/>
                  <a:gd name="connsiteX1" fmla="*/ 3032 w 171148"/>
                  <a:gd name="connsiteY1" fmla="*/ 157740 h 177266"/>
                  <a:gd name="connsiteX2" fmla="*/ 1318 w 171148"/>
                  <a:gd name="connsiteY2" fmla="*/ 147834 h 177266"/>
                  <a:gd name="connsiteX3" fmla="*/ 11224 w 171148"/>
                  <a:gd name="connsiteY3" fmla="*/ 146120 h 177266"/>
                  <a:gd name="connsiteX4" fmla="*/ 64468 w 171148"/>
                  <a:gd name="connsiteY4" fmla="*/ 162979 h 177266"/>
                  <a:gd name="connsiteX5" fmla="*/ 156861 w 171148"/>
                  <a:gd name="connsiteY5" fmla="*/ 70587 h 177266"/>
                  <a:gd name="connsiteX6" fmla="*/ 135715 w 171148"/>
                  <a:gd name="connsiteY6" fmla="*/ 11722 h 177266"/>
                  <a:gd name="connsiteX7" fmla="*/ 136668 w 171148"/>
                  <a:gd name="connsiteY7" fmla="*/ 1626 h 177266"/>
                  <a:gd name="connsiteX8" fmla="*/ 146764 w 171148"/>
                  <a:gd name="connsiteY8" fmla="*/ 2578 h 177266"/>
                  <a:gd name="connsiteX9" fmla="*/ 171148 w 171148"/>
                  <a:gd name="connsiteY9" fmla="*/ 70491 h 177266"/>
                  <a:gd name="connsiteX10" fmla="*/ 64564 w 171148"/>
                  <a:gd name="connsiteY10" fmla="*/ 177267 h 17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148" h="177266">
                    <a:moveTo>
                      <a:pt x="64564" y="177267"/>
                    </a:moveTo>
                    <a:cubicBezTo>
                      <a:pt x="42370" y="177267"/>
                      <a:pt x="21130" y="170504"/>
                      <a:pt x="3032" y="157740"/>
                    </a:cubicBezTo>
                    <a:cubicBezTo>
                      <a:pt x="-206" y="155454"/>
                      <a:pt x="-968" y="150978"/>
                      <a:pt x="1318" y="147834"/>
                    </a:cubicBezTo>
                    <a:cubicBezTo>
                      <a:pt x="3604" y="144596"/>
                      <a:pt x="8080" y="143834"/>
                      <a:pt x="11224" y="146120"/>
                    </a:cubicBezTo>
                    <a:cubicBezTo>
                      <a:pt x="26845" y="157169"/>
                      <a:pt x="45323" y="162979"/>
                      <a:pt x="64468" y="162979"/>
                    </a:cubicBezTo>
                    <a:cubicBezTo>
                      <a:pt x="115427" y="162979"/>
                      <a:pt x="156861" y="121545"/>
                      <a:pt x="156861" y="70587"/>
                    </a:cubicBezTo>
                    <a:cubicBezTo>
                      <a:pt x="156861" y="49155"/>
                      <a:pt x="149336" y="28296"/>
                      <a:pt x="135715" y="11722"/>
                    </a:cubicBezTo>
                    <a:cubicBezTo>
                      <a:pt x="133239" y="8674"/>
                      <a:pt x="133620" y="4197"/>
                      <a:pt x="136668" y="1626"/>
                    </a:cubicBezTo>
                    <a:cubicBezTo>
                      <a:pt x="139716" y="-851"/>
                      <a:pt x="144193" y="-470"/>
                      <a:pt x="146764" y="2578"/>
                    </a:cubicBezTo>
                    <a:cubicBezTo>
                      <a:pt x="162481" y="21628"/>
                      <a:pt x="171148" y="45726"/>
                      <a:pt x="171148" y="70491"/>
                    </a:cubicBezTo>
                    <a:cubicBezTo>
                      <a:pt x="171244" y="129451"/>
                      <a:pt x="123428" y="177267"/>
                      <a:pt x="64564" y="177267"/>
                    </a:cubicBezTo>
                    <a:close/>
                  </a:path>
                </a:pathLst>
              </a:custGeom>
              <a:grpFill/>
              <a:ln w="9525" cap="flat">
                <a:noFill/>
                <a:prstDash val="solid"/>
                <a:miter/>
              </a:ln>
            </p:spPr>
            <p:txBody>
              <a:bodyPr rtlCol="0" anchor="ctr"/>
              <a:lstStyle/>
              <a:p>
                <a:endParaRPr lang="de-DE"/>
              </a:p>
            </p:txBody>
          </p:sp>
          <p:grpSp>
            <p:nvGrpSpPr>
              <p:cNvPr id="65" name="Grafik 3850">
                <a:extLst>
                  <a:ext uri="{FF2B5EF4-FFF2-40B4-BE49-F238E27FC236}">
                    <a16:creationId xmlns:a16="http://schemas.microsoft.com/office/drawing/2014/main" id="{4054ADC5-1A44-B643-1ACE-0381D783ED97}"/>
                  </a:ext>
                </a:extLst>
              </p:cNvPr>
              <p:cNvGrpSpPr/>
              <p:nvPr/>
            </p:nvGrpSpPr>
            <p:grpSpPr bwMode="gray">
              <a:xfrm>
                <a:off x="6091636" y="3352055"/>
                <a:ext cx="32634" cy="35414"/>
                <a:chOff x="6091636" y="3352055"/>
                <a:chExt cx="32634" cy="35414"/>
              </a:xfrm>
              <a:grpFill/>
            </p:grpSpPr>
            <p:sp>
              <p:nvSpPr>
                <p:cNvPr id="69" name="Grafik 3850">
                  <a:extLst>
                    <a:ext uri="{FF2B5EF4-FFF2-40B4-BE49-F238E27FC236}">
                      <a16:creationId xmlns:a16="http://schemas.microsoft.com/office/drawing/2014/main" id="{C270A23C-1945-B578-DA63-B0B113C4C1E8}"/>
                    </a:ext>
                  </a:extLst>
                </p:cNvPr>
                <p:cNvSpPr/>
                <p:nvPr/>
              </p:nvSpPr>
              <p:spPr bwMode="gray">
                <a:xfrm>
                  <a:off x="6107161" y="3352055"/>
                  <a:ext cx="17013" cy="32652"/>
                </a:xfrm>
                <a:custGeom>
                  <a:avLst/>
                  <a:gdLst>
                    <a:gd name="connsiteX0" fmla="*/ 9888 w 17013"/>
                    <a:gd name="connsiteY0" fmla="*/ 32653 h 32652"/>
                    <a:gd name="connsiteX1" fmla="*/ 2839 w 17013"/>
                    <a:gd name="connsiteY1" fmla="*/ 26557 h 32652"/>
                    <a:gd name="connsiteX2" fmla="*/ 77 w 17013"/>
                    <a:gd name="connsiteY2" fmla="*/ 8173 h 32652"/>
                    <a:gd name="connsiteX3" fmla="*/ 6078 w 17013"/>
                    <a:gd name="connsiteY3" fmla="*/ 77 h 32652"/>
                    <a:gd name="connsiteX4" fmla="*/ 14174 w 17013"/>
                    <a:gd name="connsiteY4" fmla="*/ 6078 h 32652"/>
                    <a:gd name="connsiteX5" fmla="*/ 16936 w 17013"/>
                    <a:gd name="connsiteY5" fmla="*/ 24461 h 32652"/>
                    <a:gd name="connsiteX6" fmla="*/ 10936 w 17013"/>
                    <a:gd name="connsiteY6" fmla="*/ 32557 h 32652"/>
                    <a:gd name="connsiteX7" fmla="*/ 9888 w 17013"/>
                    <a:gd name="connsiteY7" fmla="*/ 32653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652">
                      <a:moveTo>
                        <a:pt x="9888" y="32653"/>
                      </a:moveTo>
                      <a:cubicBezTo>
                        <a:pt x="6459" y="32653"/>
                        <a:pt x="3411" y="30081"/>
                        <a:pt x="2839" y="26557"/>
                      </a:cubicBezTo>
                      <a:lnTo>
                        <a:pt x="77" y="8173"/>
                      </a:lnTo>
                      <a:cubicBezTo>
                        <a:pt x="-494" y="4268"/>
                        <a:pt x="2173" y="649"/>
                        <a:pt x="6078" y="77"/>
                      </a:cubicBezTo>
                      <a:cubicBezTo>
                        <a:pt x="9983" y="-494"/>
                        <a:pt x="13603" y="2173"/>
                        <a:pt x="14174" y="6078"/>
                      </a:cubicBezTo>
                      <a:lnTo>
                        <a:pt x="16936" y="24461"/>
                      </a:lnTo>
                      <a:cubicBezTo>
                        <a:pt x="17508" y="28366"/>
                        <a:pt x="14841" y="31986"/>
                        <a:pt x="10936" y="32557"/>
                      </a:cubicBezTo>
                      <a:cubicBezTo>
                        <a:pt x="10650" y="32557"/>
                        <a:pt x="10269" y="32653"/>
                        <a:pt x="9888" y="32653"/>
                      </a:cubicBezTo>
                      <a:close/>
                    </a:path>
                  </a:pathLst>
                </a:custGeom>
                <a:grpFill/>
                <a:ln w="9525" cap="flat">
                  <a:noFill/>
                  <a:prstDash val="solid"/>
                  <a:miter/>
                </a:ln>
              </p:spPr>
              <p:txBody>
                <a:bodyPr rtlCol="0" anchor="ctr"/>
                <a:lstStyle/>
                <a:p>
                  <a:endParaRPr lang="de-DE"/>
                </a:p>
              </p:txBody>
            </p:sp>
            <p:sp>
              <p:nvSpPr>
                <p:cNvPr id="70" name="Grafik 3850">
                  <a:extLst>
                    <a:ext uri="{FF2B5EF4-FFF2-40B4-BE49-F238E27FC236}">
                      <a16:creationId xmlns:a16="http://schemas.microsoft.com/office/drawing/2014/main" id="{FDA79B36-6028-8898-A242-BC91EDC0A34C}"/>
                    </a:ext>
                  </a:extLst>
                </p:cNvPr>
                <p:cNvSpPr/>
                <p:nvPr/>
              </p:nvSpPr>
              <p:spPr bwMode="gray">
                <a:xfrm>
                  <a:off x="6091636" y="3370438"/>
                  <a:ext cx="32634" cy="17031"/>
                </a:xfrm>
                <a:custGeom>
                  <a:avLst/>
                  <a:gdLst>
                    <a:gd name="connsiteX0" fmla="*/ 7126 w 32634"/>
                    <a:gd name="connsiteY0" fmla="*/ 17032 h 17031"/>
                    <a:gd name="connsiteX1" fmla="*/ 77 w 32634"/>
                    <a:gd name="connsiteY1" fmla="*/ 10936 h 17031"/>
                    <a:gd name="connsiteX2" fmla="*/ 6078 w 32634"/>
                    <a:gd name="connsiteY2" fmla="*/ 2839 h 17031"/>
                    <a:gd name="connsiteX3" fmla="*/ 24461 w 32634"/>
                    <a:gd name="connsiteY3" fmla="*/ 77 h 17031"/>
                    <a:gd name="connsiteX4" fmla="*/ 32557 w 32634"/>
                    <a:gd name="connsiteY4" fmla="*/ 6078 h 17031"/>
                    <a:gd name="connsiteX5" fmla="*/ 26557 w 32634"/>
                    <a:gd name="connsiteY5" fmla="*/ 14174 h 17031"/>
                    <a:gd name="connsiteX6" fmla="*/ 8173 w 32634"/>
                    <a:gd name="connsiteY6" fmla="*/ 16936 h 17031"/>
                    <a:gd name="connsiteX7" fmla="*/ 7126 w 32634"/>
                    <a:gd name="connsiteY7" fmla="*/ 17032 h 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4" h="17031">
                      <a:moveTo>
                        <a:pt x="7126" y="17032"/>
                      </a:moveTo>
                      <a:cubicBezTo>
                        <a:pt x="3697" y="17032"/>
                        <a:pt x="649" y="14460"/>
                        <a:pt x="77" y="10936"/>
                      </a:cubicBezTo>
                      <a:cubicBezTo>
                        <a:pt x="-494" y="7030"/>
                        <a:pt x="2173" y="3411"/>
                        <a:pt x="6078" y="2839"/>
                      </a:cubicBezTo>
                      <a:lnTo>
                        <a:pt x="24461" y="77"/>
                      </a:lnTo>
                      <a:cubicBezTo>
                        <a:pt x="28366" y="-494"/>
                        <a:pt x="31986" y="2173"/>
                        <a:pt x="32557" y="6078"/>
                      </a:cubicBezTo>
                      <a:cubicBezTo>
                        <a:pt x="33129" y="9983"/>
                        <a:pt x="30462" y="13603"/>
                        <a:pt x="26557" y="14174"/>
                      </a:cubicBezTo>
                      <a:lnTo>
                        <a:pt x="8173" y="16936"/>
                      </a:lnTo>
                      <a:cubicBezTo>
                        <a:pt x="7792" y="17032"/>
                        <a:pt x="7507" y="17032"/>
                        <a:pt x="7126" y="17032"/>
                      </a:cubicBezTo>
                      <a:close/>
                    </a:path>
                  </a:pathLst>
                </a:custGeom>
                <a:grpFill/>
                <a:ln w="9525" cap="flat">
                  <a:noFill/>
                  <a:prstDash val="solid"/>
                  <a:miter/>
                </a:ln>
              </p:spPr>
              <p:txBody>
                <a:bodyPr rtlCol="0" anchor="ctr"/>
                <a:lstStyle/>
                <a:p>
                  <a:endParaRPr lang="de-DE"/>
                </a:p>
              </p:txBody>
            </p:sp>
          </p:grpSp>
          <p:grpSp>
            <p:nvGrpSpPr>
              <p:cNvPr id="66" name="Grafik 3850">
                <a:extLst>
                  <a:ext uri="{FF2B5EF4-FFF2-40B4-BE49-F238E27FC236}">
                    <a16:creationId xmlns:a16="http://schemas.microsoft.com/office/drawing/2014/main" id="{B2F039D3-0887-8ACA-1BB9-E8E78143C948}"/>
                  </a:ext>
                </a:extLst>
              </p:cNvPr>
              <p:cNvGrpSpPr/>
              <p:nvPr/>
            </p:nvGrpSpPr>
            <p:grpSpPr bwMode="gray">
              <a:xfrm>
                <a:off x="5993052" y="3527102"/>
                <a:ext cx="32539" cy="35437"/>
                <a:chOff x="5993052" y="3527102"/>
                <a:chExt cx="32539" cy="35437"/>
              </a:xfrm>
              <a:grpFill/>
            </p:grpSpPr>
            <p:sp>
              <p:nvSpPr>
                <p:cNvPr id="67" name="Grafik 3850">
                  <a:extLst>
                    <a:ext uri="{FF2B5EF4-FFF2-40B4-BE49-F238E27FC236}">
                      <a16:creationId xmlns:a16="http://schemas.microsoft.com/office/drawing/2014/main" id="{6FF72E09-B850-FBD2-B7A3-4719485CE782}"/>
                    </a:ext>
                  </a:extLst>
                </p:cNvPr>
                <p:cNvSpPr/>
                <p:nvPr/>
              </p:nvSpPr>
              <p:spPr bwMode="gray">
                <a:xfrm>
                  <a:off x="5993052" y="3529960"/>
                  <a:ext cx="17013" cy="32579"/>
                </a:xfrm>
                <a:custGeom>
                  <a:avLst/>
                  <a:gdLst>
                    <a:gd name="connsiteX0" fmla="*/ 9888 w 17013"/>
                    <a:gd name="connsiteY0" fmla="*/ 32580 h 32579"/>
                    <a:gd name="connsiteX1" fmla="*/ 2839 w 17013"/>
                    <a:gd name="connsiteY1" fmla="*/ 26484 h 32579"/>
                    <a:gd name="connsiteX2" fmla="*/ 77 w 17013"/>
                    <a:gd name="connsiteY2" fmla="*/ 8196 h 32579"/>
                    <a:gd name="connsiteX3" fmla="*/ 6078 w 17013"/>
                    <a:gd name="connsiteY3" fmla="*/ 99 h 32579"/>
                    <a:gd name="connsiteX4" fmla="*/ 14174 w 17013"/>
                    <a:gd name="connsiteY4" fmla="*/ 6100 h 32579"/>
                    <a:gd name="connsiteX5" fmla="*/ 16936 w 17013"/>
                    <a:gd name="connsiteY5" fmla="*/ 24388 h 32579"/>
                    <a:gd name="connsiteX6" fmla="*/ 10936 w 17013"/>
                    <a:gd name="connsiteY6" fmla="*/ 32484 h 32579"/>
                    <a:gd name="connsiteX7" fmla="*/ 9888 w 17013"/>
                    <a:gd name="connsiteY7" fmla="*/ 32580 h 3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579">
                      <a:moveTo>
                        <a:pt x="9888" y="32580"/>
                      </a:moveTo>
                      <a:cubicBezTo>
                        <a:pt x="6459" y="32580"/>
                        <a:pt x="3411" y="30008"/>
                        <a:pt x="2839" y="26484"/>
                      </a:cubicBezTo>
                      <a:lnTo>
                        <a:pt x="77" y="8196"/>
                      </a:lnTo>
                      <a:cubicBezTo>
                        <a:pt x="-494" y="4290"/>
                        <a:pt x="2173" y="671"/>
                        <a:pt x="6078" y="99"/>
                      </a:cubicBezTo>
                      <a:cubicBezTo>
                        <a:pt x="9983" y="-567"/>
                        <a:pt x="13603" y="2195"/>
                        <a:pt x="14174" y="6100"/>
                      </a:cubicBezTo>
                      <a:lnTo>
                        <a:pt x="16936" y="24388"/>
                      </a:lnTo>
                      <a:cubicBezTo>
                        <a:pt x="17508" y="28293"/>
                        <a:pt x="14841" y="31913"/>
                        <a:pt x="10936" y="32484"/>
                      </a:cubicBezTo>
                      <a:cubicBezTo>
                        <a:pt x="10650" y="32484"/>
                        <a:pt x="10269" y="32580"/>
                        <a:pt x="9888" y="32580"/>
                      </a:cubicBezTo>
                      <a:close/>
                    </a:path>
                  </a:pathLst>
                </a:custGeom>
                <a:grpFill/>
                <a:ln w="9525" cap="flat">
                  <a:noFill/>
                  <a:prstDash val="solid"/>
                  <a:miter/>
                </a:ln>
              </p:spPr>
              <p:txBody>
                <a:bodyPr rtlCol="0" anchor="ctr"/>
                <a:lstStyle/>
                <a:p>
                  <a:endParaRPr lang="de-DE"/>
                </a:p>
              </p:txBody>
            </p:sp>
            <p:sp>
              <p:nvSpPr>
                <p:cNvPr id="68" name="Grafik 3850">
                  <a:extLst>
                    <a:ext uri="{FF2B5EF4-FFF2-40B4-BE49-F238E27FC236}">
                      <a16:creationId xmlns:a16="http://schemas.microsoft.com/office/drawing/2014/main" id="{2BEB1D0F-7137-E4ED-D16A-483649632F9B}"/>
                    </a:ext>
                  </a:extLst>
                </p:cNvPr>
                <p:cNvSpPr/>
                <p:nvPr/>
              </p:nvSpPr>
              <p:spPr bwMode="gray">
                <a:xfrm>
                  <a:off x="5993052" y="3527102"/>
                  <a:ext cx="32539" cy="17053"/>
                </a:xfrm>
                <a:custGeom>
                  <a:avLst/>
                  <a:gdLst>
                    <a:gd name="connsiteX0" fmla="*/ 7126 w 32539"/>
                    <a:gd name="connsiteY0" fmla="*/ 17054 h 17053"/>
                    <a:gd name="connsiteX1" fmla="*/ 77 w 32539"/>
                    <a:gd name="connsiteY1" fmla="*/ 10958 h 17053"/>
                    <a:gd name="connsiteX2" fmla="*/ 6078 w 32539"/>
                    <a:gd name="connsiteY2" fmla="*/ 2862 h 17053"/>
                    <a:gd name="connsiteX3" fmla="*/ 24366 w 32539"/>
                    <a:gd name="connsiteY3" fmla="*/ 99 h 17053"/>
                    <a:gd name="connsiteX4" fmla="*/ 32462 w 32539"/>
                    <a:gd name="connsiteY4" fmla="*/ 6100 h 17053"/>
                    <a:gd name="connsiteX5" fmla="*/ 26461 w 32539"/>
                    <a:gd name="connsiteY5" fmla="*/ 14196 h 17053"/>
                    <a:gd name="connsiteX6" fmla="*/ 8173 w 32539"/>
                    <a:gd name="connsiteY6" fmla="*/ 16959 h 17053"/>
                    <a:gd name="connsiteX7" fmla="*/ 7126 w 32539"/>
                    <a:gd name="connsiteY7" fmla="*/ 17054 h 1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9" h="17053">
                      <a:moveTo>
                        <a:pt x="7126" y="17054"/>
                      </a:moveTo>
                      <a:cubicBezTo>
                        <a:pt x="3697" y="17054"/>
                        <a:pt x="649" y="14482"/>
                        <a:pt x="77" y="10958"/>
                      </a:cubicBezTo>
                      <a:cubicBezTo>
                        <a:pt x="-494" y="7053"/>
                        <a:pt x="2173" y="3433"/>
                        <a:pt x="6078" y="2862"/>
                      </a:cubicBezTo>
                      <a:lnTo>
                        <a:pt x="24366" y="99"/>
                      </a:lnTo>
                      <a:cubicBezTo>
                        <a:pt x="28271" y="-567"/>
                        <a:pt x="31891" y="2195"/>
                        <a:pt x="32462" y="6100"/>
                      </a:cubicBezTo>
                      <a:cubicBezTo>
                        <a:pt x="33034" y="10005"/>
                        <a:pt x="30367" y="13625"/>
                        <a:pt x="26461" y="14196"/>
                      </a:cubicBezTo>
                      <a:lnTo>
                        <a:pt x="8173" y="16959"/>
                      </a:lnTo>
                      <a:cubicBezTo>
                        <a:pt x="7888" y="17054"/>
                        <a:pt x="7507" y="17054"/>
                        <a:pt x="7126" y="17054"/>
                      </a:cubicBezTo>
                      <a:close/>
                    </a:path>
                  </a:pathLst>
                </a:custGeom>
                <a:grpFill/>
                <a:ln w="9525" cap="flat">
                  <a:noFill/>
                  <a:prstDash val="solid"/>
                  <a:miter/>
                </a:ln>
              </p:spPr>
              <p:txBody>
                <a:bodyPr rtlCol="0" anchor="ctr"/>
                <a:lstStyle/>
                <a:p>
                  <a:endParaRPr lang="de-DE"/>
                </a:p>
              </p:txBody>
            </p:sp>
          </p:grpSp>
        </p:grpSp>
      </p:grpSp>
      <p:grpSp>
        <p:nvGrpSpPr>
          <p:cNvPr id="76" name="Grafik 27">
            <a:extLst>
              <a:ext uri="{FF2B5EF4-FFF2-40B4-BE49-F238E27FC236}">
                <a16:creationId xmlns:a16="http://schemas.microsoft.com/office/drawing/2014/main" id="{6E6D34FC-E439-BACF-7618-22F48DCB9D5B}"/>
              </a:ext>
            </a:extLst>
          </p:cNvPr>
          <p:cNvGrpSpPr>
            <a:grpSpLocks noChangeAspect="1"/>
          </p:cNvGrpSpPr>
          <p:nvPr/>
        </p:nvGrpSpPr>
        <p:grpSpPr bwMode="gray">
          <a:xfrm>
            <a:off x="318304" y="2402528"/>
            <a:ext cx="374400" cy="374400"/>
            <a:chOff x="5843587" y="3176587"/>
            <a:chExt cx="500253" cy="500253"/>
          </a:xfrm>
          <a:solidFill>
            <a:schemeClr val="tx1"/>
          </a:solidFill>
        </p:grpSpPr>
        <p:sp>
          <p:nvSpPr>
            <p:cNvPr id="77" name="Grafik 27">
              <a:extLst>
                <a:ext uri="{FF2B5EF4-FFF2-40B4-BE49-F238E27FC236}">
                  <a16:creationId xmlns:a16="http://schemas.microsoft.com/office/drawing/2014/main" id="{FA91BE3F-39E0-8817-DDC4-E231217FC6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8" name="Grafik 27">
              <a:extLst>
                <a:ext uri="{FF2B5EF4-FFF2-40B4-BE49-F238E27FC236}">
                  <a16:creationId xmlns:a16="http://schemas.microsoft.com/office/drawing/2014/main" id="{AF27360C-A39D-7DBA-F382-8CEA8691C36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9" name="Grafik 27">
              <a:extLst>
                <a:ext uri="{FF2B5EF4-FFF2-40B4-BE49-F238E27FC236}">
                  <a16:creationId xmlns:a16="http://schemas.microsoft.com/office/drawing/2014/main" id="{7680EAA2-117B-C357-35EC-F99B4F49E34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 name="Grafik 27">
              <a:extLst>
                <a:ext uri="{FF2B5EF4-FFF2-40B4-BE49-F238E27FC236}">
                  <a16:creationId xmlns:a16="http://schemas.microsoft.com/office/drawing/2014/main" id="{2C8C788E-7B0F-4108-7EBF-295D67F6033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1" name="Grafik 27">
              <a:extLst>
                <a:ext uri="{FF2B5EF4-FFF2-40B4-BE49-F238E27FC236}">
                  <a16:creationId xmlns:a16="http://schemas.microsoft.com/office/drawing/2014/main" id="{EB89D31C-2C6E-5DA6-DBD4-E5434E0D38E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2" name="Grafik 27">
              <a:extLst>
                <a:ext uri="{FF2B5EF4-FFF2-40B4-BE49-F238E27FC236}">
                  <a16:creationId xmlns:a16="http://schemas.microsoft.com/office/drawing/2014/main" id="{36FC9DBC-EEAA-C148-DE98-6A6FF8EFDF34}"/>
                </a:ext>
              </a:extLst>
            </p:cNvPr>
            <p:cNvGrpSpPr/>
            <p:nvPr/>
          </p:nvGrpSpPr>
          <p:grpSpPr bwMode="gray">
            <a:xfrm>
              <a:off x="6183820" y="3431404"/>
              <a:ext cx="62936" cy="55506"/>
              <a:chOff x="6183820" y="3431404"/>
              <a:chExt cx="62936" cy="55506"/>
            </a:xfrm>
            <a:grpFill/>
          </p:grpSpPr>
          <p:sp>
            <p:nvSpPr>
              <p:cNvPr id="103" name="Grafik 27">
                <a:extLst>
                  <a:ext uri="{FF2B5EF4-FFF2-40B4-BE49-F238E27FC236}">
                    <a16:creationId xmlns:a16="http://schemas.microsoft.com/office/drawing/2014/main" id="{0B551C86-B048-0680-B941-156BB9955960}"/>
                  </a:ext>
                </a:extLst>
              </p:cNvPr>
              <p:cNvSpPr/>
              <p:nvPr/>
            </p:nvSpPr>
            <p:spPr bwMode="gray">
              <a:xfrm>
                <a:off x="6183820"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04" name="Grafik 27">
                <a:extLst>
                  <a:ext uri="{FF2B5EF4-FFF2-40B4-BE49-F238E27FC236}">
                    <a16:creationId xmlns:a16="http://schemas.microsoft.com/office/drawing/2014/main" id="{085A29EA-335E-E023-2477-6B4D8D6BE3E9}"/>
                  </a:ext>
                </a:extLst>
              </p:cNvPr>
              <p:cNvSpPr/>
              <p:nvPr/>
            </p:nvSpPr>
            <p:spPr bwMode="gray">
              <a:xfrm>
                <a:off x="6211752" y="3431404"/>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171"/>
                      <a:pt x="29599" y="34838"/>
                      <a:pt x="27789" y="34838"/>
                    </a:cubicBezTo>
                    <a:close/>
                  </a:path>
                </a:pathLst>
              </a:custGeom>
              <a:grpFill/>
              <a:ln w="9525" cap="flat">
                <a:noFill/>
                <a:prstDash val="solid"/>
                <a:miter/>
              </a:ln>
            </p:spPr>
            <p:txBody>
              <a:bodyPr lIns="0" tIns="0" rIns="0" bIns="0" rtlCol="0" anchor="ctr"/>
              <a:lstStyle/>
              <a:p>
                <a:endParaRPr lang="en-US"/>
              </a:p>
            </p:txBody>
          </p:sp>
          <p:sp>
            <p:nvSpPr>
              <p:cNvPr id="105" name="Grafik 27">
                <a:extLst>
                  <a:ext uri="{FF2B5EF4-FFF2-40B4-BE49-F238E27FC236}">
                    <a16:creationId xmlns:a16="http://schemas.microsoft.com/office/drawing/2014/main" id="{4607FE09-865D-69B1-7E5A-F6798B8719F6}"/>
                  </a:ext>
                </a:extLst>
              </p:cNvPr>
              <p:cNvSpPr/>
              <p:nvPr/>
            </p:nvSpPr>
            <p:spPr bwMode="gray">
              <a:xfrm>
                <a:off x="6211847" y="3451978"/>
                <a:ext cx="34909" cy="34932"/>
              </a:xfrm>
              <a:custGeom>
                <a:avLst/>
                <a:gdLst>
                  <a:gd name="connsiteX0" fmla="*/ 7120 w 34909"/>
                  <a:gd name="connsiteY0" fmla="*/ 34933 h 34932"/>
                  <a:gd name="connsiteX1" fmla="*/ 2072 w 34909"/>
                  <a:gd name="connsiteY1" fmla="*/ 32837 h 34932"/>
                  <a:gd name="connsiteX2" fmla="*/ 2072 w 34909"/>
                  <a:gd name="connsiteY2" fmla="*/ 22741 h 34932"/>
                  <a:gd name="connsiteX3" fmla="*/ 22741 w 34909"/>
                  <a:gd name="connsiteY3" fmla="*/ 2072 h 34932"/>
                  <a:gd name="connsiteX4" fmla="*/ 32837 w 34909"/>
                  <a:gd name="connsiteY4" fmla="*/ 2072 h 34932"/>
                  <a:gd name="connsiteX5" fmla="*/ 32837 w 34909"/>
                  <a:gd name="connsiteY5" fmla="*/ 12168 h 34932"/>
                  <a:gd name="connsiteX6" fmla="*/ 12168 w 34909"/>
                  <a:gd name="connsiteY6" fmla="*/ 32837 h 34932"/>
                  <a:gd name="connsiteX7" fmla="*/ 7120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7120" y="34933"/>
                    </a:moveTo>
                    <a:cubicBezTo>
                      <a:pt x="5310" y="34933"/>
                      <a:pt x="3500" y="34266"/>
                      <a:pt x="2072" y="32837"/>
                    </a:cubicBezTo>
                    <a:cubicBezTo>
                      <a:pt x="-691" y="30075"/>
                      <a:pt x="-691" y="25503"/>
                      <a:pt x="2072" y="22741"/>
                    </a:cubicBezTo>
                    <a:lnTo>
                      <a:pt x="22741" y="2072"/>
                    </a:lnTo>
                    <a:cubicBezTo>
                      <a:pt x="25503" y="-691"/>
                      <a:pt x="30075" y="-691"/>
                      <a:pt x="32837" y="2072"/>
                    </a:cubicBezTo>
                    <a:cubicBezTo>
                      <a:pt x="35600" y="4834"/>
                      <a:pt x="35600" y="9406"/>
                      <a:pt x="32837" y="12168"/>
                    </a:cubicBezTo>
                    <a:lnTo>
                      <a:pt x="12168" y="32837"/>
                    </a:lnTo>
                    <a:cubicBezTo>
                      <a:pt x="10739" y="34266"/>
                      <a:pt x="8930" y="34933"/>
                      <a:pt x="7120" y="34933"/>
                    </a:cubicBezTo>
                    <a:close/>
                  </a:path>
                </a:pathLst>
              </a:custGeom>
              <a:grpFill/>
              <a:ln w="9525" cap="flat">
                <a:noFill/>
                <a:prstDash val="solid"/>
                <a:miter/>
              </a:ln>
            </p:spPr>
            <p:txBody>
              <a:bodyPr lIns="0" tIns="0" rIns="0" bIns="0" rtlCol="0" anchor="ctr"/>
              <a:lstStyle/>
              <a:p>
                <a:endParaRPr lang="en-US"/>
              </a:p>
            </p:txBody>
          </p:sp>
        </p:grpSp>
        <p:grpSp>
          <p:nvGrpSpPr>
            <p:cNvPr id="83" name="Grafik 27">
              <a:extLst>
                <a:ext uri="{FF2B5EF4-FFF2-40B4-BE49-F238E27FC236}">
                  <a16:creationId xmlns:a16="http://schemas.microsoft.com/office/drawing/2014/main" id="{348C7FE4-422F-CDE4-CBE2-6B9EAF2D0117}"/>
                </a:ext>
              </a:extLst>
            </p:cNvPr>
            <p:cNvGrpSpPr/>
            <p:nvPr/>
          </p:nvGrpSpPr>
          <p:grpSpPr bwMode="gray">
            <a:xfrm>
              <a:off x="5875972" y="3410830"/>
              <a:ext cx="111513" cy="96654"/>
              <a:chOff x="5875972" y="3410830"/>
              <a:chExt cx="111513" cy="96654"/>
            </a:xfrm>
            <a:grpFill/>
          </p:grpSpPr>
          <p:sp>
            <p:nvSpPr>
              <p:cNvPr id="100" name="Grafik 27">
                <a:extLst>
                  <a:ext uri="{FF2B5EF4-FFF2-40B4-BE49-F238E27FC236}">
                    <a16:creationId xmlns:a16="http://schemas.microsoft.com/office/drawing/2014/main" id="{8896B71F-236E-D8BF-3726-18E5D73232BD}"/>
                  </a:ext>
                </a:extLst>
              </p:cNvPr>
              <p:cNvSpPr/>
              <p:nvPr/>
            </p:nvSpPr>
            <p:spPr bwMode="gray">
              <a:xfrm>
                <a:off x="5875972" y="3451954"/>
                <a:ext cx="111442" cy="14287"/>
              </a:xfrm>
              <a:custGeom>
                <a:avLst/>
                <a:gdLst>
                  <a:gd name="connsiteX0" fmla="*/ 104394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394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394" y="14288"/>
                    </a:moveTo>
                    <a:lnTo>
                      <a:pt x="7144" y="14288"/>
                    </a:lnTo>
                    <a:cubicBezTo>
                      <a:pt x="3238" y="14288"/>
                      <a:pt x="0" y="11049"/>
                      <a:pt x="0" y="7144"/>
                    </a:cubicBezTo>
                    <a:cubicBezTo>
                      <a:pt x="0" y="3239"/>
                      <a:pt x="3238" y="0"/>
                      <a:pt x="7144" y="0"/>
                    </a:cubicBezTo>
                    <a:lnTo>
                      <a:pt x="104299" y="0"/>
                    </a:lnTo>
                    <a:cubicBezTo>
                      <a:pt x="108204" y="0"/>
                      <a:pt x="111443" y="3239"/>
                      <a:pt x="111443" y="7144"/>
                    </a:cubicBezTo>
                    <a:cubicBezTo>
                      <a:pt x="111443"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01" name="Grafik 27">
                <a:extLst>
                  <a:ext uri="{FF2B5EF4-FFF2-40B4-BE49-F238E27FC236}">
                    <a16:creationId xmlns:a16="http://schemas.microsoft.com/office/drawing/2014/main" id="{7BF48B4D-65BF-1674-6AA6-16F2EB23E8D1}"/>
                  </a:ext>
                </a:extLst>
              </p:cNvPr>
              <p:cNvSpPr/>
              <p:nvPr/>
            </p:nvSpPr>
            <p:spPr bwMode="gray">
              <a:xfrm>
                <a:off x="5932002" y="3410830"/>
                <a:ext cx="55483" cy="55411"/>
              </a:xfrm>
              <a:custGeom>
                <a:avLst/>
                <a:gdLst>
                  <a:gd name="connsiteX0" fmla="*/ 48363 w 55483"/>
                  <a:gd name="connsiteY0" fmla="*/ 55412 h 55411"/>
                  <a:gd name="connsiteX1" fmla="*/ 43315 w 55483"/>
                  <a:gd name="connsiteY1" fmla="*/ 53316 h 55411"/>
                  <a:gd name="connsiteX2" fmla="*/ 2072 w 55483"/>
                  <a:gd name="connsiteY2" fmla="*/ 12168 h 55411"/>
                  <a:gd name="connsiteX3" fmla="*/ 2072 w 55483"/>
                  <a:gd name="connsiteY3" fmla="*/ 2072 h 55411"/>
                  <a:gd name="connsiteX4" fmla="*/ 12168 w 55483"/>
                  <a:gd name="connsiteY4" fmla="*/ 2072 h 55411"/>
                  <a:gd name="connsiteX5" fmla="*/ 53411 w 55483"/>
                  <a:gd name="connsiteY5" fmla="*/ 43315 h 55411"/>
                  <a:gd name="connsiteX6" fmla="*/ 53411 w 55483"/>
                  <a:gd name="connsiteY6" fmla="*/ 53411 h 55411"/>
                  <a:gd name="connsiteX7" fmla="*/ 48363 w 55483"/>
                  <a:gd name="connsiteY7" fmla="*/ 55412 h 5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411">
                    <a:moveTo>
                      <a:pt x="48363" y="55412"/>
                    </a:moveTo>
                    <a:cubicBezTo>
                      <a:pt x="46553" y="55412"/>
                      <a:pt x="44744" y="54745"/>
                      <a:pt x="43315" y="53316"/>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745"/>
                      <a:pt x="50173" y="55412"/>
                      <a:pt x="48363" y="55412"/>
                    </a:cubicBezTo>
                    <a:close/>
                  </a:path>
                </a:pathLst>
              </a:custGeom>
              <a:grpFill/>
              <a:ln w="9525" cap="flat">
                <a:noFill/>
                <a:prstDash val="solid"/>
                <a:miter/>
              </a:ln>
            </p:spPr>
            <p:txBody>
              <a:bodyPr lIns="0" tIns="0" rIns="0" bIns="0" rtlCol="0" anchor="ctr"/>
              <a:lstStyle/>
              <a:p>
                <a:endParaRPr lang="en-US"/>
              </a:p>
            </p:txBody>
          </p:sp>
          <p:sp>
            <p:nvSpPr>
              <p:cNvPr id="102" name="Grafik 27">
                <a:extLst>
                  <a:ext uri="{FF2B5EF4-FFF2-40B4-BE49-F238E27FC236}">
                    <a16:creationId xmlns:a16="http://schemas.microsoft.com/office/drawing/2014/main" id="{31189A1D-EFA4-F484-8CEF-1815C7623483}"/>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grpSp>
        <p:grpSp>
          <p:nvGrpSpPr>
            <p:cNvPr id="84" name="Grafik 27">
              <a:extLst>
                <a:ext uri="{FF2B5EF4-FFF2-40B4-BE49-F238E27FC236}">
                  <a16:creationId xmlns:a16="http://schemas.microsoft.com/office/drawing/2014/main" id="{7CB23617-7F52-C1EF-C175-A9DE2A534BDD}"/>
                </a:ext>
              </a:extLst>
            </p:cNvPr>
            <p:cNvGrpSpPr/>
            <p:nvPr/>
          </p:nvGrpSpPr>
          <p:grpSpPr bwMode="gray">
            <a:xfrm>
              <a:off x="6029824" y="3306150"/>
              <a:ext cx="111609" cy="305919"/>
              <a:chOff x="6029824" y="3306150"/>
              <a:chExt cx="111609" cy="305919"/>
            </a:xfrm>
            <a:grpFill/>
          </p:grpSpPr>
          <p:sp>
            <p:nvSpPr>
              <p:cNvPr id="85" name="Grafik 27">
                <a:extLst>
                  <a:ext uri="{FF2B5EF4-FFF2-40B4-BE49-F238E27FC236}">
                    <a16:creationId xmlns:a16="http://schemas.microsoft.com/office/drawing/2014/main" id="{D3480091-D6E0-5863-5A1E-1CAABD673720}"/>
                  </a:ext>
                </a:extLst>
              </p:cNvPr>
              <p:cNvSpPr/>
              <p:nvPr/>
            </p:nvSpPr>
            <p:spPr bwMode="gray">
              <a:xfrm>
                <a:off x="6029895"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86" name="Grafik 27">
                <a:extLst>
                  <a:ext uri="{FF2B5EF4-FFF2-40B4-BE49-F238E27FC236}">
                    <a16:creationId xmlns:a16="http://schemas.microsoft.com/office/drawing/2014/main" id="{57062201-74D6-0909-61C7-D78B741B1427}"/>
                  </a:ext>
                </a:extLst>
              </p:cNvPr>
              <p:cNvSpPr/>
              <p:nvPr/>
            </p:nvSpPr>
            <p:spPr bwMode="gray">
              <a:xfrm>
                <a:off x="6029919"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7" name="Grafik 27">
                <a:extLst>
                  <a:ext uri="{FF2B5EF4-FFF2-40B4-BE49-F238E27FC236}">
                    <a16:creationId xmlns:a16="http://schemas.microsoft.com/office/drawing/2014/main" id="{566774D0-4C90-5AE1-E08D-E7971F41C298}"/>
                  </a:ext>
                </a:extLst>
              </p:cNvPr>
              <p:cNvSpPr/>
              <p:nvPr/>
            </p:nvSpPr>
            <p:spPr bwMode="gray">
              <a:xfrm>
                <a:off x="6029824"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88" name="Grafik 27">
                <a:extLst>
                  <a:ext uri="{FF2B5EF4-FFF2-40B4-BE49-F238E27FC236}">
                    <a16:creationId xmlns:a16="http://schemas.microsoft.com/office/drawing/2014/main" id="{6152D50B-5A44-F5F0-C389-8A513BB64B6D}"/>
                  </a:ext>
                </a:extLst>
              </p:cNvPr>
              <p:cNvSpPr/>
              <p:nvPr/>
            </p:nvSpPr>
            <p:spPr bwMode="gray">
              <a:xfrm>
                <a:off x="6029919"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9" name="Grafik 27">
                <a:extLst>
                  <a:ext uri="{FF2B5EF4-FFF2-40B4-BE49-F238E27FC236}">
                    <a16:creationId xmlns:a16="http://schemas.microsoft.com/office/drawing/2014/main" id="{12700791-4824-93B1-ECE9-2AAAA9FC2896}"/>
                  </a:ext>
                </a:extLst>
              </p:cNvPr>
              <p:cNvSpPr/>
              <p:nvPr/>
            </p:nvSpPr>
            <p:spPr bwMode="gray">
              <a:xfrm>
                <a:off x="6029824"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90" name="Grafik 27">
                <a:extLst>
                  <a:ext uri="{FF2B5EF4-FFF2-40B4-BE49-F238E27FC236}">
                    <a16:creationId xmlns:a16="http://schemas.microsoft.com/office/drawing/2014/main" id="{41431D29-9578-BD0F-974D-59789BF04480}"/>
                  </a:ext>
                </a:extLst>
              </p:cNvPr>
              <p:cNvSpPr/>
              <p:nvPr/>
            </p:nvSpPr>
            <p:spPr bwMode="gray">
              <a:xfrm>
                <a:off x="6029919"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91" name="Grafik 27">
                <a:extLst>
                  <a:ext uri="{FF2B5EF4-FFF2-40B4-BE49-F238E27FC236}">
                    <a16:creationId xmlns:a16="http://schemas.microsoft.com/office/drawing/2014/main" id="{211AED28-7A4A-6C99-572D-15F5EC9D3954}"/>
                  </a:ext>
                </a:extLst>
              </p:cNvPr>
              <p:cNvSpPr/>
              <p:nvPr/>
            </p:nvSpPr>
            <p:spPr bwMode="gray">
              <a:xfrm>
                <a:off x="6029919"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2" name="Grafik 27">
                <a:extLst>
                  <a:ext uri="{FF2B5EF4-FFF2-40B4-BE49-F238E27FC236}">
                    <a16:creationId xmlns:a16="http://schemas.microsoft.com/office/drawing/2014/main" id="{8C786D72-5E02-BCA7-5F12-FABBD89EF994}"/>
                  </a:ext>
                </a:extLst>
              </p:cNvPr>
              <p:cNvSpPr/>
              <p:nvPr/>
            </p:nvSpPr>
            <p:spPr bwMode="gray">
              <a:xfrm>
                <a:off x="6029919"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3" name="Grafik 27">
                <a:extLst>
                  <a:ext uri="{FF2B5EF4-FFF2-40B4-BE49-F238E27FC236}">
                    <a16:creationId xmlns:a16="http://schemas.microsoft.com/office/drawing/2014/main" id="{A956F25C-B4D8-62ED-11AB-C3872311BE6A}"/>
                  </a:ext>
                </a:extLst>
              </p:cNvPr>
              <p:cNvSpPr/>
              <p:nvPr/>
            </p:nvSpPr>
            <p:spPr bwMode="gray">
              <a:xfrm>
                <a:off x="6029919"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4" name="Grafik 27">
                <a:extLst>
                  <a:ext uri="{FF2B5EF4-FFF2-40B4-BE49-F238E27FC236}">
                    <a16:creationId xmlns:a16="http://schemas.microsoft.com/office/drawing/2014/main" id="{A1D97FF6-3F16-9482-9871-13F23A77ED18}"/>
                  </a:ext>
                </a:extLst>
              </p:cNvPr>
              <p:cNvSpPr/>
              <p:nvPr/>
            </p:nvSpPr>
            <p:spPr bwMode="gray">
              <a:xfrm>
                <a:off x="6029919"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5" name="Grafik 27">
                <a:extLst>
                  <a:ext uri="{FF2B5EF4-FFF2-40B4-BE49-F238E27FC236}">
                    <a16:creationId xmlns:a16="http://schemas.microsoft.com/office/drawing/2014/main" id="{ED4111F2-EF2D-FAF0-C037-AF0E5FA14DFB}"/>
                  </a:ext>
                </a:extLst>
              </p:cNvPr>
              <p:cNvSpPr/>
              <p:nvPr/>
            </p:nvSpPr>
            <p:spPr bwMode="gray">
              <a:xfrm>
                <a:off x="6029919"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6" name="Grafik 27">
                <a:extLst>
                  <a:ext uri="{FF2B5EF4-FFF2-40B4-BE49-F238E27FC236}">
                    <a16:creationId xmlns:a16="http://schemas.microsoft.com/office/drawing/2014/main" id="{A1150D55-5608-2AA1-7D1C-642B3572E69D}"/>
                  </a:ext>
                </a:extLst>
              </p:cNvPr>
              <p:cNvSpPr/>
              <p:nvPr/>
            </p:nvSpPr>
            <p:spPr bwMode="gray">
              <a:xfrm>
                <a:off x="6029919"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7" name="Grafik 27">
                <a:extLst>
                  <a:ext uri="{FF2B5EF4-FFF2-40B4-BE49-F238E27FC236}">
                    <a16:creationId xmlns:a16="http://schemas.microsoft.com/office/drawing/2014/main" id="{11DF5664-C6E4-CF09-5E77-376594A8AC3A}"/>
                  </a:ext>
                </a:extLst>
              </p:cNvPr>
              <p:cNvSpPr/>
              <p:nvPr/>
            </p:nvSpPr>
            <p:spPr bwMode="gray">
              <a:xfrm>
                <a:off x="6078497"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835"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8" name="Grafik 27">
                <a:extLst>
                  <a:ext uri="{FF2B5EF4-FFF2-40B4-BE49-F238E27FC236}">
                    <a16:creationId xmlns:a16="http://schemas.microsoft.com/office/drawing/2014/main" id="{345E5C50-732A-4705-C837-043F6FECC684}"/>
                  </a:ext>
                </a:extLst>
              </p:cNvPr>
              <p:cNvSpPr/>
              <p:nvPr/>
            </p:nvSpPr>
            <p:spPr bwMode="gray">
              <a:xfrm>
                <a:off x="6078497"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99" name="Grafik 27">
                <a:extLst>
                  <a:ext uri="{FF2B5EF4-FFF2-40B4-BE49-F238E27FC236}">
                    <a16:creationId xmlns:a16="http://schemas.microsoft.com/office/drawing/2014/main" id="{509A4903-0D9E-6E2C-F517-73E0D4A7EE82}"/>
                  </a:ext>
                </a:extLst>
              </p:cNvPr>
              <p:cNvSpPr/>
              <p:nvPr/>
            </p:nvSpPr>
            <p:spPr bwMode="gray">
              <a:xfrm>
                <a:off x="6029919"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grpSp>
        <p:nvGrpSpPr>
          <p:cNvPr id="106" name="Grafik 29">
            <a:extLst>
              <a:ext uri="{FF2B5EF4-FFF2-40B4-BE49-F238E27FC236}">
                <a16:creationId xmlns:a16="http://schemas.microsoft.com/office/drawing/2014/main" id="{E871E83E-C0A9-E886-9FB9-DCE7B74DDE3F}"/>
              </a:ext>
            </a:extLst>
          </p:cNvPr>
          <p:cNvGrpSpPr>
            <a:grpSpLocks noChangeAspect="1"/>
          </p:cNvGrpSpPr>
          <p:nvPr/>
        </p:nvGrpSpPr>
        <p:grpSpPr bwMode="gray">
          <a:xfrm>
            <a:off x="318304" y="2939915"/>
            <a:ext cx="374400" cy="374400"/>
            <a:chOff x="5843587" y="3176587"/>
            <a:chExt cx="500253" cy="500253"/>
          </a:xfrm>
          <a:solidFill>
            <a:schemeClr val="tx1"/>
          </a:solidFill>
        </p:grpSpPr>
        <p:sp>
          <p:nvSpPr>
            <p:cNvPr id="107" name="Grafik 29">
              <a:extLst>
                <a:ext uri="{FF2B5EF4-FFF2-40B4-BE49-F238E27FC236}">
                  <a16:creationId xmlns:a16="http://schemas.microsoft.com/office/drawing/2014/main" id="{C410AE98-03DB-8ECB-8926-D838DDA1774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08" name="Grafik 29">
              <a:extLst>
                <a:ext uri="{FF2B5EF4-FFF2-40B4-BE49-F238E27FC236}">
                  <a16:creationId xmlns:a16="http://schemas.microsoft.com/office/drawing/2014/main" id="{35D1D22E-FC29-B9B9-734A-436CA9C6BB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09" name="Grafik 29">
              <a:extLst>
                <a:ext uri="{FF2B5EF4-FFF2-40B4-BE49-F238E27FC236}">
                  <a16:creationId xmlns:a16="http://schemas.microsoft.com/office/drawing/2014/main" id="{A8B99A0A-3217-70F6-7B2C-D191E5E0399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0" name="Grafik 29">
              <a:extLst>
                <a:ext uri="{FF2B5EF4-FFF2-40B4-BE49-F238E27FC236}">
                  <a16:creationId xmlns:a16="http://schemas.microsoft.com/office/drawing/2014/main" id="{9F97AD73-DCAD-2E1E-9A4D-C16C7791FC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1" name="Grafik 29">
              <a:extLst>
                <a:ext uri="{FF2B5EF4-FFF2-40B4-BE49-F238E27FC236}">
                  <a16:creationId xmlns:a16="http://schemas.microsoft.com/office/drawing/2014/main" id="{D86547AF-F440-E300-DE86-B4A73D14138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12" name="Grafik 29">
              <a:extLst>
                <a:ext uri="{FF2B5EF4-FFF2-40B4-BE49-F238E27FC236}">
                  <a16:creationId xmlns:a16="http://schemas.microsoft.com/office/drawing/2014/main" id="{64A0FD26-8A9A-AE32-075E-47C6C24C5347}"/>
                </a:ext>
              </a:extLst>
            </p:cNvPr>
            <p:cNvGrpSpPr/>
            <p:nvPr/>
          </p:nvGrpSpPr>
          <p:grpSpPr bwMode="gray">
            <a:xfrm>
              <a:off x="5875972" y="3431309"/>
              <a:ext cx="62936" cy="55602"/>
              <a:chOff x="5875972" y="3431309"/>
              <a:chExt cx="62936" cy="55602"/>
            </a:xfrm>
            <a:grpFill/>
          </p:grpSpPr>
          <p:sp>
            <p:nvSpPr>
              <p:cNvPr id="133" name="Grafik 29">
                <a:extLst>
                  <a:ext uri="{FF2B5EF4-FFF2-40B4-BE49-F238E27FC236}">
                    <a16:creationId xmlns:a16="http://schemas.microsoft.com/office/drawing/2014/main" id="{0041471C-09FC-EFE8-A9FF-3AA274025488}"/>
                  </a:ext>
                </a:extLst>
              </p:cNvPr>
              <p:cNvSpPr/>
              <p:nvPr/>
            </p:nvSpPr>
            <p:spPr bwMode="gray">
              <a:xfrm>
                <a:off x="5875972"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8" y="14288"/>
                      <a:pt x="0" y="11049"/>
                      <a:pt x="0" y="7144"/>
                    </a:cubicBezTo>
                    <a:cubicBezTo>
                      <a:pt x="0" y="3239"/>
                      <a:pt x="3238"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34" name="Grafik 29">
                <a:extLst>
                  <a:ext uri="{FF2B5EF4-FFF2-40B4-BE49-F238E27FC236}">
                    <a16:creationId xmlns:a16="http://schemas.microsoft.com/office/drawing/2014/main" id="{8895252C-984E-A44A-B0DF-0716887ABE66}"/>
                  </a:ext>
                </a:extLst>
              </p:cNvPr>
              <p:cNvSpPr/>
              <p:nvPr/>
            </p:nvSpPr>
            <p:spPr bwMode="gray">
              <a:xfrm>
                <a:off x="5903904" y="3431309"/>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266"/>
                      <a:pt x="29694" y="34933"/>
                      <a:pt x="27789" y="34933"/>
                    </a:cubicBezTo>
                    <a:close/>
                  </a:path>
                </a:pathLst>
              </a:custGeom>
              <a:grpFill/>
              <a:ln w="9525" cap="flat">
                <a:noFill/>
                <a:prstDash val="solid"/>
                <a:miter/>
              </a:ln>
            </p:spPr>
            <p:txBody>
              <a:bodyPr lIns="0" tIns="0" rIns="0" bIns="0" rtlCol="0" anchor="ctr"/>
              <a:lstStyle/>
              <a:p>
                <a:endParaRPr lang="en-US"/>
              </a:p>
            </p:txBody>
          </p:sp>
          <p:sp>
            <p:nvSpPr>
              <p:cNvPr id="135" name="Grafik 29">
                <a:extLst>
                  <a:ext uri="{FF2B5EF4-FFF2-40B4-BE49-F238E27FC236}">
                    <a16:creationId xmlns:a16="http://schemas.microsoft.com/office/drawing/2014/main" id="{B22ADE8B-15DD-453E-E524-E26424DDC595}"/>
                  </a:ext>
                </a:extLst>
              </p:cNvPr>
              <p:cNvSpPr/>
              <p:nvPr/>
            </p:nvSpPr>
            <p:spPr bwMode="gray">
              <a:xfrm>
                <a:off x="5903999" y="3452073"/>
                <a:ext cx="34909" cy="34837"/>
              </a:xfrm>
              <a:custGeom>
                <a:avLst/>
                <a:gdLst>
                  <a:gd name="connsiteX0" fmla="*/ 7120 w 34909"/>
                  <a:gd name="connsiteY0" fmla="*/ 34838 h 34837"/>
                  <a:gd name="connsiteX1" fmla="*/ 2072 w 34909"/>
                  <a:gd name="connsiteY1" fmla="*/ 32742 h 34837"/>
                  <a:gd name="connsiteX2" fmla="*/ 2072 w 34909"/>
                  <a:gd name="connsiteY2" fmla="*/ 22646 h 34837"/>
                  <a:gd name="connsiteX3" fmla="*/ 22741 w 34909"/>
                  <a:gd name="connsiteY3" fmla="*/ 2072 h 34837"/>
                  <a:gd name="connsiteX4" fmla="*/ 32837 w 34909"/>
                  <a:gd name="connsiteY4" fmla="*/ 2072 h 34837"/>
                  <a:gd name="connsiteX5" fmla="*/ 32837 w 34909"/>
                  <a:gd name="connsiteY5" fmla="*/ 12168 h 34837"/>
                  <a:gd name="connsiteX6" fmla="*/ 12168 w 34909"/>
                  <a:gd name="connsiteY6" fmla="*/ 32742 h 34837"/>
                  <a:gd name="connsiteX7" fmla="*/ 7120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7120" y="34838"/>
                    </a:moveTo>
                    <a:cubicBezTo>
                      <a:pt x="5310" y="34838"/>
                      <a:pt x="3500" y="34171"/>
                      <a:pt x="2072" y="32742"/>
                    </a:cubicBezTo>
                    <a:cubicBezTo>
                      <a:pt x="-691" y="29980"/>
                      <a:pt x="-691" y="25408"/>
                      <a:pt x="2072" y="22646"/>
                    </a:cubicBezTo>
                    <a:lnTo>
                      <a:pt x="22741" y="2072"/>
                    </a:lnTo>
                    <a:cubicBezTo>
                      <a:pt x="25503" y="-691"/>
                      <a:pt x="30075" y="-691"/>
                      <a:pt x="32837" y="2072"/>
                    </a:cubicBezTo>
                    <a:cubicBezTo>
                      <a:pt x="35600" y="4834"/>
                      <a:pt x="35600" y="9406"/>
                      <a:pt x="32837" y="12168"/>
                    </a:cubicBezTo>
                    <a:lnTo>
                      <a:pt x="12168" y="32742"/>
                    </a:lnTo>
                    <a:cubicBezTo>
                      <a:pt x="10739" y="34076"/>
                      <a:pt x="8930" y="34838"/>
                      <a:pt x="7120" y="34838"/>
                    </a:cubicBezTo>
                    <a:close/>
                  </a:path>
                </a:pathLst>
              </a:custGeom>
              <a:grpFill/>
              <a:ln w="9525" cap="flat">
                <a:noFill/>
                <a:prstDash val="solid"/>
                <a:miter/>
              </a:ln>
            </p:spPr>
            <p:txBody>
              <a:bodyPr lIns="0" tIns="0" rIns="0" bIns="0" rtlCol="0" anchor="ctr"/>
              <a:lstStyle/>
              <a:p>
                <a:endParaRPr lang="en-US"/>
              </a:p>
            </p:txBody>
          </p:sp>
        </p:grpSp>
        <p:grpSp>
          <p:nvGrpSpPr>
            <p:cNvPr id="113" name="Grafik 29">
              <a:extLst>
                <a:ext uri="{FF2B5EF4-FFF2-40B4-BE49-F238E27FC236}">
                  <a16:creationId xmlns:a16="http://schemas.microsoft.com/office/drawing/2014/main" id="{89F6C633-F859-8084-8B18-F8D019D7667D}"/>
                </a:ext>
              </a:extLst>
            </p:cNvPr>
            <p:cNvGrpSpPr/>
            <p:nvPr/>
          </p:nvGrpSpPr>
          <p:grpSpPr bwMode="gray">
            <a:xfrm>
              <a:off x="5981247" y="3306150"/>
              <a:ext cx="111609" cy="305919"/>
              <a:chOff x="5981247" y="3306150"/>
              <a:chExt cx="111609" cy="305919"/>
            </a:xfrm>
            <a:grpFill/>
          </p:grpSpPr>
          <p:sp>
            <p:nvSpPr>
              <p:cNvPr id="118" name="Grafik 29">
                <a:extLst>
                  <a:ext uri="{FF2B5EF4-FFF2-40B4-BE49-F238E27FC236}">
                    <a16:creationId xmlns:a16="http://schemas.microsoft.com/office/drawing/2014/main" id="{D5B60EF4-73CA-CED0-9CFC-39CF3C37356F}"/>
                  </a:ext>
                </a:extLst>
              </p:cNvPr>
              <p:cNvSpPr/>
              <p:nvPr/>
            </p:nvSpPr>
            <p:spPr bwMode="gray">
              <a:xfrm>
                <a:off x="5981318"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19" name="Grafik 29">
                <a:extLst>
                  <a:ext uri="{FF2B5EF4-FFF2-40B4-BE49-F238E27FC236}">
                    <a16:creationId xmlns:a16="http://schemas.microsoft.com/office/drawing/2014/main" id="{E7A9AB9B-8945-E943-15B7-97748EAFF6D5}"/>
                  </a:ext>
                </a:extLst>
              </p:cNvPr>
              <p:cNvSpPr/>
              <p:nvPr/>
            </p:nvSpPr>
            <p:spPr bwMode="gray">
              <a:xfrm>
                <a:off x="5981342"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0" name="Grafik 29">
                <a:extLst>
                  <a:ext uri="{FF2B5EF4-FFF2-40B4-BE49-F238E27FC236}">
                    <a16:creationId xmlns:a16="http://schemas.microsoft.com/office/drawing/2014/main" id="{97B08382-57AF-CEB3-24A5-D7D287C6F7AA}"/>
                  </a:ext>
                </a:extLst>
              </p:cNvPr>
              <p:cNvSpPr/>
              <p:nvPr/>
            </p:nvSpPr>
            <p:spPr bwMode="gray">
              <a:xfrm>
                <a:off x="5981247"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1" name="Grafik 29">
                <a:extLst>
                  <a:ext uri="{FF2B5EF4-FFF2-40B4-BE49-F238E27FC236}">
                    <a16:creationId xmlns:a16="http://schemas.microsoft.com/office/drawing/2014/main" id="{DA8D7CFB-27EF-4B9D-E1A6-FEB8F4BE739F}"/>
                  </a:ext>
                </a:extLst>
              </p:cNvPr>
              <p:cNvSpPr/>
              <p:nvPr/>
            </p:nvSpPr>
            <p:spPr bwMode="gray">
              <a:xfrm>
                <a:off x="5981342"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2" name="Grafik 29">
                <a:extLst>
                  <a:ext uri="{FF2B5EF4-FFF2-40B4-BE49-F238E27FC236}">
                    <a16:creationId xmlns:a16="http://schemas.microsoft.com/office/drawing/2014/main" id="{26FB1B53-8438-D12A-5D82-ADE580EA1CE7}"/>
                  </a:ext>
                </a:extLst>
              </p:cNvPr>
              <p:cNvSpPr/>
              <p:nvPr/>
            </p:nvSpPr>
            <p:spPr bwMode="gray">
              <a:xfrm>
                <a:off x="5981247"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3" name="Grafik 29">
                <a:extLst>
                  <a:ext uri="{FF2B5EF4-FFF2-40B4-BE49-F238E27FC236}">
                    <a16:creationId xmlns:a16="http://schemas.microsoft.com/office/drawing/2014/main" id="{53AF2930-F580-8ACD-D461-26F824C377A4}"/>
                  </a:ext>
                </a:extLst>
              </p:cNvPr>
              <p:cNvSpPr/>
              <p:nvPr/>
            </p:nvSpPr>
            <p:spPr bwMode="gray">
              <a:xfrm>
                <a:off x="5981342"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4" name="Grafik 29">
                <a:extLst>
                  <a:ext uri="{FF2B5EF4-FFF2-40B4-BE49-F238E27FC236}">
                    <a16:creationId xmlns:a16="http://schemas.microsoft.com/office/drawing/2014/main" id="{5D3B6FA9-C9F6-66BA-97DF-7938178A4DAE}"/>
                  </a:ext>
                </a:extLst>
              </p:cNvPr>
              <p:cNvSpPr/>
              <p:nvPr/>
            </p:nvSpPr>
            <p:spPr bwMode="gray">
              <a:xfrm>
                <a:off x="5981342"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5" name="Grafik 29">
                <a:extLst>
                  <a:ext uri="{FF2B5EF4-FFF2-40B4-BE49-F238E27FC236}">
                    <a16:creationId xmlns:a16="http://schemas.microsoft.com/office/drawing/2014/main" id="{FABF92D9-2B37-0976-09AC-07256D9615FB}"/>
                  </a:ext>
                </a:extLst>
              </p:cNvPr>
              <p:cNvSpPr/>
              <p:nvPr/>
            </p:nvSpPr>
            <p:spPr bwMode="gray">
              <a:xfrm>
                <a:off x="5981342"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26" name="Grafik 29">
                <a:extLst>
                  <a:ext uri="{FF2B5EF4-FFF2-40B4-BE49-F238E27FC236}">
                    <a16:creationId xmlns:a16="http://schemas.microsoft.com/office/drawing/2014/main" id="{8A5BA2BD-C882-9C48-28D5-5D98CF2C8CAF}"/>
                  </a:ext>
                </a:extLst>
              </p:cNvPr>
              <p:cNvSpPr/>
              <p:nvPr/>
            </p:nvSpPr>
            <p:spPr bwMode="gray">
              <a:xfrm>
                <a:off x="5981342"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7" name="Grafik 29">
                <a:extLst>
                  <a:ext uri="{FF2B5EF4-FFF2-40B4-BE49-F238E27FC236}">
                    <a16:creationId xmlns:a16="http://schemas.microsoft.com/office/drawing/2014/main" id="{B47A87D6-0D11-4F65-B206-AC12AAFCE708}"/>
                  </a:ext>
                </a:extLst>
              </p:cNvPr>
              <p:cNvSpPr/>
              <p:nvPr/>
            </p:nvSpPr>
            <p:spPr bwMode="gray">
              <a:xfrm>
                <a:off x="5981342"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8" name="Grafik 29">
                <a:extLst>
                  <a:ext uri="{FF2B5EF4-FFF2-40B4-BE49-F238E27FC236}">
                    <a16:creationId xmlns:a16="http://schemas.microsoft.com/office/drawing/2014/main" id="{EC644620-42D1-AC4A-61A3-D25853DFEB12}"/>
                  </a:ext>
                </a:extLst>
              </p:cNvPr>
              <p:cNvSpPr/>
              <p:nvPr/>
            </p:nvSpPr>
            <p:spPr bwMode="gray">
              <a:xfrm>
                <a:off x="5981342"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9" name="Grafik 29">
                <a:extLst>
                  <a:ext uri="{FF2B5EF4-FFF2-40B4-BE49-F238E27FC236}">
                    <a16:creationId xmlns:a16="http://schemas.microsoft.com/office/drawing/2014/main" id="{40933FEB-77A4-91FC-F217-CBAF3F078AD6}"/>
                  </a:ext>
                </a:extLst>
              </p:cNvPr>
              <p:cNvSpPr/>
              <p:nvPr/>
            </p:nvSpPr>
            <p:spPr bwMode="gray">
              <a:xfrm>
                <a:off x="5981342"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30" name="Grafik 29">
                <a:extLst>
                  <a:ext uri="{FF2B5EF4-FFF2-40B4-BE49-F238E27FC236}">
                    <a16:creationId xmlns:a16="http://schemas.microsoft.com/office/drawing/2014/main" id="{25FAA55B-716D-245D-42BF-BF5B2F838DAF}"/>
                  </a:ext>
                </a:extLst>
              </p:cNvPr>
              <p:cNvSpPr/>
              <p:nvPr/>
            </p:nvSpPr>
            <p:spPr bwMode="gray">
              <a:xfrm>
                <a:off x="6029919"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31" name="Grafik 29">
                <a:extLst>
                  <a:ext uri="{FF2B5EF4-FFF2-40B4-BE49-F238E27FC236}">
                    <a16:creationId xmlns:a16="http://schemas.microsoft.com/office/drawing/2014/main" id="{CF47FCAB-A9D9-752C-B30A-7969DE46D1F5}"/>
                  </a:ext>
                </a:extLst>
              </p:cNvPr>
              <p:cNvSpPr/>
              <p:nvPr/>
            </p:nvSpPr>
            <p:spPr bwMode="gray">
              <a:xfrm>
                <a:off x="6029919"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sp>
            <p:nvSpPr>
              <p:cNvPr id="132" name="Grafik 29">
                <a:extLst>
                  <a:ext uri="{FF2B5EF4-FFF2-40B4-BE49-F238E27FC236}">
                    <a16:creationId xmlns:a16="http://schemas.microsoft.com/office/drawing/2014/main" id="{04496C58-6824-39C9-359B-A1FB28801FB8}"/>
                  </a:ext>
                </a:extLst>
              </p:cNvPr>
              <p:cNvSpPr/>
              <p:nvPr/>
            </p:nvSpPr>
            <p:spPr bwMode="gray">
              <a:xfrm>
                <a:off x="5981342"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14" name="Grafik 29">
              <a:extLst>
                <a:ext uri="{FF2B5EF4-FFF2-40B4-BE49-F238E27FC236}">
                  <a16:creationId xmlns:a16="http://schemas.microsoft.com/office/drawing/2014/main" id="{B1901715-5F99-AA6D-7E93-1E1C7606DA77}"/>
                </a:ext>
              </a:extLst>
            </p:cNvPr>
            <p:cNvGrpSpPr/>
            <p:nvPr/>
          </p:nvGrpSpPr>
          <p:grpSpPr bwMode="gray">
            <a:xfrm>
              <a:off x="6135242" y="3410735"/>
              <a:ext cx="111537" cy="96750"/>
              <a:chOff x="6135242" y="3410735"/>
              <a:chExt cx="111537" cy="96750"/>
            </a:xfrm>
            <a:grpFill/>
          </p:grpSpPr>
          <p:sp>
            <p:nvSpPr>
              <p:cNvPr id="115" name="Grafik 29">
                <a:extLst>
                  <a:ext uri="{FF2B5EF4-FFF2-40B4-BE49-F238E27FC236}">
                    <a16:creationId xmlns:a16="http://schemas.microsoft.com/office/drawing/2014/main" id="{B108AFDE-CF82-4F5B-2ADC-7659CFAA610E}"/>
                  </a:ext>
                </a:extLst>
              </p:cNvPr>
              <p:cNvSpPr/>
              <p:nvPr/>
            </p:nvSpPr>
            <p:spPr bwMode="gray">
              <a:xfrm>
                <a:off x="6135242" y="3451954"/>
                <a:ext cx="111537" cy="14287"/>
              </a:xfrm>
              <a:custGeom>
                <a:avLst/>
                <a:gdLst>
                  <a:gd name="connsiteX0" fmla="*/ 104299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299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299"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299" y="14288"/>
                    </a:cubicBezTo>
                    <a:close/>
                  </a:path>
                </a:pathLst>
              </a:custGeom>
              <a:grpFill/>
              <a:ln w="9525" cap="flat">
                <a:noFill/>
                <a:prstDash val="solid"/>
                <a:miter/>
              </a:ln>
            </p:spPr>
            <p:txBody>
              <a:bodyPr lIns="0" tIns="0" rIns="0" bIns="0" rtlCol="0" anchor="ctr"/>
              <a:lstStyle/>
              <a:p>
                <a:endParaRPr lang="en-US"/>
              </a:p>
            </p:txBody>
          </p:sp>
          <p:sp>
            <p:nvSpPr>
              <p:cNvPr id="116" name="Grafik 29">
                <a:extLst>
                  <a:ext uri="{FF2B5EF4-FFF2-40B4-BE49-F238E27FC236}">
                    <a16:creationId xmlns:a16="http://schemas.microsoft.com/office/drawing/2014/main" id="{C329C1F5-3273-0B29-5C59-3E4ED238C849}"/>
                  </a:ext>
                </a:extLst>
              </p:cNvPr>
              <p:cNvSpPr/>
              <p:nvPr/>
            </p:nvSpPr>
            <p:spPr bwMode="gray">
              <a:xfrm>
                <a:off x="6191178"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2078" y="54840"/>
                      <a:pt x="50173" y="55507"/>
                      <a:pt x="48363" y="55507"/>
                    </a:cubicBezTo>
                    <a:close/>
                  </a:path>
                </a:pathLst>
              </a:custGeom>
              <a:grpFill/>
              <a:ln w="9525" cap="flat">
                <a:noFill/>
                <a:prstDash val="solid"/>
                <a:miter/>
              </a:ln>
            </p:spPr>
            <p:txBody>
              <a:bodyPr lIns="0" tIns="0" rIns="0" bIns="0" rtlCol="0" anchor="ctr"/>
              <a:lstStyle/>
              <a:p>
                <a:endParaRPr lang="en-US"/>
              </a:p>
            </p:txBody>
          </p:sp>
          <p:sp>
            <p:nvSpPr>
              <p:cNvPr id="117" name="Grafik 29">
                <a:extLst>
                  <a:ext uri="{FF2B5EF4-FFF2-40B4-BE49-F238E27FC236}">
                    <a16:creationId xmlns:a16="http://schemas.microsoft.com/office/drawing/2014/main" id="{12F89E11-6DD7-9690-57EB-88B62DA1298F}"/>
                  </a:ext>
                </a:extLst>
              </p:cNvPr>
              <p:cNvSpPr/>
              <p:nvPr/>
            </p:nvSpPr>
            <p:spPr bwMode="gray">
              <a:xfrm>
                <a:off x="6191178"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835" y="54840"/>
                      <a:pt x="8930" y="55507"/>
                      <a:pt x="7120" y="55507"/>
                    </a:cubicBezTo>
                    <a:close/>
                  </a:path>
                </a:pathLst>
              </a:custGeom>
              <a:grpFill/>
              <a:ln w="9525" cap="flat">
                <a:noFill/>
                <a:prstDash val="solid"/>
                <a:miter/>
              </a:ln>
            </p:spPr>
            <p:txBody>
              <a:bodyPr lIns="0" tIns="0" rIns="0" bIns="0" rtlCol="0" anchor="ctr"/>
              <a:lstStyle/>
              <a:p>
                <a:endParaRPr lang="en-US"/>
              </a:p>
            </p:txBody>
          </p:sp>
        </p:grpSp>
      </p:grpSp>
      <p:grpSp>
        <p:nvGrpSpPr>
          <p:cNvPr id="136" name="Grafik 31">
            <a:extLst>
              <a:ext uri="{FF2B5EF4-FFF2-40B4-BE49-F238E27FC236}">
                <a16:creationId xmlns:a16="http://schemas.microsoft.com/office/drawing/2014/main" id="{C12C570E-E0FC-3D03-CBC6-863013F2407D}"/>
              </a:ext>
            </a:extLst>
          </p:cNvPr>
          <p:cNvGrpSpPr>
            <a:grpSpLocks noChangeAspect="1"/>
          </p:cNvGrpSpPr>
          <p:nvPr/>
        </p:nvGrpSpPr>
        <p:grpSpPr bwMode="gray">
          <a:xfrm>
            <a:off x="318304" y="3477302"/>
            <a:ext cx="374400" cy="374400"/>
            <a:chOff x="5843587" y="3176587"/>
            <a:chExt cx="500253" cy="500253"/>
          </a:xfrm>
          <a:solidFill>
            <a:schemeClr val="tx1"/>
          </a:solidFill>
        </p:grpSpPr>
        <p:sp>
          <p:nvSpPr>
            <p:cNvPr id="137" name="Grafik 31">
              <a:extLst>
                <a:ext uri="{FF2B5EF4-FFF2-40B4-BE49-F238E27FC236}">
                  <a16:creationId xmlns:a16="http://schemas.microsoft.com/office/drawing/2014/main" id="{DEC89827-4131-F504-E0A0-3485B93C7DE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38" name="Grafik 31">
              <a:extLst>
                <a:ext uri="{FF2B5EF4-FFF2-40B4-BE49-F238E27FC236}">
                  <a16:creationId xmlns:a16="http://schemas.microsoft.com/office/drawing/2014/main" id="{6D180E0A-476B-47F4-82F7-12644798F68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39" name="Grafik 31">
              <a:extLst>
                <a:ext uri="{FF2B5EF4-FFF2-40B4-BE49-F238E27FC236}">
                  <a16:creationId xmlns:a16="http://schemas.microsoft.com/office/drawing/2014/main" id="{2CFF97DF-D04C-7DE7-F0AF-5AB8172F5F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0" name="Grafik 31">
              <a:extLst>
                <a:ext uri="{FF2B5EF4-FFF2-40B4-BE49-F238E27FC236}">
                  <a16:creationId xmlns:a16="http://schemas.microsoft.com/office/drawing/2014/main" id="{12AD31F1-0D54-7B78-4861-D9351D07018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1" name="Grafik 31">
              <a:extLst>
                <a:ext uri="{FF2B5EF4-FFF2-40B4-BE49-F238E27FC236}">
                  <a16:creationId xmlns:a16="http://schemas.microsoft.com/office/drawing/2014/main" id="{638454DE-9132-A67C-15DF-72877D5FB4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42" name="Grafik 31">
              <a:extLst>
                <a:ext uri="{FF2B5EF4-FFF2-40B4-BE49-F238E27FC236}">
                  <a16:creationId xmlns:a16="http://schemas.microsoft.com/office/drawing/2014/main" id="{DA2650F5-01D6-5ABC-7A25-5E5091E812DE}"/>
                </a:ext>
              </a:extLst>
            </p:cNvPr>
            <p:cNvGrpSpPr/>
            <p:nvPr/>
          </p:nvGrpSpPr>
          <p:grpSpPr bwMode="gray">
            <a:xfrm>
              <a:off x="6005535" y="3306150"/>
              <a:ext cx="111609" cy="305919"/>
              <a:chOff x="6005535" y="3306150"/>
              <a:chExt cx="111609" cy="305919"/>
            </a:xfrm>
            <a:grpFill/>
          </p:grpSpPr>
          <p:sp>
            <p:nvSpPr>
              <p:cNvPr id="163" name="Grafik 31">
                <a:extLst>
                  <a:ext uri="{FF2B5EF4-FFF2-40B4-BE49-F238E27FC236}">
                    <a16:creationId xmlns:a16="http://schemas.microsoft.com/office/drawing/2014/main" id="{19F85491-45B9-4E86-72C5-2E717DFCFDFF}"/>
                  </a:ext>
                </a:extLst>
              </p:cNvPr>
              <p:cNvSpPr/>
              <p:nvPr/>
            </p:nvSpPr>
            <p:spPr bwMode="gray">
              <a:xfrm>
                <a:off x="6005607"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2"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64" name="Grafik 31">
                <a:extLst>
                  <a:ext uri="{FF2B5EF4-FFF2-40B4-BE49-F238E27FC236}">
                    <a16:creationId xmlns:a16="http://schemas.microsoft.com/office/drawing/2014/main" id="{03A9CC52-D78C-C15B-CA33-59D5D858F320}"/>
                  </a:ext>
                </a:extLst>
              </p:cNvPr>
              <p:cNvSpPr/>
              <p:nvPr/>
            </p:nvSpPr>
            <p:spPr bwMode="gray">
              <a:xfrm>
                <a:off x="6005631"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5" name="Grafik 31">
                <a:extLst>
                  <a:ext uri="{FF2B5EF4-FFF2-40B4-BE49-F238E27FC236}">
                    <a16:creationId xmlns:a16="http://schemas.microsoft.com/office/drawing/2014/main" id="{31A8A3C4-67F0-C710-8C52-70823715FABC}"/>
                  </a:ext>
                </a:extLst>
              </p:cNvPr>
              <p:cNvSpPr/>
              <p:nvPr/>
            </p:nvSpPr>
            <p:spPr bwMode="gray">
              <a:xfrm>
                <a:off x="6005535"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6" name="Grafik 31">
                <a:extLst>
                  <a:ext uri="{FF2B5EF4-FFF2-40B4-BE49-F238E27FC236}">
                    <a16:creationId xmlns:a16="http://schemas.microsoft.com/office/drawing/2014/main" id="{5282ABC0-D6B8-56CD-D582-695B4394C0B9}"/>
                  </a:ext>
                </a:extLst>
              </p:cNvPr>
              <p:cNvSpPr/>
              <p:nvPr/>
            </p:nvSpPr>
            <p:spPr bwMode="gray">
              <a:xfrm>
                <a:off x="6005631"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7" name="Grafik 31">
                <a:extLst>
                  <a:ext uri="{FF2B5EF4-FFF2-40B4-BE49-F238E27FC236}">
                    <a16:creationId xmlns:a16="http://schemas.microsoft.com/office/drawing/2014/main" id="{89A65236-89B1-462A-4A90-1C610941A9DD}"/>
                  </a:ext>
                </a:extLst>
              </p:cNvPr>
              <p:cNvSpPr/>
              <p:nvPr/>
            </p:nvSpPr>
            <p:spPr bwMode="gray">
              <a:xfrm>
                <a:off x="6005535"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8" name="Grafik 31">
                <a:extLst>
                  <a:ext uri="{FF2B5EF4-FFF2-40B4-BE49-F238E27FC236}">
                    <a16:creationId xmlns:a16="http://schemas.microsoft.com/office/drawing/2014/main" id="{043B6488-C889-6664-4275-F008FE3B20FA}"/>
                  </a:ext>
                </a:extLst>
              </p:cNvPr>
              <p:cNvSpPr/>
              <p:nvPr/>
            </p:nvSpPr>
            <p:spPr bwMode="gray">
              <a:xfrm>
                <a:off x="6005631"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9" name="Grafik 31">
                <a:extLst>
                  <a:ext uri="{FF2B5EF4-FFF2-40B4-BE49-F238E27FC236}">
                    <a16:creationId xmlns:a16="http://schemas.microsoft.com/office/drawing/2014/main" id="{767EF652-BD7B-0DD2-16EA-A5D10AC888C6}"/>
                  </a:ext>
                </a:extLst>
              </p:cNvPr>
              <p:cNvSpPr/>
              <p:nvPr/>
            </p:nvSpPr>
            <p:spPr bwMode="gray">
              <a:xfrm>
                <a:off x="6005631"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0" name="Grafik 31">
                <a:extLst>
                  <a:ext uri="{FF2B5EF4-FFF2-40B4-BE49-F238E27FC236}">
                    <a16:creationId xmlns:a16="http://schemas.microsoft.com/office/drawing/2014/main" id="{2E53DE00-7022-3387-09EE-AE999B57888F}"/>
                  </a:ext>
                </a:extLst>
              </p:cNvPr>
              <p:cNvSpPr/>
              <p:nvPr/>
            </p:nvSpPr>
            <p:spPr bwMode="gray">
              <a:xfrm>
                <a:off x="6005631"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1" name="Grafik 31">
                <a:extLst>
                  <a:ext uri="{FF2B5EF4-FFF2-40B4-BE49-F238E27FC236}">
                    <a16:creationId xmlns:a16="http://schemas.microsoft.com/office/drawing/2014/main" id="{90FA5EEF-9D75-4A2D-C694-854EA0D8964A}"/>
                  </a:ext>
                </a:extLst>
              </p:cNvPr>
              <p:cNvSpPr/>
              <p:nvPr/>
            </p:nvSpPr>
            <p:spPr bwMode="gray">
              <a:xfrm>
                <a:off x="6005631"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2" name="Grafik 31">
                <a:extLst>
                  <a:ext uri="{FF2B5EF4-FFF2-40B4-BE49-F238E27FC236}">
                    <a16:creationId xmlns:a16="http://schemas.microsoft.com/office/drawing/2014/main" id="{7F730055-944D-9C27-6FFF-0A74538D5340}"/>
                  </a:ext>
                </a:extLst>
              </p:cNvPr>
              <p:cNvSpPr/>
              <p:nvPr/>
            </p:nvSpPr>
            <p:spPr bwMode="gray">
              <a:xfrm>
                <a:off x="6005631"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3" name="Grafik 31">
                <a:extLst>
                  <a:ext uri="{FF2B5EF4-FFF2-40B4-BE49-F238E27FC236}">
                    <a16:creationId xmlns:a16="http://schemas.microsoft.com/office/drawing/2014/main" id="{AB089731-EBF6-100D-557E-5FE2A885119E}"/>
                  </a:ext>
                </a:extLst>
              </p:cNvPr>
              <p:cNvSpPr/>
              <p:nvPr/>
            </p:nvSpPr>
            <p:spPr bwMode="gray">
              <a:xfrm>
                <a:off x="6005631"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4" name="Grafik 31">
                <a:extLst>
                  <a:ext uri="{FF2B5EF4-FFF2-40B4-BE49-F238E27FC236}">
                    <a16:creationId xmlns:a16="http://schemas.microsoft.com/office/drawing/2014/main" id="{4E6948F0-70E1-5D30-C9A6-281A3CA0D988}"/>
                  </a:ext>
                </a:extLst>
              </p:cNvPr>
              <p:cNvSpPr/>
              <p:nvPr/>
            </p:nvSpPr>
            <p:spPr bwMode="gray">
              <a:xfrm>
                <a:off x="6005631"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5" name="Grafik 31">
                <a:extLst>
                  <a:ext uri="{FF2B5EF4-FFF2-40B4-BE49-F238E27FC236}">
                    <a16:creationId xmlns:a16="http://schemas.microsoft.com/office/drawing/2014/main" id="{4B8C41CE-7609-5AB4-5FB0-794C1723A8FD}"/>
                  </a:ext>
                </a:extLst>
              </p:cNvPr>
              <p:cNvSpPr/>
              <p:nvPr/>
            </p:nvSpPr>
            <p:spPr bwMode="gray">
              <a:xfrm>
                <a:off x="6054208"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6" name="Grafik 31">
                <a:extLst>
                  <a:ext uri="{FF2B5EF4-FFF2-40B4-BE49-F238E27FC236}">
                    <a16:creationId xmlns:a16="http://schemas.microsoft.com/office/drawing/2014/main" id="{C19CCBCD-DA0A-3BEC-DA91-DFE4E256E0E4}"/>
                  </a:ext>
                </a:extLst>
              </p:cNvPr>
              <p:cNvSpPr/>
              <p:nvPr/>
            </p:nvSpPr>
            <p:spPr bwMode="gray">
              <a:xfrm>
                <a:off x="6054208"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177" name="Grafik 31">
                <a:extLst>
                  <a:ext uri="{FF2B5EF4-FFF2-40B4-BE49-F238E27FC236}">
                    <a16:creationId xmlns:a16="http://schemas.microsoft.com/office/drawing/2014/main" id="{366C9ED9-3465-2023-0424-C5DBC6A30CDE}"/>
                  </a:ext>
                </a:extLst>
              </p:cNvPr>
              <p:cNvSpPr/>
              <p:nvPr/>
            </p:nvSpPr>
            <p:spPr bwMode="gray">
              <a:xfrm>
                <a:off x="6005631"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43" name="Grafik 31">
              <a:extLst>
                <a:ext uri="{FF2B5EF4-FFF2-40B4-BE49-F238E27FC236}">
                  <a16:creationId xmlns:a16="http://schemas.microsoft.com/office/drawing/2014/main" id="{0C563054-CEF5-2034-CB04-0F3BA941F794}"/>
                </a:ext>
              </a:extLst>
            </p:cNvPr>
            <p:cNvGrpSpPr/>
            <p:nvPr/>
          </p:nvGrpSpPr>
          <p:grpSpPr bwMode="gray">
            <a:xfrm>
              <a:off x="6135147" y="3424451"/>
              <a:ext cx="111537" cy="69318"/>
              <a:chOff x="6135147" y="3424451"/>
              <a:chExt cx="111537" cy="69318"/>
            </a:xfrm>
            <a:grpFill/>
          </p:grpSpPr>
          <p:sp>
            <p:nvSpPr>
              <p:cNvPr id="160" name="Grafik 31">
                <a:extLst>
                  <a:ext uri="{FF2B5EF4-FFF2-40B4-BE49-F238E27FC236}">
                    <a16:creationId xmlns:a16="http://schemas.microsoft.com/office/drawing/2014/main" id="{74D40741-3183-BDC5-EE24-A60ED4B5E442}"/>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61" name="Grafik 31">
                <a:extLst>
                  <a:ext uri="{FF2B5EF4-FFF2-40B4-BE49-F238E27FC236}">
                    <a16:creationId xmlns:a16="http://schemas.microsoft.com/office/drawing/2014/main" id="{86D2738D-6D7D-0D9F-CBC7-3CB9FCE0215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62" name="Grafik 31">
                <a:extLst>
                  <a:ext uri="{FF2B5EF4-FFF2-40B4-BE49-F238E27FC236}">
                    <a16:creationId xmlns:a16="http://schemas.microsoft.com/office/drawing/2014/main" id="{209AFB4F-AEEB-BD28-DBFC-086A1887DAC7}"/>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4" name="Grafik 31">
              <a:extLst>
                <a:ext uri="{FF2B5EF4-FFF2-40B4-BE49-F238E27FC236}">
                  <a16:creationId xmlns:a16="http://schemas.microsoft.com/office/drawing/2014/main" id="{110D8EB2-8135-0F32-55DA-41AC4079283F}"/>
                </a:ext>
              </a:extLst>
            </p:cNvPr>
            <p:cNvGrpSpPr/>
            <p:nvPr/>
          </p:nvGrpSpPr>
          <p:grpSpPr bwMode="gray">
            <a:xfrm>
              <a:off x="6135171" y="3424451"/>
              <a:ext cx="41767" cy="69318"/>
              <a:chOff x="6135171" y="3424451"/>
              <a:chExt cx="41767" cy="69318"/>
            </a:xfrm>
            <a:grpFill/>
          </p:grpSpPr>
          <p:sp>
            <p:nvSpPr>
              <p:cNvPr id="158" name="Grafik 31">
                <a:extLst>
                  <a:ext uri="{FF2B5EF4-FFF2-40B4-BE49-F238E27FC236}">
                    <a16:creationId xmlns:a16="http://schemas.microsoft.com/office/drawing/2014/main" id="{1395BC2E-4D31-1469-831A-0D71CBBF5D2B}"/>
                  </a:ext>
                </a:extLst>
              </p:cNvPr>
              <p:cNvSpPr/>
              <p:nvPr/>
            </p:nvSpPr>
            <p:spPr bwMode="gray">
              <a:xfrm>
                <a:off x="6135171"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59" name="Grafik 31">
                <a:extLst>
                  <a:ext uri="{FF2B5EF4-FFF2-40B4-BE49-F238E27FC236}">
                    <a16:creationId xmlns:a16="http://schemas.microsoft.com/office/drawing/2014/main" id="{DBCD1F50-E66B-BAF2-6DD9-0AB3027D3CA6}"/>
                  </a:ext>
                </a:extLst>
              </p:cNvPr>
              <p:cNvSpPr/>
              <p:nvPr/>
            </p:nvSpPr>
            <p:spPr bwMode="gray">
              <a:xfrm>
                <a:off x="613517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5" name="Grafik 31">
              <a:extLst>
                <a:ext uri="{FF2B5EF4-FFF2-40B4-BE49-F238E27FC236}">
                  <a16:creationId xmlns:a16="http://schemas.microsoft.com/office/drawing/2014/main" id="{842DFDA0-0472-D4E6-5DF4-5EA154BC7BD5}"/>
                </a:ext>
              </a:extLst>
            </p:cNvPr>
            <p:cNvGrpSpPr/>
            <p:nvPr/>
          </p:nvGrpSpPr>
          <p:grpSpPr bwMode="gray">
            <a:xfrm>
              <a:off x="5875972" y="3307865"/>
              <a:ext cx="111537" cy="302490"/>
              <a:chOff x="5875972" y="3307865"/>
              <a:chExt cx="111537" cy="302490"/>
            </a:xfrm>
            <a:grpFill/>
          </p:grpSpPr>
          <p:grpSp>
            <p:nvGrpSpPr>
              <p:cNvPr id="146" name="Grafik 31">
                <a:extLst>
                  <a:ext uri="{FF2B5EF4-FFF2-40B4-BE49-F238E27FC236}">
                    <a16:creationId xmlns:a16="http://schemas.microsoft.com/office/drawing/2014/main" id="{145FD164-89EB-7E95-C790-FE05D25D19F8}"/>
                  </a:ext>
                </a:extLst>
              </p:cNvPr>
              <p:cNvGrpSpPr/>
              <p:nvPr/>
            </p:nvGrpSpPr>
            <p:grpSpPr bwMode="gray">
              <a:xfrm>
                <a:off x="5875972" y="3410735"/>
                <a:ext cx="111537" cy="96750"/>
                <a:chOff x="5875972" y="3410735"/>
                <a:chExt cx="111537" cy="96750"/>
              </a:xfrm>
              <a:grpFill/>
            </p:grpSpPr>
            <p:sp>
              <p:nvSpPr>
                <p:cNvPr id="155" name="Grafik 31">
                  <a:extLst>
                    <a:ext uri="{FF2B5EF4-FFF2-40B4-BE49-F238E27FC236}">
                      <a16:creationId xmlns:a16="http://schemas.microsoft.com/office/drawing/2014/main" id="{0AB1C0BB-28BE-BB98-B4E2-E7B54873639E}"/>
                    </a:ext>
                  </a:extLst>
                </p:cNvPr>
                <p:cNvSpPr/>
                <p:nvPr/>
              </p:nvSpPr>
              <p:spPr bwMode="gray">
                <a:xfrm>
                  <a:off x="5875972"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56" name="Grafik 31">
                  <a:extLst>
                    <a:ext uri="{FF2B5EF4-FFF2-40B4-BE49-F238E27FC236}">
                      <a16:creationId xmlns:a16="http://schemas.microsoft.com/office/drawing/2014/main" id="{7C7CE83B-7130-E273-8369-8D98880337AA}"/>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sp>
              <p:nvSpPr>
                <p:cNvPr id="157" name="Grafik 31">
                  <a:extLst>
                    <a:ext uri="{FF2B5EF4-FFF2-40B4-BE49-F238E27FC236}">
                      <a16:creationId xmlns:a16="http://schemas.microsoft.com/office/drawing/2014/main" id="{C9B6685C-DF5B-85A8-3D35-272083BDBB52}"/>
                    </a:ext>
                  </a:extLst>
                </p:cNvPr>
                <p:cNvSpPr/>
                <p:nvPr/>
              </p:nvSpPr>
              <p:spPr bwMode="gray">
                <a:xfrm>
                  <a:off x="5932002"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840"/>
                        <a:pt x="50173" y="55507"/>
                        <a:pt x="48363" y="55507"/>
                      </a:cubicBezTo>
                      <a:close/>
                    </a:path>
                  </a:pathLst>
                </a:custGeom>
                <a:grpFill/>
                <a:ln w="9525" cap="flat">
                  <a:noFill/>
                  <a:prstDash val="solid"/>
                  <a:miter/>
                </a:ln>
              </p:spPr>
              <p:txBody>
                <a:bodyPr lIns="0" tIns="0" rIns="0" bIns="0" rtlCol="0" anchor="ctr"/>
                <a:lstStyle/>
                <a:p>
                  <a:endParaRPr lang="en-US"/>
                </a:p>
              </p:txBody>
            </p:sp>
          </p:grpSp>
          <p:grpSp>
            <p:nvGrpSpPr>
              <p:cNvPr id="147" name="Grafik 31">
                <a:extLst>
                  <a:ext uri="{FF2B5EF4-FFF2-40B4-BE49-F238E27FC236}">
                    <a16:creationId xmlns:a16="http://schemas.microsoft.com/office/drawing/2014/main" id="{6EC5BD1E-1BB5-8D22-201E-4DDBC6A40AA5}"/>
                  </a:ext>
                </a:extLst>
              </p:cNvPr>
              <p:cNvGrpSpPr/>
              <p:nvPr/>
            </p:nvGrpSpPr>
            <p:grpSpPr bwMode="gray">
              <a:xfrm>
                <a:off x="5876067" y="3541132"/>
                <a:ext cx="79057" cy="69222"/>
                <a:chOff x="5876067" y="3541132"/>
                <a:chExt cx="79057" cy="69222"/>
              </a:xfrm>
              <a:grpFill/>
            </p:grpSpPr>
            <p:sp>
              <p:nvSpPr>
                <p:cNvPr id="152" name="Grafik 31">
                  <a:extLst>
                    <a:ext uri="{FF2B5EF4-FFF2-40B4-BE49-F238E27FC236}">
                      <a16:creationId xmlns:a16="http://schemas.microsoft.com/office/drawing/2014/main" id="{27683CAF-C8DC-AE1B-1248-01A87475DA01}"/>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3" name="Grafik 31">
                  <a:extLst>
                    <a:ext uri="{FF2B5EF4-FFF2-40B4-BE49-F238E27FC236}">
                      <a16:creationId xmlns:a16="http://schemas.microsoft.com/office/drawing/2014/main" id="{10CDF451-DB00-E643-2FC5-D66C7C5A6B5A}"/>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4" name="Grafik 31">
                  <a:extLst>
                    <a:ext uri="{FF2B5EF4-FFF2-40B4-BE49-F238E27FC236}">
                      <a16:creationId xmlns:a16="http://schemas.microsoft.com/office/drawing/2014/main" id="{28038152-D22A-63CE-4028-1805E9296DF8}"/>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148" name="Grafik 31">
                <a:extLst>
                  <a:ext uri="{FF2B5EF4-FFF2-40B4-BE49-F238E27FC236}">
                    <a16:creationId xmlns:a16="http://schemas.microsoft.com/office/drawing/2014/main" id="{9EDEB14E-72E3-2DE0-7071-393DDD7D1B54}"/>
                  </a:ext>
                </a:extLst>
              </p:cNvPr>
              <p:cNvGrpSpPr/>
              <p:nvPr/>
            </p:nvGrpSpPr>
            <p:grpSpPr bwMode="gray">
              <a:xfrm>
                <a:off x="5876067" y="3307865"/>
                <a:ext cx="79057" cy="69318"/>
                <a:chOff x="5876067" y="3307865"/>
                <a:chExt cx="79057" cy="69318"/>
              </a:xfrm>
              <a:grpFill/>
            </p:grpSpPr>
            <p:sp>
              <p:nvSpPr>
                <p:cNvPr id="149" name="Grafik 31">
                  <a:extLst>
                    <a:ext uri="{FF2B5EF4-FFF2-40B4-BE49-F238E27FC236}">
                      <a16:creationId xmlns:a16="http://schemas.microsoft.com/office/drawing/2014/main" id="{5E4741E0-0B06-7A64-A807-6954D54C9A6A}"/>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0" name="Grafik 31">
                  <a:extLst>
                    <a:ext uri="{FF2B5EF4-FFF2-40B4-BE49-F238E27FC236}">
                      <a16:creationId xmlns:a16="http://schemas.microsoft.com/office/drawing/2014/main" id="{9EDC75FD-07B3-3443-8520-2D1649CC61AE}"/>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1" name="Grafik 31">
                  <a:extLst>
                    <a:ext uri="{FF2B5EF4-FFF2-40B4-BE49-F238E27FC236}">
                      <a16:creationId xmlns:a16="http://schemas.microsoft.com/office/drawing/2014/main" id="{6275EBF4-E644-FC5C-E754-2A7EC651386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grpSp>
        <p:nvGrpSpPr>
          <p:cNvPr id="178" name="Grafik 3852">
            <a:extLst>
              <a:ext uri="{FF2B5EF4-FFF2-40B4-BE49-F238E27FC236}">
                <a16:creationId xmlns:a16="http://schemas.microsoft.com/office/drawing/2014/main" id="{B51754AB-7D36-118E-5B60-B4D813EC56A6}"/>
              </a:ext>
            </a:extLst>
          </p:cNvPr>
          <p:cNvGrpSpPr/>
          <p:nvPr/>
        </p:nvGrpSpPr>
        <p:grpSpPr bwMode="gray">
          <a:xfrm>
            <a:off x="318304" y="4014689"/>
            <a:ext cx="374400" cy="374400"/>
            <a:chOff x="5843587" y="3176587"/>
            <a:chExt cx="500348" cy="500253"/>
          </a:xfrm>
          <a:solidFill>
            <a:schemeClr val="tx1"/>
          </a:solidFill>
        </p:grpSpPr>
        <p:sp>
          <p:nvSpPr>
            <p:cNvPr id="179" name="Grafik 3852">
              <a:extLst>
                <a:ext uri="{FF2B5EF4-FFF2-40B4-BE49-F238E27FC236}">
                  <a16:creationId xmlns:a16="http://schemas.microsoft.com/office/drawing/2014/main" id="{32B15C21-57B8-C39D-5342-FB41CAE9E9C3}"/>
                </a:ext>
              </a:extLst>
            </p:cNvPr>
            <p:cNvSpPr/>
            <p:nvPr/>
          </p:nvSpPr>
          <p:spPr bwMode="gray">
            <a:xfrm>
              <a:off x="5892164" y="3241357"/>
              <a:ext cx="338327" cy="435483"/>
            </a:xfrm>
            <a:custGeom>
              <a:avLst/>
              <a:gdLst>
                <a:gd name="connsiteX0" fmla="*/ 331184 w 338327"/>
                <a:gd name="connsiteY0" fmla="*/ 435483 h 435483"/>
                <a:gd name="connsiteX1" fmla="*/ 7144 w 338327"/>
                <a:gd name="connsiteY1" fmla="*/ 435483 h 435483"/>
                <a:gd name="connsiteX2" fmla="*/ 0 w 338327"/>
                <a:gd name="connsiteY2" fmla="*/ 428339 h 435483"/>
                <a:gd name="connsiteX3" fmla="*/ 0 w 338327"/>
                <a:gd name="connsiteY3" fmla="*/ 7144 h 435483"/>
                <a:gd name="connsiteX4" fmla="*/ 7144 w 338327"/>
                <a:gd name="connsiteY4" fmla="*/ 0 h 435483"/>
                <a:gd name="connsiteX5" fmla="*/ 331184 w 338327"/>
                <a:gd name="connsiteY5" fmla="*/ 0 h 435483"/>
                <a:gd name="connsiteX6" fmla="*/ 338328 w 338327"/>
                <a:gd name="connsiteY6" fmla="*/ 7144 h 435483"/>
                <a:gd name="connsiteX7" fmla="*/ 338328 w 338327"/>
                <a:gd name="connsiteY7" fmla="*/ 428339 h 435483"/>
                <a:gd name="connsiteX8" fmla="*/ 331184 w 338327"/>
                <a:gd name="connsiteY8" fmla="*/ 435483 h 435483"/>
                <a:gd name="connsiteX9" fmla="*/ 14288 w 338327"/>
                <a:gd name="connsiteY9" fmla="*/ 421196 h 435483"/>
                <a:gd name="connsiteX10" fmla="*/ 324041 w 338327"/>
                <a:gd name="connsiteY10" fmla="*/ 421196 h 435483"/>
                <a:gd name="connsiteX11" fmla="*/ 324041 w 338327"/>
                <a:gd name="connsiteY11" fmla="*/ 14288 h 435483"/>
                <a:gd name="connsiteX12" fmla="*/ 14288 w 338327"/>
                <a:gd name="connsiteY12" fmla="*/ 14288 h 435483"/>
                <a:gd name="connsiteX13" fmla="*/ 14288 w 33832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327" h="435483">
                  <a:moveTo>
                    <a:pt x="331184" y="435483"/>
                  </a:moveTo>
                  <a:lnTo>
                    <a:pt x="7144" y="435483"/>
                  </a:lnTo>
                  <a:cubicBezTo>
                    <a:pt x="3239" y="435483"/>
                    <a:pt x="0" y="432245"/>
                    <a:pt x="0" y="428339"/>
                  </a:cubicBezTo>
                  <a:lnTo>
                    <a:pt x="0" y="7144"/>
                  </a:lnTo>
                  <a:cubicBezTo>
                    <a:pt x="0" y="3238"/>
                    <a:pt x="3239" y="0"/>
                    <a:pt x="7144" y="0"/>
                  </a:cubicBezTo>
                  <a:lnTo>
                    <a:pt x="331184" y="0"/>
                  </a:lnTo>
                  <a:cubicBezTo>
                    <a:pt x="335090" y="0"/>
                    <a:pt x="338328" y="3238"/>
                    <a:pt x="338328" y="7144"/>
                  </a:cubicBezTo>
                  <a:lnTo>
                    <a:pt x="338328" y="428339"/>
                  </a:lnTo>
                  <a:cubicBezTo>
                    <a:pt x="338328" y="432340"/>
                    <a:pt x="335090" y="435483"/>
                    <a:pt x="331184" y="435483"/>
                  </a:cubicBezTo>
                  <a:close/>
                  <a:moveTo>
                    <a:pt x="14288" y="421196"/>
                  </a:moveTo>
                  <a:lnTo>
                    <a:pt x="324041" y="421196"/>
                  </a:lnTo>
                  <a:lnTo>
                    <a:pt x="324041"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80" name="Grafik 3852">
              <a:extLst>
                <a:ext uri="{FF2B5EF4-FFF2-40B4-BE49-F238E27FC236}">
                  <a16:creationId xmlns:a16="http://schemas.microsoft.com/office/drawing/2014/main" id="{5CED695D-C23D-049F-0446-E5EAED618EAC}"/>
                </a:ext>
              </a:extLst>
            </p:cNvPr>
            <p:cNvSpPr/>
            <p:nvPr/>
          </p:nvSpPr>
          <p:spPr bwMode="gray">
            <a:xfrm>
              <a:off x="5957029" y="3176587"/>
              <a:ext cx="338328" cy="435483"/>
            </a:xfrm>
            <a:custGeom>
              <a:avLst/>
              <a:gdLst>
                <a:gd name="connsiteX0" fmla="*/ 331089 w 338328"/>
                <a:gd name="connsiteY0" fmla="*/ 435483 h 435483"/>
                <a:gd name="connsiteX1" fmla="*/ 323945 w 338328"/>
                <a:gd name="connsiteY1" fmla="*/ 428339 h 435483"/>
                <a:gd name="connsiteX2" fmla="*/ 323945 w 338328"/>
                <a:gd name="connsiteY2" fmla="*/ 14288 h 435483"/>
                <a:gd name="connsiteX3" fmla="*/ 7144 w 338328"/>
                <a:gd name="connsiteY3" fmla="*/ 14288 h 435483"/>
                <a:gd name="connsiteX4" fmla="*/ 0 w 338328"/>
                <a:gd name="connsiteY4" fmla="*/ 7144 h 435483"/>
                <a:gd name="connsiteX5" fmla="*/ 7144 w 338328"/>
                <a:gd name="connsiteY5" fmla="*/ 0 h 435483"/>
                <a:gd name="connsiteX6" fmla="*/ 331184 w 338328"/>
                <a:gd name="connsiteY6" fmla="*/ 0 h 435483"/>
                <a:gd name="connsiteX7" fmla="*/ 338328 w 338328"/>
                <a:gd name="connsiteY7" fmla="*/ 7144 h 435483"/>
                <a:gd name="connsiteX8" fmla="*/ 338328 w 338328"/>
                <a:gd name="connsiteY8" fmla="*/ 428339 h 435483"/>
                <a:gd name="connsiteX9" fmla="*/ 331089 w 338328"/>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28" h="435483">
                  <a:moveTo>
                    <a:pt x="331089" y="435483"/>
                  </a:moveTo>
                  <a:cubicBezTo>
                    <a:pt x="327184" y="435483"/>
                    <a:pt x="323945" y="432245"/>
                    <a:pt x="323945" y="428339"/>
                  </a:cubicBezTo>
                  <a:lnTo>
                    <a:pt x="323945" y="14288"/>
                  </a:lnTo>
                  <a:lnTo>
                    <a:pt x="7144" y="14288"/>
                  </a:lnTo>
                  <a:cubicBezTo>
                    <a:pt x="3239" y="14288"/>
                    <a:pt x="0" y="11049"/>
                    <a:pt x="0" y="7144"/>
                  </a:cubicBezTo>
                  <a:cubicBezTo>
                    <a:pt x="0" y="3239"/>
                    <a:pt x="3143" y="0"/>
                    <a:pt x="7144" y="0"/>
                  </a:cubicBezTo>
                  <a:lnTo>
                    <a:pt x="331184" y="0"/>
                  </a:lnTo>
                  <a:cubicBezTo>
                    <a:pt x="335090" y="0"/>
                    <a:pt x="338328" y="3239"/>
                    <a:pt x="338328" y="7144"/>
                  </a:cubicBezTo>
                  <a:lnTo>
                    <a:pt x="338328" y="428339"/>
                  </a:lnTo>
                  <a:cubicBezTo>
                    <a:pt x="338233" y="432245"/>
                    <a:pt x="335090" y="435483"/>
                    <a:pt x="331089" y="435483"/>
                  </a:cubicBezTo>
                  <a:close/>
                </a:path>
              </a:pathLst>
            </a:custGeom>
            <a:grpFill/>
            <a:ln w="9525" cap="flat">
              <a:noFill/>
              <a:prstDash val="solid"/>
              <a:miter/>
            </a:ln>
          </p:spPr>
          <p:txBody>
            <a:bodyPr rtlCol="0" anchor="ctr"/>
            <a:lstStyle/>
            <a:p>
              <a:endParaRPr lang="de-DE"/>
            </a:p>
          </p:txBody>
        </p:sp>
        <p:sp>
          <p:nvSpPr>
            <p:cNvPr id="181" name="Grafik 3852">
              <a:extLst>
                <a:ext uri="{FF2B5EF4-FFF2-40B4-BE49-F238E27FC236}">
                  <a16:creationId xmlns:a16="http://schemas.microsoft.com/office/drawing/2014/main" id="{CB3F54FC-6519-433E-EC39-F3BD90650E53}"/>
                </a:ext>
              </a:extLst>
            </p:cNvPr>
            <p:cNvSpPr/>
            <p:nvPr/>
          </p:nvSpPr>
          <p:spPr bwMode="gray">
            <a:xfrm>
              <a:off x="621622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82" name="Grafik 3852">
              <a:extLst>
                <a:ext uri="{FF2B5EF4-FFF2-40B4-BE49-F238E27FC236}">
                  <a16:creationId xmlns:a16="http://schemas.microsoft.com/office/drawing/2014/main" id="{39A6400A-C050-DF84-9C2D-659C9A92CA24}"/>
                </a:ext>
              </a:extLst>
            </p:cNvPr>
            <p:cNvSpPr/>
            <p:nvPr/>
          </p:nvSpPr>
          <p:spPr bwMode="gray">
            <a:xfrm>
              <a:off x="589218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rtlCol="0" anchor="ctr"/>
            <a:lstStyle/>
            <a:p>
              <a:endParaRPr lang="de-DE"/>
            </a:p>
          </p:txBody>
        </p:sp>
        <p:sp>
          <p:nvSpPr>
            <p:cNvPr id="183" name="Grafik 3852">
              <a:extLst>
                <a:ext uri="{FF2B5EF4-FFF2-40B4-BE49-F238E27FC236}">
                  <a16:creationId xmlns:a16="http://schemas.microsoft.com/office/drawing/2014/main" id="{53DA2E61-4E21-6CAD-7D90-D5F64DB23256}"/>
                </a:ext>
              </a:extLst>
            </p:cNvPr>
            <p:cNvSpPr/>
            <p:nvPr/>
          </p:nvSpPr>
          <p:spPr bwMode="gray">
            <a:xfrm>
              <a:off x="6216228"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184" name="Grafik 3852">
              <a:extLst>
                <a:ext uri="{FF2B5EF4-FFF2-40B4-BE49-F238E27FC236}">
                  <a16:creationId xmlns:a16="http://schemas.microsoft.com/office/drawing/2014/main" id="{5F456762-CE44-61B1-5348-5305D5480AD1}"/>
                </a:ext>
              </a:extLst>
            </p:cNvPr>
            <p:cNvGrpSpPr/>
            <p:nvPr/>
          </p:nvGrpSpPr>
          <p:grpSpPr bwMode="gray">
            <a:xfrm>
              <a:off x="5843587" y="3322414"/>
              <a:ext cx="500348" cy="208692"/>
              <a:chOff x="5843587" y="3322414"/>
              <a:chExt cx="500348" cy="208692"/>
            </a:xfrm>
            <a:grpFill/>
          </p:grpSpPr>
          <p:sp>
            <p:nvSpPr>
              <p:cNvPr id="185" name="Grafik 3852">
                <a:extLst>
                  <a:ext uri="{FF2B5EF4-FFF2-40B4-BE49-F238E27FC236}">
                    <a16:creationId xmlns:a16="http://schemas.microsoft.com/office/drawing/2014/main" id="{3D1B57B8-6B94-6B3B-CD68-8A6395FD129C}"/>
                  </a:ext>
                </a:extLst>
              </p:cNvPr>
              <p:cNvSpPr/>
              <p:nvPr/>
            </p:nvSpPr>
            <p:spPr bwMode="gray">
              <a:xfrm>
                <a:off x="5843587" y="3396733"/>
                <a:ext cx="171545" cy="134373"/>
              </a:xfrm>
              <a:custGeom>
                <a:avLst/>
                <a:gdLst>
                  <a:gd name="connsiteX0" fmla="*/ 55721 w 171545"/>
                  <a:gd name="connsiteY0" fmla="*/ 134374 h 134373"/>
                  <a:gd name="connsiteX1" fmla="*/ 0 w 171545"/>
                  <a:gd name="connsiteY1" fmla="*/ 78557 h 134373"/>
                  <a:gd name="connsiteX2" fmla="*/ 55721 w 171545"/>
                  <a:gd name="connsiteY2" fmla="*/ 22836 h 134373"/>
                  <a:gd name="connsiteX3" fmla="*/ 147161 w 171545"/>
                  <a:gd name="connsiteY3" fmla="*/ 22836 h 134373"/>
                  <a:gd name="connsiteX4" fmla="*/ 136493 w 171545"/>
                  <a:gd name="connsiteY4" fmla="*/ 12168 h 134373"/>
                  <a:gd name="connsiteX5" fmla="*/ 134398 w 171545"/>
                  <a:gd name="connsiteY5" fmla="*/ 7120 h 134373"/>
                  <a:gd name="connsiteX6" fmla="*/ 136493 w 171545"/>
                  <a:gd name="connsiteY6" fmla="*/ 2072 h 134373"/>
                  <a:gd name="connsiteX7" fmla="*/ 146590 w 171545"/>
                  <a:gd name="connsiteY7" fmla="*/ 2072 h 134373"/>
                  <a:gd name="connsiteX8" fmla="*/ 169545 w 171545"/>
                  <a:gd name="connsiteY8" fmla="*/ 25027 h 134373"/>
                  <a:gd name="connsiteX9" fmla="*/ 169545 w 171545"/>
                  <a:gd name="connsiteY9" fmla="*/ 25027 h 134373"/>
                  <a:gd name="connsiteX10" fmla="*/ 169545 w 171545"/>
                  <a:gd name="connsiteY10" fmla="*/ 25027 h 134373"/>
                  <a:gd name="connsiteX11" fmla="*/ 169545 w 171545"/>
                  <a:gd name="connsiteY11" fmla="*/ 25027 h 134373"/>
                  <a:gd name="connsiteX12" fmla="*/ 169545 w 171545"/>
                  <a:gd name="connsiteY12" fmla="*/ 25027 h 134373"/>
                  <a:gd name="connsiteX13" fmla="*/ 169545 w 171545"/>
                  <a:gd name="connsiteY13" fmla="*/ 25027 h 134373"/>
                  <a:gd name="connsiteX14" fmla="*/ 171545 w 171545"/>
                  <a:gd name="connsiteY14" fmla="*/ 29599 h 134373"/>
                  <a:gd name="connsiteX15" fmla="*/ 171545 w 171545"/>
                  <a:gd name="connsiteY15" fmla="*/ 29599 h 134373"/>
                  <a:gd name="connsiteX16" fmla="*/ 171545 w 171545"/>
                  <a:gd name="connsiteY16" fmla="*/ 29599 h 134373"/>
                  <a:gd name="connsiteX17" fmla="*/ 171545 w 171545"/>
                  <a:gd name="connsiteY17" fmla="*/ 30932 h 134373"/>
                  <a:gd name="connsiteX18" fmla="*/ 169831 w 171545"/>
                  <a:gd name="connsiteY18" fmla="*/ 34742 h 134373"/>
                  <a:gd name="connsiteX19" fmla="*/ 169450 w 171545"/>
                  <a:gd name="connsiteY19" fmla="*/ 35123 h 134373"/>
                  <a:gd name="connsiteX20" fmla="*/ 146590 w 171545"/>
                  <a:gd name="connsiteY20" fmla="*/ 57983 h 134373"/>
                  <a:gd name="connsiteX21" fmla="*/ 136493 w 171545"/>
                  <a:gd name="connsiteY21" fmla="*/ 57983 h 134373"/>
                  <a:gd name="connsiteX22" fmla="*/ 136493 w 171545"/>
                  <a:gd name="connsiteY22" fmla="*/ 47887 h 134373"/>
                  <a:gd name="connsiteX23" fmla="*/ 147161 w 171545"/>
                  <a:gd name="connsiteY23" fmla="*/ 37219 h 134373"/>
                  <a:gd name="connsiteX24" fmla="*/ 55721 w 171545"/>
                  <a:gd name="connsiteY24" fmla="*/ 37219 h 134373"/>
                  <a:gd name="connsiteX25" fmla="*/ 14288 w 171545"/>
                  <a:gd name="connsiteY25" fmla="*/ 78653 h 134373"/>
                  <a:gd name="connsiteX26" fmla="*/ 55721 w 171545"/>
                  <a:gd name="connsiteY26" fmla="*/ 120086 h 134373"/>
                  <a:gd name="connsiteX27" fmla="*/ 62865 w 171545"/>
                  <a:gd name="connsiteY27" fmla="*/ 127230 h 134373"/>
                  <a:gd name="connsiteX28" fmla="*/ 55721 w 171545"/>
                  <a:gd name="connsiteY28"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1545" h="134373">
                    <a:moveTo>
                      <a:pt x="55721" y="134374"/>
                    </a:moveTo>
                    <a:cubicBezTo>
                      <a:pt x="24955" y="134374"/>
                      <a:pt x="0" y="109323"/>
                      <a:pt x="0" y="78557"/>
                    </a:cubicBezTo>
                    <a:cubicBezTo>
                      <a:pt x="0" y="47792"/>
                      <a:pt x="24955" y="22836"/>
                      <a:pt x="55721" y="22836"/>
                    </a:cubicBezTo>
                    <a:lnTo>
                      <a:pt x="147161" y="22836"/>
                    </a:lnTo>
                    <a:lnTo>
                      <a:pt x="136493" y="12168"/>
                    </a:lnTo>
                    <a:cubicBezTo>
                      <a:pt x="135065" y="10739"/>
                      <a:pt x="134398" y="8930"/>
                      <a:pt x="134398" y="7120"/>
                    </a:cubicBezTo>
                    <a:cubicBezTo>
                      <a:pt x="134398" y="5310"/>
                      <a:pt x="135065" y="3500"/>
                      <a:pt x="136493" y="2072"/>
                    </a:cubicBezTo>
                    <a:cubicBezTo>
                      <a:pt x="139256" y="-691"/>
                      <a:pt x="143828" y="-691"/>
                      <a:pt x="146590" y="2072"/>
                    </a:cubicBezTo>
                    <a:lnTo>
                      <a:pt x="169545" y="25027"/>
                    </a:ln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70783" y="26265"/>
                      <a:pt x="171450" y="27884"/>
                      <a:pt x="171545" y="29599"/>
                    </a:cubicBezTo>
                    <a:lnTo>
                      <a:pt x="171545" y="29599"/>
                    </a:lnTo>
                    <a:cubicBezTo>
                      <a:pt x="171545" y="29599"/>
                      <a:pt x="171545" y="29599"/>
                      <a:pt x="171545" y="29599"/>
                    </a:cubicBezTo>
                    <a:cubicBezTo>
                      <a:pt x="171545" y="30075"/>
                      <a:pt x="171545" y="30456"/>
                      <a:pt x="171545" y="30932"/>
                    </a:cubicBezTo>
                    <a:cubicBezTo>
                      <a:pt x="171355" y="32266"/>
                      <a:pt x="170783" y="33599"/>
                      <a:pt x="169831" y="34742"/>
                    </a:cubicBezTo>
                    <a:cubicBezTo>
                      <a:pt x="169736" y="34933"/>
                      <a:pt x="169545" y="35028"/>
                      <a:pt x="169450" y="35123"/>
                    </a:cubicBezTo>
                    <a:lnTo>
                      <a:pt x="146590" y="57983"/>
                    </a:lnTo>
                    <a:cubicBezTo>
                      <a:pt x="143828" y="60746"/>
                      <a:pt x="139256" y="60746"/>
                      <a:pt x="136493" y="57983"/>
                    </a:cubicBezTo>
                    <a:cubicBezTo>
                      <a:pt x="133731" y="55221"/>
                      <a:pt x="133731" y="50649"/>
                      <a:pt x="136493" y="47887"/>
                    </a:cubicBezTo>
                    <a:lnTo>
                      <a:pt x="147161" y="37219"/>
                    </a:lnTo>
                    <a:lnTo>
                      <a:pt x="55721" y="37219"/>
                    </a:lnTo>
                    <a:cubicBezTo>
                      <a:pt x="32861" y="37219"/>
                      <a:pt x="14288" y="55793"/>
                      <a:pt x="14288" y="78653"/>
                    </a:cubicBezTo>
                    <a:cubicBezTo>
                      <a:pt x="14288" y="101513"/>
                      <a:pt x="32861" y="120086"/>
                      <a:pt x="55721" y="120086"/>
                    </a:cubicBezTo>
                    <a:cubicBezTo>
                      <a:pt x="59627" y="120086"/>
                      <a:pt x="62865" y="123325"/>
                      <a:pt x="62865" y="127230"/>
                    </a:cubicBezTo>
                    <a:cubicBezTo>
                      <a:pt x="62865" y="131135"/>
                      <a:pt x="59722" y="134374"/>
                      <a:pt x="55721" y="134374"/>
                    </a:cubicBezTo>
                    <a:close/>
                  </a:path>
                </a:pathLst>
              </a:custGeom>
              <a:grpFill/>
              <a:ln w="9525" cap="flat">
                <a:noFill/>
                <a:prstDash val="solid"/>
                <a:miter/>
              </a:ln>
            </p:spPr>
            <p:txBody>
              <a:bodyPr rtlCol="0" anchor="ctr"/>
              <a:lstStyle/>
              <a:p>
                <a:endParaRPr lang="de-DE"/>
              </a:p>
            </p:txBody>
          </p:sp>
          <p:sp>
            <p:nvSpPr>
              <p:cNvPr id="186" name="Grafik 3852">
                <a:extLst>
                  <a:ext uri="{FF2B5EF4-FFF2-40B4-BE49-F238E27FC236}">
                    <a16:creationId xmlns:a16="http://schemas.microsoft.com/office/drawing/2014/main" id="{62390282-94F3-C01C-987A-36E931433C18}"/>
                  </a:ext>
                </a:extLst>
              </p:cNvPr>
              <p:cNvSpPr/>
              <p:nvPr/>
            </p:nvSpPr>
            <p:spPr bwMode="gray">
              <a:xfrm>
                <a:off x="6102857" y="3322509"/>
                <a:ext cx="241077" cy="134302"/>
              </a:xfrm>
              <a:custGeom>
                <a:avLst/>
                <a:gdLst>
                  <a:gd name="connsiteX0" fmla="*/ 30004 w 241077"/>
                  <a:gd name="connsiteY0" fmla="*/ 134303 h 134302"/>
                  <a:gd name="connsiteX1" fmla="*/ 24956 w 241077"/>
                  <a:gd name="connsiteY1" fmla="*/ 132207 h 134302"/>
                  <a:gd name="connsiteX2" fmla="*/ 2000 w 241077"/>
                  <a:gd name="connsiteY2" fmla="*/ 109252 h 134302"/>
                  <a:gd name="connsiteX3" fmla="*/ 2000 w 241077"/>
                  <a:gd name="connsiteY3" fmla="*/ 109252 h 134302"/>
                  <a:gd name="connsiteX4" fmla="*/ 2000 w 241077"/>
                  <a:gd name="connsiteY4" fmla="*/ 109252 h 134302"/>
                  <a:gd name="connsiteX5" fmla="*/ 2000 w 241077"/>
                  <a:gd name="connsiteY5" fmla="*/ 109252 h 134302"/>
                  <a:gd name="connsiteX6" fmla="*/ 2000 w 241077"/>
                  <a:gd name="connsiteY6" fmla="*/ 109252 h 134302"/>
                  <a:gd name="connsiteX7" fmla="*/ 2000 w 241077"/>
                  <a:gd name="connsiteY7" fmla="*/ 109252 h 134302"/>
                  <a:gd name="connsiteX8" fmla="*/ 2000 w 241077"/>
                  <a:gd name="connsiteY8" fmla="*/ 109252 h 134302"/>
                  <a:gd name="connsiteX9" fmla="*/ 0 w 241077"/>
                  <a:gd name="connsiteY9" fmla="*/ 104870 h 134302"/>
                  <a:gd name="connsiteX10" fmla="*/ 0 w 241077"/>
                  <a:gd name="connsiteY10" fmla="*/ 103346 h 134302"/>
                  <a:gd name="connsiteX11" fmla="*/ 1715 w 241077"/>
                  <a:gd name="connsiteY11" fmla="*/ 99632 h 134302"/>
                  <a:gd name="connsiteX12" fmla="*/ 1715 w 241077"/>
                  <a:gd name="connsiteY12" fmla="*/ 99632 h 134302"/>
                  <a:gd name="connsiteX13" fmla="*/ 1715 w 241077"/>
                  <a:gd name="connsiteY13" fmla="*/ 99632 h 134302"/>
                  <a:gd name="connsiteX14" fmla="*/ 2096 w 241077"/>
                  <a:gd name="connsiteY14" fmla="*/ 99251 h 134302"/>
                  <a:gd name="connsiteX15" fmla="*/ 24956 w 241077"/>
                  <a:gd name="connsiteY15" fmla="*/ 76391 h 134302"/>
                  <a:gd name="connsiteX16" fmla="*/ 35052 w 241077"/>
                  <a:gd name="connsiteY16" fmla="*/ 76391 h 134302"/>
                  <a:gd name="connsiteX17" fmla="*/ 35052 w 241077"/>
                  <a:gd name="connsiteY17" fmla="*/ 86487 h 134302"/>
                  <a:gd name="connsiteX18" fmla="*/ 24384 w 241077"/>
                  <a:gd name="connsiteY18" fmla="*/ 97155 h 134302"/>
                  <a:gd name="connsiteX19" fmla="*/ 185357 w 241077"/>
                  <a:gd name="connsiteY19" fmla="*/ 97155 h 134302"/>
                  <a:gd name="connsiteX20" fmla="*/ 226790 w 241077"/>
                  <a:gd name="connsiteY20" fmla="*/ 55721 h 134302"/>
                  <a:gd name="connsiteX21" fmla="*/ 185357 w 241077"/>
                  <a:gd name="connsiteY21" fmla="*/ 14288 h 134302"/>
                  <a:gd name="connsiteX22" fmla="*/ 178213 w 241077"/>
                  <a:gd name="connsiteY22" fmla="*/ 7144 h 134302"/>
                  <a:gd name="connsiteX23" fmla="*/ 185357 w 241077"/>
                  <a:gd name="connsiteY23" fmla="*/ 0 h 134302"/>
                  <a:gd name="connsiteX24" fmla="*/ 241078 w 241077"/>
                  <a:gd name="connsiteY24" fmla="*/ 55721 h 134302"/>
                  <a:gd name="connsiteX25" fmla="*/ 185357 w 241077"/>
                  <a:gd name="connsiteY25" fmla="*/ 111443 h 134302"/>
                  <a:gd name="connsiteX26" fmla="*/ 24384 w 241077"/>
                  <a:gd name="connsiteY26" fmla="*/ 111443 h 134302"/>
                  <a:gd name="connsiteX27" fmla="*/ 35052 w 241077"/>
                  <a:gd name="connsiteY27" fmla="*/ 122111 h 134302"/>
                  <a:gd name="connsiteX28" fmla="*/ 37148 w 241077"/>
                  <a:gd name="connsiteY28" fmla="*/ 127159 h 134302"/>
                  <a:gd name="connsiteX29" fmla="*/ 35052 w 241077"/>
                  <a:gd name="connsiteY29" fmla="*/ 132207 h 134302"/>
                  <a:gd name="connsiteX30" fmla="*/ 30004 w 241077"/>
                  <a:gd name="connsiteY30"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1077" h="134302">
                    <a:moveTo>
                      <a:pt x="30004" y="134303"/>
                    </a:moveTo>
                    <a:cubicBezTo>
                      <a:pt x="28194" y="134303"/>
                      <a:pt x="26384" y="133636"/>
                      <a:pt x="24956"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347"/>
                      <a:pt x="2000" y="109252"/>
                    </a:cubicBezTo>
                    <a:cubicBezTo>
                      <a:pt x="2000" y="109252"/>
                      <a:pt x="2000" y="109252"/>
                      <a:pt x="2000" y="109252"/>
                    </a:cubicBezTo>
                    <a:cubicBezTo>
                      <a:pt x="762" y="108014"/>
                      <a:pt x="95" y="106490"/>
                      <a:pt x="0" y="104870"/>
                    </a:cubicBezTo>
                    <a:cubicBezTo>
                      <a:pt x="0" y="104394"/>
                      <a:pt x="0" y="103823"/>
                      <a:pt x="0" y="103346"/>
                    </a:cubicBezTo>
                    <a:cubicBezTo>
                      <a:pt x="191" y="102013"/>
                      <a:pt x="762" y="100679"/>
                      <a:pt x="1715" y="99632"/>
                    </a:cubicBezTo>
                    <a:cubicBezTo>
                      <a:pt x="1715" y="99632"/>
                      <a:pt x="1715" y="99632"/>
                      <a:pt x="1715" y="99632"/>
                    </a:cubicBezTo>
                    <a:lnTo>
                      <a:pt x="1715" y="99632"/>
                    </a:lnTo>
                    <a:cubicBezTo>
                      <a:pt x="1810" y="99536"/>
                      <a:pt x="1905" y="99346"/>
                      <a:pt x="2096" y="99251"/>
                    </a:cubicBezTo>
                    <a:lnTo>
                      <a:pt x="24956" y="76391"/>
                    </a:lnTo>
                    <a:cubicBezTo>
                      <a:pt x="27718" y="73628"/>
                      <a:pt x="32290" y="73628"/>
                      <a:pt x="35052" y="76391"/>
                    </a:cubicBezTo>
                    <a:cubicBezTo>
                      <a:pt x="37814" y="79153"/>
                      <a:pt x="37814" y="83725"/>
                      <a:pt x="35052" y="86487"/>
                    </a:cubicBezTo>
                    <a:lnTo>
                      <a:pt x="24384" y="97155"/>
                    </a:lnTo>
                    <a:lnTo>
                      <a:pt x="185357" y="97155"/>
                    </a:lnTo>
                    <a:cubicBezTo>
                      <a:pt x="208217" y="97155"/>
                      <a:pt x="226790" y="78581"/>
                      <a:pt x="226790" y="55721"/>
                    </a:cubicBezTo>
                    <a:cubicBezTo>
                      <a:pt x="226790" y="32861"/>
                      <a:pt x="208217" y="14288"/>
                      <a:pt x="185357" y="14288"/>
                    </a:cubicBezTo>
                    <a:cubicBezTo>
                      <a:pt x="181451" y="14288"/>
                      <a:pt x="178213" y="11049"/>
                      <a:pt x="178213" y="7144"/>
                    </a:cubicBezTo>
                    <a:cubicBezTo>
                      <a:pt x="178213" y="3239"/>
                      <a:pt x="181451" y="0"/>
                      <a:pt x="185357" y="0"/>
                    </a:cubicBezTo>
                    <a:cubicBezTo>
                      <a:pt x="216122" y="0"/>
                      <a:pt x="241078" y="24956"/>
                      <a:pt x="241078" y="55721"/>
                    </a:cubicBezTo>
                    <a:cubicBezTo>
                      <a:pt x="241078" y="86487"/>
                      <a:pt x="216122" y="111443"/>
                      <a:pt x="185357" y="111443"/>
                    </a:cubicBezTo>
                    <a:lnTo>
                      <a:pt x="24384" y="111443"/>
                    </a:lnTo>
                    <a:lnTo>
                      <a:pt x="35052" y="122111"/>
                    </a:lnTo>
                    <a:cubicBezTo>
                      <a:pt x="36481" y="123539"/>
                      <a:pt x="37148" y="125349"/>
                      <a:pt x="37148" y="127159"/>
                    </a:cubicBezTo>
                    <a:cubicBezTo>
                      <a:pt x="37148" y="128969"/>
                      <a:pt x="36481" y="130778"/>
                      <a:pt x="35052" y="132207"/>
                    </a:cubicBezTo>
                    <a:cubicBezTo>
                      <a:pt x="33623" y="133636"/>
                      <a:pt x="31814" y="134303"/>
                      <a:pt x="30004" y="134303"/>
                    </a:cubicBezTo>
                    <a:close/>
                  </a:path>
                </a:pathLst>
              </a:custGeom>
              <a:grpFill/>
              <a:ln w="9525" cap="flat">
                <a:noFill/>
                <a:prstDash val="solid"/>
                <a:miter/>
              </a:ln>
            </p:spPr>
            <p:txBody>
              <a:bodyPr rtlCol="0" anchor="ctr"/>
              <a:lstStyle/>
              <a:p>
                <a:endParaRPr lang="de-DE"/>
              </a:p>
            </p:txBody>
          </p:sp>
          <p:sp>
            <p:nvSpPr>
              <p:cNvPr id="187" name="Grafik 3852">
                <a:extLst>
                  <a:ext uri="{FF2B5EF4-FFF2-40B4-BE49-F238E27FC236}">
                    <a16:creationId xmlns:a16="http://schemas.microsoft.com/office/drawing/2014/main" id="{3332BE28-81DD-A08D-C498-76A33B3C80A7}"/>
                  </a:ext>
                </a:extLst>
              </p:cNvPr>
              <p:cNvSpPr/>
              <p:nvPr/>
            </p:nvSpPr>
            <p:spPr bwMode="gray">
              <a:xfrm>
                <a:off x="5843587"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rtlCol="0" anchor="ctr"/>
              <a:lstStyle/>
              <a:p>
                <a:endParaRPr lang="de-DE"/>
              </a:p>
            </p:txBody>
          </p:sp>
          <p:sp>
            <p:nvSpPr>
              <p:cNvPr id="188" name="Grafik 3852">
                <a:extLst>
                  <a:ext uri="{FF2B5EF4-FFF2-40B4-BE49-F238E27FC236}">
                    <a16:creationId xmlns:a16="http://schemas.microsoft.com/office/drawing/2014/main" id="{6C752811-73B5-E651-82BB-646BF2E97A1F}"/>
                  </a:ext>
                </a:extLst>
              </p:cNvPr>
              <p:cNvSpPr/>
              <p:nvPr/>
            </p:nvSpPr>
            <p:spPr bwMode="gray">
              <a:xfrm>
                <a:off x="6280974" y="3516820"/>
                <a:ext cx="62865" cy="14287"/>
              </a:xfrm>
              <a:custGeom>
                <a:avLst/>
                <a:gdLst>
                  <a:gd name="connsiteX0" fmla="*/ 55721 w 62865"/>
                  <a:gd name="connsiteY0" fmla="*/ 14288 h 14287"/>
                  <a:gd name="connsiteX1" fmla="*/ 7144 w 62865"/>
                  <a:gd name="connsiteY1" fmla="*/ 14288 h 14287"/>
                  <a:gd name="connsiteX2" fmla="*/ 0 w 62865"/>
                  <a:gd name="connsiteY2" fmla="*/ 7144 h 14287"/>
                  <a:gd name="connsiteX3" fmla="*/ 7144 w 62865"/>
                  <a:gd name="connsiteY3" fmla="*/ 0 h 14287"/>
                  <a:gd name="connsiteX4" fmla="*/ 55721 w 62865"/>
                  <a:gd name="connsiteY4" fmla="*/ 0 h 14287"/>
                  <a:gd name="connsiteX5" fmla="*/ 62865 w 62865"/>
                  <a:gd name="connsiteY5" fmla="*/ 7144 h 14287"/>
                  <a:gd name="connsiteX6" fmla="*/ 55721 w 628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 h="14287">
                    <a:moveTo>
                      <a:pt x="55721" y="14288"/>
                    </a:moveTo>
                    <a:lnTo>
                      <a:pt x="7144" y="14288"/>
                    </a:lnTo>
                    <a:cubicBezTo>
                      <a:pt x="3239" y="14288"/>
                      <a:pt x="0" y="11049"/>
                      <a:pt x="0" y="7144"/>
                    </a:cubicBezTo>
                    <a:cubicBezTo>
                      <a:pt x="0" y="3239"/>
                      <a:pt x="3239" y="0"/>
                      <a:pt x="7144" y="0"/>
                    </a:cubicBezTo>
                    <a:lnTo>
                      <a:pt x="55721" y="0"/>
                    </a:lnTo>
                    <a:cubicBezTo>
                      <a:pt x="59627" y="0"/>
                      <a:pt x="62865" y="3239"/>
                      <a:pt x="62865" y="7144"/>
                    </a:cubicBezTo>
                    <a:cubicBezTo>
                      <a:pt x="62865" y="11049"/>
                      <a:pt x="59722" y="14288"/>
                      <a:pt x="55721" y="14288"/>
                    </a:cubicBezTo>
                    <a:close/>
                  </a:path>
                </a:pathLst>
              </a:custGeom>
              <a:grpFill/>
              <a:ln w="9525" cap="flat">
                <a:noFill/>
                <a:prstDash val="solid"/>
                <a:miter/>
              </a:ln>
            </p:spPr>
            <p:txBody>
              <a:bodyPr rtlCol="0" anchor="ctr"/>
              <a:lstStyle/>
              <a:p>
                <a:endParaRPr lang="de-DE"/>
              </a:p>
            </p:txBody>
          </p:sp>
        </p:grpSp>
      </p:grpSp>
      <p:sp>
        <p:nvSpPr>
          <p:cNvPr id="189" name="Text Box 60">
            <a:extLst>
              <a:ext uri="{FF2B5EF4-FFF2-40B4-BE49-F238E27FC236}">
                <a16:creationId xmlns:a16="http://schemas.microsoft.com/office/drawing/2014/main" id="{443C1989-ADD9-0491-DAE9-FC70B00E030A}"/>
              </a:ext>
            </a:extLst>
          </p:cNvPr>
          <p:cNvSpPr txBox="1">
            <a:spLocks noChangeArrowheads="1"/>
          </p:cNvSpPr>
          <p:nvPr/>
        </p:nvSpPr>
        <p:spPr bwMode="auto">
          <a:xfrm>
            <a:off x="3308325" y="40973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SC</a:t>
            </a:r>
          </a:p>
        </p:txBody>
      </p:sp>
      <p:sp>
        <p:nvSpPr>
          <p:cNvPr id="190" name="Text Box 61">
            <a:extLst>
              <a:ext uri="{FF2B5EF4-FFF2-40B4-BE49-F238E27FC236}">
                <a16:creationId xmlns:a16="http://schemas.microsoft.com/office/drawing/2014/main" id="{E077E680-86FF-F70B-333E-4CEEA9836C7D}"/>
              </a:ext>
            </a:extLst>
          </p:cNvPr>
          <p:cNvSpPr txBox="1">
            <a:spLocks noChangeArrowheads="1"/>
          </p:cNvSpPr>
          <p:nvPr/>
        </p:nvSpPr>
        <p:spPr bwMode="auto">
          <a:xfrm>
            <a:off x="3308325" y="4643438"/>
            <a:ext cx="33182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NC</a:t>
            </a:r>
          </a:p>
        </p:txBody>
      </p:sp>
      <p:sp>
        <p:nvSpPr>
          <p:cNvPr id="191" name="Text Box 62">
            <a:extLst>
              <a:ext uri="{FF2B5EF4-FFF2-40B4-BE49-F238E27FC236}">
                <a16:creationId xmlns:a16="http://schemas.microsoft.com/office/drawing/2014/main" id="{7BE14962-2D5F-2E6A-7A75-4DA179090491}"/>
              </a:ext>
            </a:extLst>
          </p:cNvPr>
          <p:cNvSpPr txBox="1">
            <a:spLocks noChangeArrowheads="1"/>
          </p:cNvSpPr>
          <p:nvPr/>
        </p:nvSpPr>
        <p:spPr bwMode="auto">
          <a:xfrm>
            <a:off x="3308325" y="5189538"/>
            <a:ext cx="7421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4G Control</a:t>
            </a:r>
          </a:p>
        </p:txBody>
      </p:sp>
      <p:grpSp>
        <p:nvGrpSpPr>
          <p:cNvPr id="192" name="Grafik 15">
            <a:extLst>
              <a:ext uri="{FF2B5EF4-FFF2-40B4-BE49-F238E27FC236}">
                <a16:creationId xmlns:a16="http://schemas.microsoft.com/office/drawing/2014/main" id="{83C2FE2B-2C9D-DF5F-FB70-BED2D5CB2A5D}"/>
              </a:ext>
            </a:extLst>
          </p:cNvPr>
          <p:cNvGrpSpPr>
            <a:grpSpLocks noChangeAspect="1"/>
          </p:cNvGrpSpPr>
          <p:nvPr/>
        </p:nvGrpSpPr>
        <p:grpSpPr bwMode="gray">
          <a:xfrm>
            <a:off x="2724270" y="1327754"/>
            <a:ext cx="374400" cy="374400"/>
            <a:chOff x="5843587" y="3176587"/>
            <a:chExt cx="500253" cy="500253"/>
          </a:xfrm>
          <a:solidFill>
            <a:schemeClr val="tx1"/>
          </a:solidFill>
        </p:grpSpPr>
        <p:grpSp>
          <p:nvGrpSpPr>
            <p:cNvPr id="193" name="Grafik 15">
              <a:extLst>
                <a:ext uri="{FF2B5EF4-FFF2-40B4-BE49-F238E27FC236}">
                  <a16:creationId xmlns:a16="http://schemas.microsoft.com/office/drawing/2014/main" id="{1DD6F1F7-BB9C-FADA-0B7C-DA2D3F1DB61A}"/>
                </a:ext>
              </a:extLst>
            </p:cNvPr>
            <p:cNvGrpSpPr/>
            <p:nvPr/>
          </p:nvGrpSpPr>
          <p:grpSpPr bwMode="gray">
            <a:xfrm>
              <a:off x="5937574" y="3306150"/>
              <a:ext cx="247507" cy="305919"/>
              <a:chOff x="5937574" y="3306150"/>
              <a:chExt cx="247507" cy="305919"/>
            </a:xfrm>
            <a:grpFill/>
          </p:grpSpPr>
          <p:grpSp>
            <p:nvGrpSpPr>
              <p:cNvPr id="199" name="Grafik 15">
                <a:extLst>
                  <a:ext uri="{FF2B5EF4-FFF2-40B4-BE49-F238E27FC236}">
                    <a16:creationId xmlns:a16="http://schemas.microsoft.com/office/drawing/2014/main" id="{BA1A12EA-18CD-9EED-0DD5-AD2981DD4858}"/>
                  </a:ext>
                </a:extLst>
              </p:cNvPr>
              <p:cNvGrpSpPr/>
              <p:nvPr/>
            </p:nvGrpSpPr>
            <p:grpSpPr bwMode="gray">
              <a:xfrm>
                <a:off x="5979627" y="3417855"/>
                <a:ext cx="163401" cy="194214"/>
                <a:chOff x="5979627" y="3417855"/>
                <a:chExt cx="163401" cy="194214"/>
              </a:xfrm>
              <a:grpFill/>
            </p:grpSpPr>
            <p:sp>
              <p:nvSpPr>
                <p:cNvPr id="206" name="Grafik 15">
                  <a:extLst>
                    <a:ext uri="{FF2B5EF4-FFF2-40B4-BE49-F238E27FC236}">
                      <a16:creationId xmlns:a16="http://schemas.microsoft.com/office/drawing/2014/main" id="{7675406B-939C-EA72-2D7A-4F4751BF75A0}"/>
                    </a:ext>
                  </a:extLst>
                </p:cNvPr>
                <p:cNvSpPr/>
                <p:nvPr/>
              </p:nvSpPr>
              <p:spPr bwMode="gray">
                <a:xfrm>
                  <a:off x="6054184" y="3417855"/>
                  <a:ext cx="88844" cy="194214"/>
                </a:xfrm>
                <a:custGeom>
                  <a:avLst/>
                  <a:gdLst>
                    <a:gd name="connsiteX0" fmla="*/ 81725 w 88844"/>
                    <a:gd name="connsiteY0" fmla="*/ 194215 h 194214"/>
                    <a:gd name="connsiteX1" fmla="*/ 76676 w 88844"/>
                    <a:gd name="connsiteY1" fmla="*/ 192119 h 194214"/>
                    <a:gd name="connsiteX2" fmla="*/ 0 w 88844"/>
                    <a:gd name="connsiteY2" fmla="*/ 7144 h 194214"/>
                    <a:gd name="connsiteX3" fmla="*/ 7144 w 88844"/>
                    <a:gd name="connsiteY3" fmla="*/ 0 h 194214"/>
                    <a:gd name="connsiteX4" fmla="*/ 14288 w 88844"/>
                    <a:gd name="connsiteY4" fmla="*/ 7144 h 194214"/>
                    <a:gd name="connsiteX5" fmla="*/ 86773 w 88844"/>
                    <a:gd name="connsiteY5" fmla="*/ 182023 h 194214"/>
                    <a:gd name="connsiteX6" fmla="*/ 86773 w 88844"/>
                    <a:gd name="connsiteY6" fmla="*/ 192119 h 194214"/>
                    <a:gd name="connsiteX7" fmla="*/ 81725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81725" y="194215"/>
                      </a:moveTo>
                      <a:cubicBezTo>
                        <a:pt x="79915" y="194215"/>
                        <a:pt x="78105" y="193548"/>
                        <a:pt x="76676" y="192119"/>
                      </a:cubicBezTo>
                      <a:cubicBezTo>
                        <a:pt x="27241" y="142685"/>
                        <a:pt x="0" y="76962"/>
                        <a:pt x="0" y="7144"/>
                      </a:cubicBezTo>
                      <a:cubicBezTo>
                        <a:pt x="0" y="3239"/>
                        <a:pt x="3239" y="0"/>
                        <a:pt x="7144" y="0"/>
                      </a:cubicBezTo>
                      <a:cubicBezTo>
                        <a:pt x="11049" y="0"/>
                        <a:pt x="14288" y="3239"/>
                        <a:pt x="14288" y="7144"/>
                      </a:cubicBezTo>
                      <a:cubicBezTo>
                        <a:pt x="14288" y="73247"/>
                        <a:pt x="40005" y="135350"/>
                        <a:pt x="86773" y="182023"/>
                      </a:cubicBezTo>
                      <a:cubicBezTo>
                        <a:pt x="89535" y="184785"/>
                        <a:pt x="89535" y="189357"/>
                        <a:pt x="86773" y="192119"/>
                      </a:cubicBezTo>
                      <a:cubicBezTo>
                        <a:pt x="85344" y="193548"/>
                        <a:pt x="83534" y="194215"/>
                        <a:pt x="81725" y="194215"/>
                      </a:cubicBezTo>
                      <a:close/>
                    </a:path>
                  </a:pathLst>
                </a:custGeom>
                <a:grpFill/>
                <a:ln w="9525" cap="flat">
                  <a:noFill/>
                  <a:prstDash val="solid"/>
                  <a:miter/>
                </a:ln>
              </p:spPr>
              <p:txBody>
                <a:bodyPr lIns="0" tIns="0" rIns="0" bIns="0" rtlCol="0" anchor="ctr"/>
                <a:lstStyle/>
                <a:p>
                  <a:endParaRPr lang="en-US"/>
                </a:p>
              </p:txBody>
            </p:sp>
            <p:sp>
              <p:nvSpPr>
                <p:cNvPr id="207" name="Grafik 15">
                  <a:extLst>
                    <a:ext uri="{FF2B5EF4-FFF2-40B4-BE49-F238E27FC236}">
                      <a16:creationId xmlns:a16="http://schemas.microsoft.com/office/drawing/2014/main" id="{7608A9A6-FCA7-74A3-0AB1-7AFC4A321AE4}"/>
                    </a:ext>
                  </a:extLst>
                </p:cNvPr>
                <p:cNvSpPr/>
                <p:nvPr/>
              </p:nvSpPr>
              <p:spPr bwMode="gray">
                <a:xfrm>
                  <a:off x="5979627" y="3417855"/>
                  <a:ext cx="88844" cy="194214"/>
                </a:xfrm>
                <a:custGeom>
                  <a:avLst/>
                  <a:gdLst>
                    <a:gd name="connsiteX0" fmla="*/ 7120 w 88844"/>
                    <a:gd name="connsiteY0" fmla="*/ 194215 h 194214"/>
                    <a:gd name="connsiteX1" fmla="*/ 2072 w 88844"/>
                    <a:gd name="connsiteY1" fmla="*/ 192119 h 194214"/>
                    <a:gd name="connsiteX2" fmla="*/ 2072 w 88844"/>
                    <a:gd name="connsiteY2" fmla="*/ 182023 h 194214"/>
                    <a:gd name="connsiteX3" fmla="*/ 74557 w 88844"/>
                    <a:gd name="connsiteY3" fmla="*/ 7144 h 194214"/>
                    <a:gd name="connsiteX4" fmla="*/ 81701 w 88844"/>
                    <a:gd name="connsiteY4" fmla="*/ 0 h 194214"/>
                    <a:gd name="connsiteX5" fmla="*/ 88844 w 88844"/>
                    <a:gd name="connsiteY5" fmla="*/ 7144 h 194214"/>
                    <a:gd name="connsiteX6" fmla="*/ 12168 w 88844"/>
                    <a:gd name="connsiteY6" fmla="*/ 192119 h 194214"/>
                    <a:gd name="connsiteX7" fmla="*/ 7120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7120" y="194215"/>
                      </a:moveTo>
                      <a:cubicBezTo>
                        <a:pt x="5310" y="194215"/>
                        <a:pt x="3500" y="193548"/>
                        <a:pt x="2072" y="192119"/>
                      </a:cubicBezTo>
                      <a:cubicBezTo>
                        <a:pt x="-691" y="189357"/>
                        <a:pt x="-691" y="184785"/>
                        <a:pt x="2072" y="182023"/>
                      </a:cubicBezTo>
                      <a:cubicBezTo>
                        <a:pt x="48839" y="135350"/>
                        <a:pt x="74557" y="73152"/>
                        <a:pt x="74557" y="7144"/>
                      </a:cubicBezTo>
                      <a:cubicBezTo>
                        <a:pt x="74557" y="3239"/>
                        <a:pt x="77795" y="0"/>
                        <a:pt x="81701" y="0"/>
                      </a:cubicBezTo>
                      <a:cubicBezTo>
                        <a:pt x="85606" y="0"/>
                        <a:pt x="88844" y="3239"/>
                        <a:pt x="88844" y="7144"/>
                      </a:cubicBezTo>
                      <a:cubicBezTo>
                        <a:pt x="88844" y="77057"/>
                        <a:pt x="61603" y="142780"/>
                        <a:pt x="12168" y="192119"/>
                      </a:cubicBezTo>
                      <a:cubicBezTo>
                        <a:pt x="10835" y="193548"/>
                        <a:pt x="9025" y="194215"/>
                        <a:pt x="7120" y="194215"/>
                      </a:cubicBezTo>
                      <a:close/>
                    </a:path>
                  </a:pathLst>
                </a:custGeom>
                <a:grpFill/>
                <a:ln w="9525" cap="flat">
                  <a:noFill/>
                  <a:prstDash val="solid"/>
                  <a:miter/>
                </a:ln>
              </p:spPr>
              <p:txBody>
                <a:bodyPr lIns="0" tIns="0" rIns="0" bIns="0" rtlCol="0" anchor="ctr"/>
                <a:lstStyle/>
                <a:p>
                  <a:endParaRPr lang="en-US"/>
                </a:p>
              </p:txBody>
            </p:sp>
            <p:sp>
              <p:nvSpPr>
                <p:cNvPr id="208" name="Grafik 15">
                  <a:extLst>
                    <a:ext uri="{FF2B5EF4-FFF2-40B4-BE49-F238E27FC236}">
                      <a16:creationId xmlns:a16="http://schemas.microsoft.com/office/drawing/2014/main" id="{BED133B1-E618-B950-9336-829545BFF732}"/>
                    </a:ext>
                  </a:extLst>
                </p:cNvPr>
                <p:cNvSpPr/>
                <p:nvPr/>
              </p:nvSpPr>
              <p:spPr bwMode="gray">
                <a:xfrm>
                  <a:off x="5979627" y="3566945"/>
                  <a:ext cx="163306" cy="45124"/>
                </a:xfrm>
                <a:custGeom>
                  <a:avLst/>
                  <a:gdLst>
                    <a:gd name="connsiteX0" fmla="*/ 7120 w 163306"/>
                    <a:gd name="connsiteY0" fmla="*/ 45125 h 45124"/>
                    <a:gd name="connsiteX1" fmla="*/ 2072 w 163306"/>
                    <a:gd name="connsiteY1" fmla="*/ 43029 h 45124"/>
                    <a:gd name="connsiteX2" fmla="*/ 2072 w 163306"/>
                    <a:gd name="connsiteY2" fmla="*/ 32933 h 45124"/>
                    <a:gd name="connsiteX3" fmla="*/ 161234 w 163306"/>
                    <a:gd name="connsiteY3" fmla="*/ 32933 h 45124"/>
                    <a:gd name="connsiteX4" fmla="*/ 161234 w 163306"/>
                    <a:gd name="connsiteY4" fmla="*/ 43029 h 45124"/>
                    <a:gd name="connsiteX5" fmla="*/ 151138 w 163306"/>
                    <a:gd name="connsiteY5" fmla="*/ 43029 h 45124"/>
                    <a:gd name="connsiteX6" fmla="*/ 12168 w 163306"/>
                    <a:gd name="connsiteY6" fmla="*/ 43029 h 45124"/>
                    <a:gd name="connsiteX7" fmla="*/ 7120 w 163306"/>
                    <a:gd name="connsiteY7" fmla="*/ 45125 h 4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06" h="45124">
                      <a:moveTo>
                        <a:pt x="7120" y="45125"/>
                      </a:moveTo>
                      <a:cubicBezTo>
                        <a:pt x="5310" y="45125"/>
                        <a:pt x="3500" y="44458"/>
                        <a:pt x="2072" y="43029"/>
                      </a:cubicBezTo>
                      <a:cubicBezTo>
                        <a:pt x="-691" y="40267"/>
                        <a:pt x="-691" y="35695"/>
                        <a:pt x="2072" y="32933"/>
                      </a:cubicBezTo>
                      <a:cubicBezTo>
                        <a:pt x="45982" y="-10978"/>
                        <a:pt x="117324" y="-10978"/>
                        <a:pt x="161234" y="32933"/>
                      </a:cubicBezTo>
                      <a:cubicBezTo>
                        <a:pt x="163997" y="35695"/>
                        <a:pt x="163997" y="40267"/>
                        <a:pt x="161234" y="43029"/>
                      </a:cubicBezTo>
                      <a:cubicBezTo>
                        <a:pt x="158472" y="45791"/>
                        <a:pt x="153900" y="45791"/>
                        <a:pt x="151138" y="43029"/>
                      </a:cubicBezTo>
                      <a:cubicBezTo>
                        <a:pt x="112847" y="4739"/>
                        <a:pt x="50459" y="4739"/>
                        <a:pt x="12168" y="43029"/>
                      </a:cubicBezTo>
                      <a:cubicBezTo>
                        <a:pt x="10835" y="44458"/>
                        <a:pt x="9025" y="45125"/>
                        <a:pt x="7120" y="45125"/>
                      </a:cubicBezTo>
                      <a:close/>
                    </a:path>
                  </a:pathLst>
                </a:custGeom>
                <a:grpFill/>
                <a:ln w="9525" cap="flat">
                  <a:noFill/>
                  <a:prstDash val="solid"/>
                  <a:miter/>
                </a:ln>
              </p:spPr>
              <p:txBody>
                <a:bodyPr lIns="0" tIns="0" rIns="0" bIns="0" rtlCol="0" anchor="ctr"/>
                <a:lstStyle/>
                <a:p>
                  <a:endParaRPr lang="en-US"/>
                </a:p>
              </p:txBody>
            </p:sp>
          </p:grpSp>
          <p:sp>
            <p:nvSpPr>
              <p:cNvPr id="200" name="Grafik 15">
                <a:extLst>
                  <a:ext uri="{FF2B5EF4-FFF2-40B4-BE49-F238E27FC236}">
                    <a16:creationId xmlns:a16="http://schemas.microsoft.com/office/drawing/2014/main" id="{201A8898-A28F-E88D-96BC-83E8B0119DCF}"/>
                  </a:ext>
                </a:extLst>
              </p:cNvPr>
              <p:cNvSpPr/>
              <p:nvPr/>
            </p:nvSpPr>
            <p:spPr bwMode="gray">
              <a:xfrm>
                <a:off x="6031134" y="3523773"/>
                <a:ext cx="60388" cy="14287"/>
              </a:xfrm>
              <a:custGeom>
                <a:avLst/>
                <a:gdLst>
                  <a:gd name="connsiteX0" fmla="*/ 53245 w 60388"/>
                  <a:gd name="connsiteY0" fmla="*/ 14288 h 14287"/>
                  <a:gd name="connsiteX1" fmla="*/ 7144 w 60388"/>
                  <a:gd name="connsiteY1" fmla="*/ 14288 h 14287"/>
                  <a:gd name="connsiteX2" fmla="*/ 0 w 60388"/>
                  <a:gd name="connsiteY2" fmla="*/ 7144 h 14287"/>
                  <a:gd name="connsiteX3" fmla="*/ 7144 w 60388"/>
                  <a:gd name="connsiteY3" fmla="*/ 0 h 14287"/>
                  <a:gd name="connsiteX4" fmla="*/ 53245 w 60388"/>
                  <a:gd name="connsiteY4" fmla="*/ 0 h 14287"/>
                  <a:gd name="connsiteX5" fmla="*/ 60389 w 60388"/>
                  <a:gd name="connsiteY5" fmla="*/ 7144 h 14287"/>
                  <a:gd name="connsiteX6" fmla="*/ 53245 w 6038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88" h="14287">
                    <a:moveTo>
                      <a:pt x="53245" y="14288"/>
                    </a:moveTo>
                    <a:lnTo>
                      <a:pt x="7144" y="14288"/>
                    </a:lnTo>
                    <a:cubicBezTo>
                      <a:pt x="3239" y="14288"/>
                      <a:pt x="0" y="11049"/>
                      <a:pt x="0" y="7144"/>
                    </a:cubicBezTo>
                    <a:cubicBezTo>
                      <a:pt x="0" y="3239"/>
                      <a:pt x="3239" y="0"/>
                      <a:pt x="7144" y="0"/>
                    </a:cubicBezTo>
                    <a:lnTo>
                      <a:pt x="53245" y="0"/>
                    </a:lnTo>
                    <a:cubicBezTo>
                      <a:pt x="57150" y="0"/>
                      <a:pt x="60389" y="3239"/>
                      <a:pt x="60389" y="7144"/>
                    </a:cubicBezTo>
                    <a:cubicBezTo>
                      <a:pt x="60389" y="11049"/>
                      <a:pt x="57150" y="14288"/>
                      <a:pt x="53245" y="14288"/>
                    </a:cubicBezTo>
                    <a:close/>
                  </a:path>
                </a:pathLst>
              </a:custGeom>
              <a:grpFill/>
              <a:ln w="9525" cap="flat">
                <a:noFill/>
                <a:prstDash val="solid"/>
                <a:miter/>
              </a:ln>
            </p:spPr>
            <p:txBody>
              <a:bodyPr lIns="0" tIns="0" rIns="0" bIns="0" rtlCol="0" anchor="ctr"/>
              <a:lstStyle/>
              <a:p>
                <a:endParaRPr lang="en-US"/>
              </a:p>
            </p:txBody>
          </p:sp>
          <p:sp>
            <p:nvSpPr>
              <p:cNvPr id="201" name="Grafik 15">
                <a:extLst>
                  <a:ext uri="{FF2B5EF4-FFF2-40B4-BE49-F238E27FC236}">
                    <a16:creationId xmlns:a16="http://schemas.microsoft.com/office/drawing/2014/main" id="{828045F1-58EA-AF96-BA39-C19CF3FDF00B}"/>
                  </a:ext>
                </a:extLst>
              </p:cNvPr>
              <p:cNvSpPr/>
              <p:nvPr/>
            </p:nvSpPr>
            <p:spPr bwMode="gray">
              <a:xfrm>
                <a:off x="6025038" y="3359562"/>
                <a:ext cx="72580" cy="72580"/>
              </a:xfrm>
              <a:custGeom>
                <a:avLst/>
                <a:gdLst>
                  <a:gd name="connsiteX0" fmla="*/ 36290 w 72580"/>
                  <a:gd name="connsiteY0" fmla="*/ 72581 h 72580"/>
                  <a:gd name="connsiteX1" fmla="*/ 0 w 72580"/>
                  <a:gd name="connsiteY1" fmla="*/ 36290 h 72580"/>
                  <a:gd name="connsiteX2" fmla="*/ 36290 w 72580"/>
                  <a:gd name="connsiteY2" fmla="*/ 0 h 72580"/>
                  <a:gd name="connsiteX3" fmla="*/ 72581 w 72580"/>
                  <a:gd name="connsiteY3" fmla="*/ 36290 h 72580"/>
                  <a:gd name="connsiteX4" fmla="*/ 36290 w 72580"/>
                  <a:gd name="connsiteY4" fmla="*/ 72581 h 72580"/>
                  <a:gd name="connsiteX5" fmla="*/ 36290 w 72580"/>
                  <a:gd name="connsiteY5" fmla="*/ 14192 h 72580"/>
                  <a:gd name="connsiteX6" fmla="*/ 14288 w 72580"/>
                  <a:gd name="connsiteY6" fmla="*/ 36195 h 72580"/>
                  <a:gd name="connsiteX7" fmla="*/ 36290 w 72580"/>
                  <a:gd name="connsiteY7" fmla="*/ 58198 h 72580"/>
                  <a:gd name="connsiteX8" fmla="*/ 58293 w 72580"/>
                  <a:gd name="connsiteY8" fmla="*/ 36195 h 72580"/>
                  <a:gd name="connsiteX9" fmla="*/ 36290 w 72580"/>
                  <a:gd name="connsiteY9" fmla="*/ 14192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72580">
                    <a:moveTo>
                      <a:pt x="36290" y="72581"/>
                    </a:moveTo>
                    <a:cubicBezTo>
                      <a:pt x="16288" y="72581"/>
                      <a:pt x="0" y="56293"/>
                      <a:pt x="0" y="36290"/>
                    </a:cubicBezTo>
                    <a:cubicBezTo>
                      <a:pt x="0" y="16288"/>
                      <a:pt x="16288" y="0"/>
                      <a:pt x="36290" y="0"/>
                    </a:cubicBezTo>
                    <a:cubicBezTo>
                      <a:pt x="56293" y="0"/>
                      <a:pt x="72581" y="16288"/>
                      <a:pt x="72581" y="36290"/>
                    </a:cubicBezTo>
                    <a:cubicBezTo>
                      <a:pt x="72581" y="56293"/>
                      <a:pt x="56293" y="72581"/>
                      <a:pt x="36290" y="72581"/>
                    </a:cubicBezTo>
                    <a:close/>
                    <a:moveTo>
                      <a:pt x="36290" y="14192"/>
                    </a:moveTo>
                    <a:cubicBezTo>
                      <a:pt x="24194" y="14192"/>
                      <a:pt x="14288" y="24098"/>
                      <a:pt x="14288" y="36195"/>
                    </a:cubicBezTo>
                    <a:cubicBezTo>
                      <a:pt x="14288" y="48292"/>
                      <a:pt x="24194" y="58198"/>
                      <a:pt x="36290" y="58198"/>
                    </a:cubicBezTo>
                    <a:cubicBezTo>
                      <a:pt x="48387" y="58198"/>
                      <a:pt x="58293" y="48292"/>
                      <a:pt x="58293" y="36195"/>
                    </a:cubicBezTo>
                    <a:cubicBezTo>
                      <a:pt x="58293" y="24098"/>
                      <a:pt x="48387" y="14192"/>
                      <a:pt x="36290" y="14192"/>
                    </a:cubicBezTo>
                    <a:close/>
                  </a:path>
                </a:pathLst>
              </a:custGeom>
              <a:grpFill/>
              <a:ln w="9525" cap="flat">
                <a:noFill/>
                <a:prstDash val="solid"/>
                <a:miter/>
              </a:ln>
            </p:spPr>
            <p:txBody>
              <a:bodyPr lIns="0" tIns="0" rIns="0" bIns="0" rtlCol="0" anchor="ctr"/>
              <a:lstStyle/>
              <a:p>
                <a:endParaRPr lang="en-US"/>
              </a:p>
            </p:txBody>
          </p:sp>
          <p:sp>
            <p:nvSpPr>
              <p:cNvPr id="202" name="Grafik 15">
                <a:extLst>
                  <a:ext uri="{FF2B5EF4-FFF2-40B4-BE49-F238E27FC236}">
                    <a16:creationId xmlns:a16="http://schemas.microsoft.com/office/drawing/2014/main" id="{3108E256-D771-CE34-A9A0-F0DAECD0199E}"/>
                  </a:ext>
                </a:extLst>
              </p:cNvPr>
              <p:cNvSpPr/>
              <p:nvPr/>
            </p:nvSpPr>
            <p:spPr bwMode="gray">
              <a:xfrm>
                <a:off x="5976460" y="3333773"/>
                <a:ext cx="37028" cy="124182"/>
              </a:xfrm>
              <a:custGeom>
                <a:avLst/>
                <a:gdLst>
                  <a:gd name="connsiteX0" fmla="*/ 29909 w 37028"/>
                  <a:gd name="connsiteY0" fmla="*/ 124182 h 124182"/>
                  <a:gd name="connsiteX1" fmla="*/ 24860 w 37028"/>
                  <a:gd name="connsiteY1" fmla="*/ 122087 h 124182"/>
                  <a:gd name="connsiteX2" fmla="*/ 0 w 37028"/>
                  <a:gd name="connsiteY2" fmla="*/ 62079 h 124182"/>
                  <a:gd name="connsiteX3" fmla="*/ 24860 w 37028"/>
                  <a:gd name="connsiteY3" fmla="*/ 2072 h 124182"/>
                  <a:gd name="connsiteX4" fmla="*/ 34957 w 37028"/>
                  <a:gd name="connsiteY4" fmla="*/ 2072 h 124182"/>
                  <a:gd name="connsiteX5" fmla="*/ 34957 w 37028"/>
                  <a:gd name="connsiteY5" fmla="*/ 12168 h 124182"/>
                  <a:gd name="connsiteX6" fmla="*/ 14288 w 37028"/>
                  <a:gd name="connsiteY6" fmla="*/ 62079 h 124182"/>
                  <a:gd name="connsiteX7" fmla="*/ 34957 w 37028"/>
                  <a:gd name="connsiteY7" fmla="*/ 111990 h 124182"/>
                  <a:gd name="connsiteX8" fmla="*/ 34957 w 37028"/>
                  <a:gd name="connsiteY8" fmla="*/ 122087 h 124182"/>
                  <a:gd name="connsiteX9" fmla="*/ 29909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29909" y="124182"/>
                    </a:moveTo>
                    <a:cubicBezTo>
                      <a:pt x="28099" y="124182"/>
                      <a:pt x="26289" y="123515"/>
                      <a:pt x="24860" y="122087"/>
                    </a:cubicBezTo>
                    <a:cubicBezTo>
                      <a:pt x="8858" y="106085"/>
                      <a:pt x="0" y="84749"/>
                      <a:pt x="0" y="62079"/>
                    </a:cubicBezTo>
                    <a:cubicBezTo>
                      <a:pt x="0" y="39410"/>
                      <a:pt x="8858" y="18074"/>
                      <a:pt x="24860" y="2072"/>
                    </a:cubicBezTo>
                    <a:cubicBezTo>
                      <a:pt x="27623" y="-691"/>
                      <a:pt x="32195" y="-691"/>
                      <a:pt x="34957" y="2072"/>
                    </a:cubicBezTo>
                    <a:cubicBezTo>
                      <a:pt x="37719" y="4834"/>
                      <a:pt x="37719" y="9406"/>
                      <a:pt x="34957" y="12168"/>
                    </a:cubicBezTo>
                    <a:cubicBezTo>
                      <a:pt x="21622" y="25503"/>
                      <a:pt x="14288" y="43220"/>
                      <a:pt x="14288" y="62079"/>
                    </a:cubicBezTo>
                    <a:cubicBezTo>
                      <a:pt x="14288" y="80939"/>
                      <a:pt x="21622" y="98655"/>
                      <a:pt x="34957" y="111990"/>
                    </a:cubicBezTo>
                    <a:cubicBezTo>
                      <a:pt x="37719" y="114752"/>
                      <a:pt x="37719" y="119324"/>
                      <a:pt x="34957" y="122087"/>
                    </a:cubicBezTo>
                    <a:cubicBezTo>
                      <a:pt x="33528" y="123420"/>
                      <a:pt x="31718" y="124182"/>
                      <a:pt x="29909" y="124182"/>
                    </a:cubicBezTo>
                    <a:close/>
                  </a:path>
                </a:pathLst>
              </a:custGeom>
              <a:grpFill/>
              <a:ln w="9525" cap="flat">
                <a:noFill/>
                <a:prstDash val="solid"/>
                <a:miter/>
              </a:ln>
            </p:spPr>
            <p:txBody>
              <a:bodyPr lIns="0" tIns="0" rIns="0" bIns="0" rtlCol="0" anchor="ctr"/>
              <a:lstStyle/>
              <a:p>
                <a:endParaRPr lang="en-US"/>
              </a:p>
            </p:txBody>
          </p:sp>
          <p:sp>
            <p:nvSpPr>
              <p:cNvPr id="203" name="Grafik 15">
                <a:extLst>
                  <a:ext uri="{FF2B5EF4-FFF2-40B4-BE49-F238E27FC236}">
                    <a16:creationId xmlns:a16="http://schemas.microsoft.com/office/drawing/2014/main" id="{EF5D2F56-8700-0177-86A0-160C9C7D7FEF}"/>
                  </a:ext>
                </a:extLst>
              </p:cNvPr>
              <p:cNvSpPr/>
              <p:nvPr/>
            </p:nvSpPr>
            <p:spPr bwMode="gray">
              <a:xfrm>
                <a:off x="6109167" y="3333773"/>
                <a:ext cx="37028" cy="124182"/>
              </a:xfrm>
              <a:custGeom>
                <a:avLst/>
                <a:gdLst>
                  <a:gd name="connsiteX0" fmla="*/ 7120 w 37028"/>
                  <a:gd name="connsiteY0" fmla="*/ 124182 h 124182"/>
                  <a:gd name="connsiteX1" fmla="*/ 2072 w 37028"/>
                  <a:gd name="connsiteY1" fmla="*/ 122087 h 124182"/>
                  <a:gd name="connsiteX2" fmla="*/ 2072 w 37028"/>
                  <a:gd name="connsiteY2" fmla="*/ 111990 h 124182"/>
                  <a:gd name="connsiteX3" fmla="*/ 22741 w 37028"/>
                  <a:gd name="connsiteY3" fmla="*/ 62079 h 124182"/>
                  <a:gd name="connsiteX4" fmla="*/ 2072 w 37028"/>
                  <a:gd name="connsiteY4" fmla="*/ 12168 h 124182"/>
                  <a:gd name="connsiteX5" fmla="*/ 2072 w 37028"/>
                  <a:gd name="connsiteY5" fmla="*/ 2072 h 124182"/>
                  <a:gd name="connsiteX6" fmla="*/ 12168 w 37028"/>
                  <a:gd name="connsiteY6" fmla="*/ 2072 h 124182"/>
                  <a:gd name="connsiteX7" fmla="*/ 37028 w 37028"/>
                  <a:gd name="connsiteY7" fmla="*/ 62079 h 124182"/>
                  <a:gd name="connsiteX8" fmla="*/ 12168 w 37028"/>
                  <a:gd name="connsiteY8" fmla="*/ 122087 h 124182"/>
                  <a:gd name="connsiteX9" fmla="*/ 7120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7120" y="124182"/>
                    </a:moveTo>
                    <a:cubicBezTo>
                      <a:pt x="5310" y="124182"/>
                      <a:pt x="3500" y="123515"/>
                      <a:pt x="2072" y="122087"/>
                    </a:cubicBezTo>
                    <a:cubicBezTo>
                      <a:pt x="-691" y="119324"/>
                      <a:pt x="-691" y="114752"/>
                      <a:pt x="2072" y="111990"/>
                    </a:cubicBezTo>
                    <a:cubicBezTo>
                      <a:pt x="15407" y="98655"/>
                      <a:pt x="22741" y="80939"/>
                      <a:pt x="22741" y="62079"/>
                    </a:cubicBezTo>
                    <a:cubicBezTo>
                      <a:pt x="22741" y="43220"/>
                      <a:pt x="15407" y="25503"/>
                      <a:pt x="2072" y="12168"/>
                    </a:cubicBezTo>
                    <a:cubicBezTo>
                      <a:pt x="-691" y="9406"/>
                      <a:pt x="-691" y="4834"/>
                      <a:pt x="2072" y="2072"/>
                    </a:cubicBezTo>
                    <a:cubicBezTo>
                      <a:pt x="4834" y="-691"/>
                      <a:pt x="9406" y="-691"/>
                      <a:pt x="12168" y="2072"/>
                    </a:cubicBezTo>
                    <a:cubicBezTo>
                      <a:pt x="28170" y="18074"/>
                      <a:pt x="37028" y="39410"/>
                      <a:pt x="37028" y="62079"/>
                    </a:cubicBezTo>
                    <a:cubicBezTo>
                      <a:pt x="37028" y="84749"/>
                      <a:pt x="28170" y="106085"/>
                      <a:pt x="12168" y="122087"/>
                    </a:cubicBezTo>
                    <a:cubicBezTo>
                      <a:pt x="10835" y="123420"/>
                      <a:pt x="8930" y="124182"/>
                      <a:pt x="7120" y="124182"/>
                    </a:cubicBezTo>
                    <a:close/>
                  </a:path>
                </a:pathLst>
              </a:custGeom>
              <a:grpFill/>
              <a:ln w="9525" cap="flat">
                <a:noFill/>
                <a:prstDash val="solid"/>
                <a:miter/>
              </a:ln>
            </p:spPr>
            <p:txBody>
              <a:bodyPr lIns="0" tIns="0" rIns="0" bIns="0" rtlCol="0" anchor="ctr"/>
              <a:lstStyle/>
              <a:p>
                <a:endParaRPr lang="en-US"/>
              </a:p>
            </p:txBody>
          </p:sp>
          <p:sp>
            <p:nvSpPr>
              <p:cNvPr id="204" name="Grafik 15">
                <a:extLst>
                  <a:ext uri="{FF2B5EF4-FFF2-40B4-BE49-F238E27FC236}">
                    <a16:creationId xmlns:a16="http://schemas.microsoft.com/office/drawing/2014/main" id="{6A79F436-22A3-F999-E28A-39ED70994B75}"/>
                  </a:ext>
                </a:extLst>
              </p:cNvPr>
              <p:cNvSpPr/>
              <p:nvPr/>
            </p:nvSpPr>
            <p:spPr bwMode="gray">
              <a:xfrm>
                <a:off x="5937574" y="3306150"/>
                <a:ext cx="48386" cy="179236"/>
              </a:xfrm>
              <a:custGeom>
                <a:avLst/>
                <a:gdLst>
                  <a:gd name="connsiteX0" fmla="*/ 41267 w 48386"/>
                  <a:gd name="connsiteY0" fmla="*/ 179237 h 179236"/>
                  <a:gd name="connsiteX1" fmla="*/ 36219 w 48386"/>
                  <a:gd name="connsiteY1" fmla="*/ 177141 h 179236"/>
                  <a:gd name="connsiteX2" fmla="*/ 36219 w 48386"/>
                  <a:gd name="connsiteY2" fmla="*/ 2072 h 179236"/>
                  <a:gd name="connsiteX3" fmla="*/ 46315 w 48386"/>
                  <a:gd name="connsiteY3" fmla="*/ 2072 h 179236"/>
                  <a:gd name="connsiteX4" fmla="*/ 46315 w 48386"/>
                  <a:gd name="connsiteY4" fmla="*/ 12168 h 179236"/>
                  <a:gd name="connsiteX5" fmla="*/ 46315 w 48386"/>
                  <a:gd name="connsiteY5" fmla="*/ 167045 h 179236"/>
                  <a:gd name="connsiteX6" fmla="*/ 46315 w 48386"/>
                  <a:gd name="connsiteY6" fmla="*/ 177141 h 179236"/>
                  <a:gd name="connsiteX7" fmla="*/ 41267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41267" y="179237"/>
                    </a:moveTo>
                    <a:cubicBezTo>
                      <a:pt x="39457" y="179237"/>
                      <a:pt x="37648" y="178570"/>
                      <a:pt x="36219" y="177141"/>
                    </a:cubicBezTo>
                    <a:cubicBezTo>
                      <a:pt x="-12073" y="128849"/>
                      <a:pt x="-12073" y="50363"/>
                      <a:pt x="36219" y="2072"/>
                    </a:cubicBezTo>
                    <a:cubicBezTo>
                      <a:pt x="38981" y="-691"/>
                      <a:pt x="43553" y="-691"/>
                      <a:pt x="46315" y="2072"/>
                    </a:cubicBezTo>
                    <a:cubicBezTo>
                      <a:pt x="49078" y="4834"/>
                      <a:pt x="49078" y="9406"/>
                      <a:pt x="46315" y="12168"/>
                    </a:cubicBezTo>
                    <a:cubicBezTo>
                      <a:pt x="3643" y="54840"/>
                      <a:pt x="3643" y="124373"/>
                      <a:pt x="46315" y="167045"/>
                    </a:cubicBezTo>
                    <a:cubicBezTo>
                      <a:pt x="49078" y="169807"/>
                      <a:pt x="49078" y="174379"/>
                      <a:pt x="46315" y="177141"/>
                    </a:cubicBezTo>
                    <a:cubicBezTo>
                      <a:pt x="44982" y="178570"/>
                      <a:pt x="43077" y="179237"/>
                      <a:pt x="41267" y="179237"/>
                    </a:cubicBezTo>
                    <a:close/>
                  </a:path>
                </a:pathLst>
              </a:custGeom>
              <a:grpFill/>
              <a:ln w="9525" cap="flat">
                <a:noFill/>
                <a:prstDash val="solid"/>
                <a:miter/>
              </a:ln>
            </p:spPr>
            <p:txBody>
              <a:bodyPr lIns="0" tIns="0" rIns="0" bIns="0" rtlCol="0" anchor="ctr"/>
              <a:lstStyle/>
              <a:p>
                <a:endParaRPr lang="en-US"/>
              </a:p>
            </p:txBody>
          </p:sp>
          <p:sp>
            <p:nvSpPr>
              <p:cNvPr id="205" name="Grafik 15">
                <a:extLst>
                  <a:ext uri="{FF2B5EF4-FFF2-40B4-BE49-F238E27FC236}">
                    <a16:creationId xmlns:a16="http://schemas.microsoft.com/office/drawing/2014/main" id="{234F3305-AA31-CB54-B519-888FF6622DEC}"/>
                  </a:ext>
                </a:extLst>
              </p:cNvPr>
              <p:cNvSpPr/>
              <p:nvPr/>
            </p:nvSpPr>
            <p:spPr bwMode="gray">
              <a:xfrm>
                <a:off x="6136695" y="3306150"/>
                <a:ext cx="48386" cy="179236"/>
              </a:xfrm>
              <a:custGeom>
                <a:avLst/>
                <a:gdLst>
                  <a:gd name="connsiteX0" fmla="*/ 7120 w 48386"/>
                  <a:gd name="connsiteY0" fmla="*/ 179237 h 179236"/>
                  <a:gd name="connsiteX1" fmla="*/ 2072 w 48386"/>
                  <a:gd name="connsiteY1" fmla="*/ 177141 h 179236"/>
                  <a:gd name="connsiteX2" fmla="*/ 2072 w 48386"/>
                  <a:gd name="connsiteY2" fmla="*/ 167045 h 179236"/>
                  <a:gd name="connsiteX3" fmla="*/ 2072 w 48386"/>
                  <a:gd name="connsiteY3" fmla="*/ 12168 h 179236"/>
                  <a:gd name="connsiteX4" fmla="*/ 2072 w 48386"/>
                  <a:gd name="connsiteY4" fmla="*/ 2072 h 179236"/>
                  <a:gd name="connsiteX5" fmla="*/ 12168 w 48386"/>
                  <a:gd name="connsiteY5" fmla="*/ 2072 h 179236"/>
                  <a:gd name="connsiteX6" fmla="*/ 12168 w 48386"/>
                  <a:gd name="connsiteY6" fmla="*/ 177141 h 179236"/>
                  <a:gd name="connsiteX7" fmla="*/ 7120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7120" y="179237"/>
                    </a:moveTo>
                    <a:cubicBezTo>
                      <a:pt x="5310" y="179237"/>
                      <a:pt x="3500" y="178570"/>
                      <a:pt x="2072" y="177141"/>
                    </a:cubicBezTo>
                    <a:cubicBezTo>
                      <a:pt x="-691" y="174379"/>
                      <a:pt x="-691" y="169807"/>
                      <a:pt x="2072" y="167045"/>
                    </a:cubicBezTo>
                    <a:cubicBezTo>
                      <a:pt x="44744" y="124373"/>
                      <a:pt x="44744" y="54840"/>
                      <a:pt x="2072" y="12168"/>
                    </a:cubicBezTo>
                    <a:cubicBezTo>
                      <a:pt x="-691" y="9406"/>
                      <a:pt x="-691" y="4834"/>
                      <a:pt x="2072" y="2072"/>
                    </a:cubicBezTo>
                    <a:cubicBezTo>
                      <a:pt x="4834" y="-691"/>
                      <a:pt x="9406" y="-691"/>
                      <a:pt x="12168" y="2072"/>
                    </a:cubicBezTo>
                    <a:cubicBezTo>
                      <a:pt x="60460" y="50363"/>
                      <a:pt x="60460" y="128849"/>
                      <a:pt x="12168" y="177141"/>
                    </a:cubicBezTo>
                    <a:cubicBezTo>
                      <a:pt x="10739" y="178570"/>
                      <a:pt x="8930" y="179237"/>
                      <a:pt x="7120" y="179237"/>
                    </a:cubicBezTo>
                    <a:close/>
                  </a:path>
                </a:pathLst>
              </a:custGeom>
              <a:grpFill/>
              <a:ln w="9525" cap="flat">
                <a:noFill/>
                <a:prstDash val="solid"/>
                <a:miter/>
              </a:ln>
            </p:spPr>
            <p:txBody>
              <a:bodyPr lIns="0" tIns="0" rIns="0" bIns="0" rtlCol="0" anchor="ctr"/>
              <a:lstStyle/>
              <a:p>
                <a:endParaRPr lang="en-US"/>
              </a:p>
            </p:txBody>
          </p:sp>
        </p:grpSp>
        <p:sp>
          <p:nvSpPr>
            <p:cNvPr id="194" name="Grafik 15">
              <a:extLst>
                <a:ext uri="{FF2B5EF4-FFF2-40B4-BE49-F238E27FC236}">
                  <a16:creationId xmlns:a16="http://schemas.microsoft.com/office/drawing/2014/main" id="{359F2A3E-FB75-5DEF-0263-CBCBEC7F9AC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95" name="Grafik 15">
              <a:extLst>
                <a:ext uri="{FF2B5EF4-FFF2-40B4-BE49-F238E27FC236}">
                  <a16:creationId xmlns:a16="http://schemas.microsoft.com/office/drawing/2014/main" id="{95AD9C0C-C7DC-8B98-CF5C-930B952A043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96" name="Grafik 15">
              <a:extLst>
                <a:ext uri="{FF2B5EF4-FFF2-40B4-BE49-F238E27FC236}">
                  <a16:creationId xmlns:a16="http://schemas.microsoft.com/office/drawing/2014/main" id="{D97E691B-AC5F-4757-1969-4F021ECA83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7" name="Grafik 15">
              <a:extLst>
                <a:ext uri="{FF2B5EF4-FFF2-40B4-BE49-F238E27FC236}">
                  <a16:creationId xmlns:a16="http://schemas.microsoft.com/office/drawing/2014/main" id="{6E0B3366-B83C-6A20-F125-76EBA5307B6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8" name="Grafik 15">
              <a:extLst>
                <a:ext uri="{FF2B5EF4-FFF2-40B4-BE49-F238E27FC236}">
                  <a16:creationId xmlns:a16="http://schemas.microsoft.com/office/drawing/2014/main" id="{B3AFF7B4-13FE-9B10-5E98-D5064F57E7D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209" name="Grafik 3854">
            <a:extLst>
              <a:ext uri="{FF2B5EF4-FFF2-40B4-BE49-F238E27FC236}">
                <a16:creationId xmlns:a16="http://schemas.microsoft.com/office/drawing/2014/main" id="{D87A0714-25D2-874C-65D1-DF639D768293}"/>
              </a:ext>
            </a:extLst>
          </p:cNvPr>
          <p:cNvGrpSpPr/>
          <p:nvPr/>
        </p:nvGrpSpPr>
        <p:grpSpPr bwMode="gray">
          <a:xfrm>
            <a:off x="2724270" y="1865000"/>
            <a:ext cx="374400" cy="374400"/>
            <a:chOff x="5843587" y="3176587"/>
            <a:chExt cx="500253" cy="500253"/>
          </a:xfrm>
          <a:solidFill>
            <a:schemeClr val="tx1"/>
          </a:solidFill>
        </p:grpSpPr>
        <p:grpSp>
          <p:nvGrpSpPr>
            <p:cNvPr id="210" name="Grafik 3854">
              <a:extLst>
                <a:ext uri="{FF2B5EF4-FFF2-40B4-BE49-F238E27FC236}">
                  <a16:creationId xmlns:a16="http://schemas.microsoft.com/office/drawing/2014/main" id="{DE165770-0DCF-A835-BC89-DC14606CEE43}"/>
                </a:ext>
              </a:extLst>
            </p:cNvPr>
            <p:cNvGrpSpPr/>
            <p:nvPr/>
          </p:nvGrpSpPr>
          <p:grpSpPr bwMode="gray">
            <a:xfrm>
              <a:off x="5951066" y="3351772"/>
              <a:ext cx="285352" cy="149807"/>
              <a:chOff x="5951066" y="3351772"/>
              <a:chExt cx="285352" cy="149807"/>
            </a:xfrm>
            <a:grpFill/>
          </p:grpSpPr>
          <p:grpSp>
            <p:nvGrpSpPr>
              <p:cNvPr id="219" name="Grafik 3854">
                <a:extLst>
                  <a:ext uri="{FF2B5EF4-FFF2-40B4-BE49-F238E27FC236}">
                    <a16:creationId xmlns:a16="http://schemas.microsoft.com/office/drawing/2014/main" id="{F5D2D1B7-EC36-DF76-6A9D-DB7CBF6C0875}"/>
                  </a:ext>
                </a:extLst>
              </p:cNvPr>
              <p:cNvGrpSpPr/>
              <p:nvPr/>
            </p:nvGrpSpPr>
            <p:grpSpPr bwMode="gray">
              <a:xfrm>
                <a:off x="6118933" y="3351772"/>
                <a:ext cx="117485" cy="65892"/>
                <a:chOff x="6118933" y="3351772"/>
                <a:chExt cx="117485" cy="65892"/>
              </a:xfrm>
              <a:grpFill/>
            </p:grpSpPr>
            <p:sp>
              <p:nvSpPr>
                <p:cNvPr id="232" name="Grafik 3854">
                  <a:extLst>
                    <a:ext uri="{FF2B5EF4-FFF2-40B4-BE49-F238E27FC236}">
                      <a16:creationId xmlns:a16="http://schemas.microsoft.com/office/drawing/2014/main" id="{6B6483A9-118D-FF31-7EA4-103DABBEB5D6}"/>
                    </a:ext>
                  </a:extLst>
                </p:cNvPr>
                <p:cNvSpPr/>
                <p:nvPr/>
              </p:nvSpPr>
              <p:spPr bwMode="gray">
                <a:xfrm>
                  <a:off x="6118933" y="3351772"/>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33" name="Grafik 3854">
                  <a:extLst>
                    <a:ext uri="{FF2B5EF4-FFF2-40B4-BE49-F238E27FC236}">
                      <a16:creationId xmlns:a16="http://schemas.microsoft.com/office/drawing/2014/main" id="{765998AB-2B86-693E-561B-5F4FBFE43390}"/>
                    </a:ext>
                  </a:extLst>
                </p:cNvPr>
                <p:cNvSpPr/>
                <p:nvPr/>
              </p:nvSpPr>
              <p:spPr bwMode="gray">
                <a:xfrm>
                  <a:off x="6157245" y="3351846"/>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34" name="Grafik 3854">
                  <a:extLst>
                    <a:ext uri="{FF2B5EF4-FFF2-40B4-BE49-F238E27FC236}">
                      <a16:creationId xmlns:a16="http://schemas.microsoft.com/office/drawing/2014/main" id="{8C69C30F-BB90-CB88-83C8-B90C1898A732}"/>
                    </a:ext>
                  </a:extLst>
                </p:cNvPr>
                <p:cNvSpPr/>
                <p:nvPr/>
              </p:nvSpPr>
              <p:spPr bwMode="gray">
                <a:xfrm>
                  <a:off x="6222015" y="3351846"/>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144" y="46672"/>
                        <a:pt x="7144" y="46672"/>
                      </a:cubicBezTo>
                      <a:close/>
                    </a:path>
                  </a:pathLst>
                </a:custGeom>
                <a:grpFill/>
                <a:ln w="9525" cap="flat">
                  <a:noFill/>
                  <a:prstDash val="solid"/>
                  <a:miter/>
                </a:ln>
              </p:spPr>
              <p:txBody>
                <a:bodyPr rtlCol="0" anchor="ctr"/>
                <a:lstStyle/>
                <a:p>
                  <a:endParaRPr lang="de-DE"/>
                </a:p>
              </p:txBody>
            </p:sp>
          </p:grpSp>
          <p:grpSp>
            <p:nvGrpSpPr>
              <p:cNvPr id="220" name="Grafik 3854">
                <a:extLst>
                  <a:ext uri="{FF2B5EF4-FFF2-40B4-BE49-F238E27FC236}">
                    <a16:creationId xmlns:a16="http://schemas.microsoft.com/office/drawing/2014/main" id="{A6C0833E-E8CD-1532-F39B-1543BBD09361}"/>
                  </a:ext>
                </a:extLst>
              </p:cNvPr>
              <p:cNvGrpSpPr/>
              <p:nvPr/>
            </p:nvGrpSpPr>
            <p:grpSpPr bwMode="gray">
              <a:xfrm>
                <a:off x="5951103" y="3435687"/>
                <a:ext cx="117485" cy="65892"/>
                <a:chOff x="5951103" y="3435687"/>
                <a:chExt cx="117485" cy="65892"/>
              </a:xfrm>
              <a:grpFill/>
            </p:grpSpPr>
            <p:sp>
              <p:nvSpPr>
                <p:cNvPr id="229" name="Grafik 3854">
                  <a:extLst>
                    <a:ext uri="{FF2B5EF4-FFF2-40B4-BE49-F238E27FC236}">
                      <a16:creationId xmlns:a16="http://schemas.microsoft.com/office/drawing/2014/main" id="{0EBB0765-9C25-A9DF-4AFA-2394F770EEFD}"/>
                    </a:ext>
                  </a:extLst>
                </p:cNvPr>
                <p:cNvSpPr/>
                <p:nvPr/>
              </p:nvSpPr>
              <p:spPr bwMode="gray">
                <a:xfrm>
                  <a:off x="5951103" y="3435687"/>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213" y="65892"/>
                        <a:pt x="7165" y="65892"/>
                      </a:cubicBezTo>
                      <a:close/>
                    </a:path>
                  </a:pathLst>
                </a:custGeom>
                <a:grpFill/>
                <a:ln w="9525" cap="flat">
                  <a:noFill/>
                  <a:prstDash val="solid"/>
                  <a:miter/>
                </a:ln>
              </p:spPr>
              <p:txBody>
                <a:bodyPr rtlCol="0" anchor="ctr"/>
                <a:lstStyle/>
                <a:p>
                  <a:endParaRPr lang="de-DE"/>
                </a:p>
              </p:txBody>
            </p:sp>
            <p:sp>
              <p:nvSpPr>
                <p:cNvPr id="230" name="Grafik 3854">
                  <a:extLst>
                    <a:ext uri="{FF2B5EF4-FFF2-40B4-BE49-F238E27FC236}">
                      <a16:creationId xmlns:a16="http://schemas.microsoft.com/office/drawing/2014/main" id="{1AEA9F0B-C306-EC53-298E-E6AE7B7F733B}"/>
                    </a:ext>
                  </a:extLst>
                </p:cNvPr>
                <p:cNvSpPr/>
                <p:nvPr/>
              </p:nvSpPr>
              <p:spPr bwMode="gray">
                <a:xfrm>
                  <a:off x="5951124" y="348729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31" name="Grafik 3854">
                  <a:extLst>
                    <a:ext uri="{FF2B5EF4-FFF2-40B4-BE49-F238E27FC236}">
                      <a16:creationId xmlns:a16="http://schemas.microsoft.com/office/drawing/2014/main" id="{0307D5C1-A7A2-AA35-6C71-BBA90EF8EA94}"/>
                    </a:ext>
                  </a:extLst>
                </p:cNvPr>
                <p:cNvSpPr/>
                <p:nvPr/>
              </p:nvSpPr>
              <p:spPr bwMode="gray">
                <a:xfrm>
                  <a:off x="5951124" y="3454907"/>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grpSp>
          <p:grpSp>
            <p:nvGrpSpPr>
              <p:cNvPr id="221" name="Grafik 3854">
                <a:extLst>
                  <a:ext uri="{FF2B5EF4-FFF2-40B4-BE49-F238E27FC236}">
                    <a16:creationId xmlns:a16="http://schemas.microsoft.com/office/drawing/2014/main" id="{DCF86106-EC27-A863-EB73-16100C869CF1}"/>
                  </a:ext>
                </a:extLst>
              </p:cNvPr>
              <p:cNvGrpSpPr/>
              <p:nvPr/>
            </p:nvGrpSpPr>
            <p:grpSpPr bwMode="gray">
              <a:xfrm>
                <a:off x="6118954" y="3435704"/>
                <a:ext cx="117405" cy="65875"/>
                <a:chOff x="6118954" y="3435704"/>
                <a:chExt cx="117405" cy="65875"/>
              </a:xfrm>
              <a:grpFill/>
            </p:grpSpPr>
            <p:sp>
              <p:nvSpPr>
                <p:cNvPr id="226" name="Grafik 3854">
                  <a:extLst>
                    <a:ext uri="{FF2B5EF4-FFF2-40B4-BE49-F238E27FC236}">
                      <a16:creationId xmlns:a16="http://schemas.microsoft.com/office/drawing/2014/main" id="{44251806-CAD9-B4F6-CE6D-DCD283769B18}"/>
                    </a:ext>
                  </a:extLst>
                </p:cNvPr>
                <p:cNvSpPr/>
                <p:nvPr/>
              </p:nvSpPr>
              <p:spPr bwMode="gray">
                <a:xfrm>
                  <a:off x="6118992" y="3435704"/>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1"/>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27" name="Grafik 3854">
                  <a:extLst>
                    <a:ext uri="{FF2B5EF4-FFF2-40B4-BE49-F238E27FC236}">
                      <a16:creationId xmlns:a16="http://schemas.microsoft.com/office/drawing/2014/main" id="{B58B222F-5B9A-CD48-C326-1B290FC5DAF5}"/>
                    </a:ext>
                  </a:extLst>
                </p:cNvPr>
                <p:cNvSpPr/>
                <p:nvPr/>
              </p:nvSpPr>
              <p:spPr bwMode="gray">
                <a:xfrm>
                  <a:off x="6118954" y="343576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28" name="Grafik 3854">
                  <a:extLst>
                    <a:ext uri="{FF2B5EF4-FFF2-40B4-BE49-F238E27FC236}">
                      <a16:creationId xmlns:a16="http://schemas.microsoft.com/office/drawing/2014/main" id="{B9C7E305-F37B-1662-34FB-A972F6C4DBAF}"/>
                    </a:ext>
                  </a:extLst>
                </p:cNvPr>
                <p:cNvSpPr/>
                <p:nvPr/>
              </p:nvSpPr>
              <p:spPr bwMode="gray">
                <a:xfrm>
                  <a:off x="6119050" y="343576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22" name="Grafik 3854">
                <a:extLst>
                  <a:ext uri="{FF2B5EF4-FFF2-40B4-BE49-F238E27FC236}">
                    <a16:creationId xmlns:a16="http://schemas.microsoft.com/office/drawing/2014/main" id="{D1087E05-1694-C194-33AB-DBB1B86B219D}"/>
                  </a:ext>
                </a:extLst>
              </p:cNvPr>
              <p:cNvGrpSpPr/>
              <p:nvPr/>
            </p:nvGrpSpPr>
            <p:grpSpPr bwMode="gray">
              <a:xfrm>
                <a:off x="5951066" y="3351789"/>
                <a:ext cx="117405" cy="65875"/>
                <a:chOff x="5951066" y="3351789"/>
                <a:chExt cx="117405" cy="65875"/>
              </a:xfrm>
              <a:grpFill/>
            </p:grpSpPr>
            <p:sp>
              <p:nvSpPr>
                <p:cNvPr id="223" name="Grafik 3854">
                  <a:extLst>
                    <a:ext uri="{FF2B5EF4-FFF2-40B4-BE49-F238E27FC236}">
                      <a16:creationId xmlns:a16="http://schemas.microsoft.com/office/drawing/2014/main" id="{3DA19EAD-E682-9358-97D7-159DF5091CDA}"/>
                    </a:ext>
                  </a:extLst>
                </p:cNvPr>
                <p:cNvSpPr/>
                <p:nvPr/>
              </p:nvSpPr>
              <p:spPr bwMode="gray">
                <a:xfrm>
                  <a:off x="5951066" y="3351789"/>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446"/>
                        <a:pt x="112833" y="65875"/>
                        <a:pt x="110262" y="65875"/>
                      </a:cubicBezTo>
                      <a:close/>
                    </a:path>
                  </a:pathLst>
                </a:custGeom>
                <a:grpFill/>
                <a:ln w="9525" cap="flat">
                  <a:noFill/>
                  <a:prstDash val="solid"/>
                  <a:miter/>
                </a:ln>
              </p:spPr>
              <p:txBody>
                <a:bodyPr rtlCol="0" anchor="ctr"/>
                <a:lstStyle/>
                <a:p>
                  <a:endParaRPr lang="de-DE"/>
                </a:p>
              </p:txBody>
            </p:sp>
            <p:sp>
              <p:nvSpPr>
                <p:cNvPr id="224" name="Grafik 3854">
                  <a:extLst>
                    <a:ext uri="{FF2B5EF4-FFF2-40B4-BE49-F238E27FC236}">
                      <a16:creationId xmlns:a16="http://schemas.microsoft.com/office/drawing/2014/main" id="{B86B331F-32EA-27BA-270A-3BD134BB92A2}"/>
                    </a:ext>
                  </a:extLst>
                </p:cNvPr>
                <p:cNvSpPr/>
                <p:nvPr/>
              </p:nvSpPr>
              <p:spPr bwMode="gray">
                <a:xfrm>
                  <a:off x="6054184" y="3370992"/>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sp>
              <p:nvSpPr>
                <p:cNvPr id="225" name="Grafik 3854">
                  <a:extLst>
                    <a:ext uri="{FF2B5EF4-FFF2-40B4-BE49-F238E27FC236}">
                      <a16:creationId xmlns:a16="http://schemas.microsoft.com/office/drawing/2014/main" id="{6F80CFE2-E529-E86D-A05F-5759DB0ED7D4}"/>
                    </a:ext>
                  </a:extLst>
                </p:cNvPr>
                <p:cNvSpPr/>
                <p:nvPr/>
              </p:nvSpPr>
              <p:spPr bwMode="gray">
                <a:xfrm>
                  <a:off x="5989414" y="340337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11" name="Grafik 3854">
              <a:extLst>
                <a:ext uri="{FF2B5EF4-FFF2-40B4-BE49-F238E27FC236}">
                  <a16:creationId xmlns:a16="http://schemas.microsoft.com/office/drawing/2014/main" id="{F6F7DB21-09E6-005E-88D2-9ED992FE0668}"/>
                </a:ext>
              </a:extLst>
            </p:cNvPr>
            <p:cNvSpPr/>
            <p:nvPr/>
          </p:nvSpPr>
          <p:spPr bwMode="gray">
            <a:xfrm>
              <a:off x="5843587" y="3298030"/>
              <a:ext cx="500253" cy="257365"/>
            </a:xfrm>
            <a:custGeom>
              <a:avLst/>
              <a:gdLst>
                <a:gd name="connsiteX0" fmla="*/ 250127 w 500253"/>
                <a:gd name="connsiteY0" fmla="*/ 257366 h 257365"/>
                <a:gd name="connsiteX1" fmla="*/ 0 w 500253"/>
                <a:gd name="connsiteY1" fmla="*/ 128683 h 257365"/>
                <a:gd name="connsiteX2" fmla="*/ 250127 w 500253"/>
                <a:gd name="connsiteY2" fmla="*/ 0 h 257365"/>
                <a:gd name="connsiteX3" fmla="*/ 500253 w 500253"/>
                <a:gd name="connsiteY3" fmla="*/ 128683 h 257365"/>
                <a:gd name="connsiteX4" fmla="*/ 250127 w 500253"/>
                <a:gd name="connsiteY4" fmla="*/ 257366 h 257365"/>
                <a:gd name="connsiteX5" fmla="*/ 250127 w 500253"/>
                <a:gd name="connsiteY5" fmla="*/ 14383 h 257365"/>
                <a:gd name="connsiteX6" fmla="*/ 14288 w 500253"/>
                <a:gd name="connsiteY6" fmla="*/ 128778 h 257365"/>
                <a:gd name="connsiteX7" fmla="*/ 250127 w 500253"/>
                <a:gd name="connsiteY7" fmla="*/ 243173 h 257365"/>
                <a:gd name="connsiteX8" fmla="*/ 485966 w 500253"/>
                <a:gd name="connsiteY8" fmla="*/ 128778 h 257365"/>
                <a:gd name="connsiteX9" fmla="*/ 250127 w 500253"/>
                <a:gd name="connsiteY9" fmla="*/ 14383 h 25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365">
                  <a:moveTo>
                    <a:pt x="250127" y="257366"/>
                  </a:moveTo>
                  <a:cubicBezTo>
                    <a:pt x="109919" y="257366"/>
                    <a:pt x="0" y="200787"/>
                    <a:pt x="0" y="128683"/>
                  </a:cubicBezTo>
                  <a:cubicBezTo>
                    <a:pt x="0" y="56579"/>
                    <a:pt x="109919" y="0"/>
                    <a:pt x="250127" y="0"/>
                  </a:cubicBezTo>
                  <a:cubicBezTo>
                    <a:pt x="390335" y="0"/>
                    <a:pt x="500253" y="56483"/>
                    <a:pt x="500253" y="128683"/>
                  </a:cubicBezTo>
                  <a:cubicBezTo>
                    <a:pt x="500253" y="200882"/>
                    <a:pt x="390430" y="257366"/>
                    <a:pt x="250127" y="257366"/>
                  </a:cubicBezTo>
                  <a:close/>
                  <a:moveTo>
                    <a:pt x="250127" y="14383"/>
                  </a:moveTo>
                  <a:cubicBezTo>
                    <a:pt x="120110" y="14383"/>
                    <a:pt x="14288" y="65723"/>
                    <a:pt x="14288" y="128778"/>
                  </a:cubicBezTo>
                  <a:cubicBezTo>
                    <a:pt x="14288" y="191834"/>
                    <a:pt x="120110" y="243173"/>
                    <a:pt x="250127" y="243173"/>
                  </a:cubicBezTo>
                  <a:cubicBezTo>
                    <a:pt x="380143" y="243173"/>
                    <a:pt x="485966" y="191834"/>
                    <a:pt x="485966" y="128778"/>
                  </a:cubicBezTo>
                  <a:cubicBezTo>
                    <a:pt x="485966" y="65723"/>
                    <a:pt x="380238" y="14383"/>
                    <a:pt x="250127" y="14383"/>
                  </a:cubicBezTo>
                  <a:close/>
                </a:path>
              </a:pathLst>
            </a:custGeom>
            <a:grpFill/>
            <a:ln w="9525" cap="flat">
              <a:noFill/>
              <a:prstDash val="solid"/>
              <a:miter/>
            </a:ln>
          </p:spPr>
          <p:txBody>
            <a:bodyPr rtlCol="0" anchor="ctr"/>
            <a:lstStyle/>
            <a:p>
              <a:endParaRPr lang="de-DE"/>
            </a:p>
          </p:txBody>
        </p:sp>
        <p:sp>
          <p:nvSpPr>
            <p:cNvPr id="212" name="Grafik 3854">
              <a:extLst>
                <a:ext uri="{FF2B5EF4-FFF2-40B4-BE49-F238E27FC236}">
                  <a16:creationId xmlns:a16="http://schemas.microsoft.com/office/drawing/2014/main" id="{5FFB16D5-E30D-CBC3-4807-DFC913AAD476}"/>
                </a:ext>
              </a:extLst>
            </p:cNvPr>
            <p:cNvSpPr/>
            <p:nvPr/>
          </p:nvSpPr>
          <p:spPr bwMode="gray">
            <a:xfrm>
              <a:off x="5843587" y="3419569"/>
              <a:ext cx="500253" cy="257270"/>
            </a:xfrm>
            <a:custGeom>
              <a:avLst/>
              <a:gdLst>
                <a:gd name="connsiteX0" fmla="*/ 250127 w 500253"/>
                <a:gd name="connsiteY0" fmla="*/ 257270 h 257270"/>
                <a:gd name="connsiteX1" fmla="*/ 0 w 500253"/>
                <a:gd name="connsiteY1" fmla="*/ 128683 h 257270"/>
                <a:gd name="connsiteX2" fmla="*/ 0 w 500253"/>
                <a:gd name="connsiteY2" fmla="*/ 7144 h 257270"/>
                <a:gd name="connsiteX3" fmla="*/ 7144 w 500253"/>
                <a:gd name="connsiteY3" fmla="*/ 0 h 257270"/>
                <a:gd name="connsiteX4" fmla="*/ 14288 w 500253"/>
                <a:gd name="connsiteY4" fmla="*/ 7144 h 257270"/>
                <a:gd name="connsiteX5" fmla="*/ 14288 w 500253"/>
                <a:gd name="connsiteY5" fmla="*/ 128683 h 257270"/>
                <a:gd name="connsiteX6" fmla="*/ 250127 w 500253"/>
                <a:gd name="connsiteY6" fmla="*/ 243078 h 257270"/>
                <a:gd name="connsiteX7" fmla="*/ 485966 w 500253"/>
                <a:gd name="connsiteY7" fmla="*/ 128683 h 257270"/>
                <a:gd name="connsiteX8" fmla="*/ 485966 w 500253"/>
                <a:gd name="connsiteY8" fmla="*/ 7144 h 257270"/>
                <a:gd name="connsiteX9" fmla="*/ 493109 w 500253"/>
                <a:gd name="connsiteY9" fmla="*/ 0 h 257270"/>
                <a:gd name="connsiteX10" fmla="*/ 500253 w 500253"/>
                <a:gd name="connsiteY10" fmla="*/ 7144 h 257270"/>
                <a:gd name="connsiteX11" fmla="*/ 500253 w 500253"/>
                <a:gd name="connsiteY11" fmla="*/ 128683 h 257270"/>
                <a:gd name="connsiteX12" fmla="*/ 250127 w 500253"/>
                <a:gd name="connsiteY12" fmla="*/ 257270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257270">
                  <a:moveTo>
                    <a:pt x="250127" y="257270"/>
                  </a:moveTo>
                  <a:cubicBezTo>
                    <a:pt x="109919" y="257270"/>
                    <a:pt x="0" y="200787"/>
                    <a:pt x="0" y="128683"/>
                  </a:cubicBezTo>
                  <a:lnTo>
                    <a:pt x="0" y="7144"/>
                  </a:lnTo>
                  <a:cubicBezTo>
                    <a:pt x="0" y="3239"/>
                    <a:pt x="3239" y="0"/>
                    <a:pt x="7144" y="0"/>
                  </a:cubicBezTo>
                  <a:cubicBezTo>
                    <a:pt x="11049" y="0"/>
                    <a:pt x="14288" y="3239"/>
                    <a:pt x="14288" y="7144"/>
                  </a:cubicBezTo>
                  <a:lnTo>
                    <a:pt x="14288" y="128683"/>
                  </a:lnTo>
                  <a:cubicBezTo>
                    <a:pt x="14288" y="191738"/>
                    <a:pt x="120110" y="243078"/>
                    <a:pt x="250127" y="243078"/>
                  </a:cubicBezTo>
                  <a:cubicBezTo>
                    <a:pt x="380143" y="243078"/>
                    <a:pt x="485966" y="191738"/>
                    <a:pt x="485966" y="128683"/>
                  </a:cubicBezTo>
                  <a:lnTo>
                    <a:pt x="485966" y="7144"/>
                  </a:lnTo>
                  <a:cubicBezTo>
                    <a:pt x="485966" y="3239"/>
                    <a:pt x="489204" y="0"/>
                    <a:pt x="493109" y="0"/>
                  </a:cubicBezTo>
                  <a:cubicBezTo>
                    <a:pt x="497015" y="0"/>
                    <a:pt x="500253" y="3239"/>
                    <a:pt x="500253" y="7144"/>
                  </a:cubicBezTo>
                  <a:lnTo>
                    <a:pt x="500253" y="128683"/>
                  </a:lnTo>
                  <a:cubicBezTo>
                    <a:pt x="500253" y="200787"/>
                    <a:pt x="390430" y="257270"/>
                    <a:pt x="250127" y="257270"/>
                  </a:cubicBezTo>
                  <a:close/>
                </a:path>
              </a:pathLst>
            </a:custGeom>
            <a:grpFill/>
            <a:ln w="9525" cap="flat">
              <a:noFill/>
              <a:prstDash val="solid"/>
              <a:miter/>
            </a:ln>
          </p:spPr>
          <p:txBody>
            <a:bodyPr rtlCol="0" anchor="ctr"/>
            <a:lstStyle/>
            <a:p>
              <a:endParaRPr lang="de-DE"/>
            </a:p>
          </p:txBody>
        </p:sp>
        <p:sp>
          <p:nvSpPr>
            <p:cNvPr id="213" name="Grafik 3854">
              <a:extLst>
                <a:ext uri="{FF2B5EF4-FFF2-40B4-BE49-F238E27FC236}">
                  <a16:creationId xmlns:a16="http://schemas.microsoft.com/office/drawing/2014/main" id="{3074BBF7-81DE-2B27-AEFE-CC6ACADD0B29}"/>
                </a:ext>
              </a:extLst>
            </p:cNvPr>
            <p:cNvSpPr/>
            <p:nvPr/>
          </p:nvSpPr>
          <p:spPr bwMode="gray">
            <a:xfrm>
              <a:off x="5934931"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4" name="Grafik 3854">
              <a:extLst>
                <a:ext uri="{FF2B5EF4-FFF2-40B4-BE49-F238E27FC236}">
                  <a16:creationId xmlns:a16="http://schemas.microsoft.com/office/drawing/2014/main" id="{1B5FC990-7A17-2D68-0ED2-3B03DE183F40}"/>
                </a:ext>
              </a:extLst>
            </p:cNvPr>
            <p:cNvSpPr/>
            <p:nvPr/>
          </p:nvSpPr>
          <p:spPr bwMode="gray">
            <a:xfrm>
              <a:off x="5918739" y="3176587"/>
              <a:ext cx="46672" cy="46672"/>
            </a:xfrm>
            <a:custGeom>
              <a:avLst/>
              <a:gdLst>
                <a:gd name="connsiteX0" fmla="*/ 23336 w 46672"/>
                <a:gd name="connsiteY0" fmla="*/ 46673 h 46672"/>
                <a:gd name="connsiteX1" fmla="*/ 0 w 46672"/>
                <a:gd name="connsiteY1" fmla="*/ 23336 h 46672"/>
                <a:gd name="connsiteX2" fmla="*/ 23336 w 46672"/>
                <a:gd name="connsiteY2" fmla="*/ 0 h 46672"/>
                <a:gd name="connsiteX3" fmla="*/ 46673 w 46672"/>
                <a:gd name="connsiteY3" fmla="*/ 23336 h 46672"/>
                <a:gd name="connsiteX4" fmla="*/ 23336 w 46672"/>
                <a:gd name="connsiteY4" fmla="*/ 46673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3"/>
                  </a:moveTo>
                  <a:cubicBezTo>
                    <a:pt x="10477" y="46673"/>
                    <a:pt x="0" y="36195"/>
                    <a:pt x="0" y="23336"/>
                  </a:cubicBezTo>
                  <a:cubicBezTo>
                    <a:pt x="0" y="10478"/>
                    <a:pt x="10477" y="0"/>
                    <a:pt x="23336" y="0"/>
                  </a:cubicBezTo>
                  <a:cubicBezTo>
                    <a:pt x="36195" y="0"/>
                    <a:pt x="46673" y="10478"/>
                    <a:pt x="46673" y="23336"/>
                  </a:cubicBezTo>
                  <a:cubicBezTo>
                    <a:pt x="46673" y="36195"/>
                    <a:pt x="36195" y="46673"/>
                    <a:pt x="23336" y="46673"/>
                  </a:cubicBezTo>
                  <a:close/>
                  <a:moveTo>
                    <a:pt x="23336" y="14288"/>
                  </a:moveTo>
                  <a:cubicBezTo>
                    <a:pt x="18383" y="14288"/>
                    <a:pt x="14288" y="18383"/>
                    <a:pt x="14288" y="23336"/>
                  </a:cubicBezTo>
                  <a:cubicBezTo>
                    <a:pt x="14288" y="28289"/>
                    <a:pt x="18288" y="32385"/>
                    <a:pt x="23336" y="32385"/>
                  </a:cubicBezTo>
                  <a:cubicBezTo>
                    <a:pt x="28385"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sp>
          <p:nvSpPr>
            <p:cNvPr id="215" name="Grafik 3854">
              <a:extLst>
                <a:ext uri="{FF2B5EF4-FFF2-40B4-BE49-F238E27FC236}">
                  <a16:creationId xmlns:a16="http://schemas.microsoft.com/office/drawing/2014/main" id="{7CFA8F56-48FC-D420-02F3-4D639B009999}"/>
                </a:ext>
              </a:extLst>
            </p:cNvPr>
            <p:cNvSpPr/>
            <p:nvPr/>
          </p:nvSpPr>
          <p:spPr bwMode="gray">
            <a:xfrm>
              <a:off x="5918739" y="3241357"/>
              <a:ext cx="46672" cy="104679"/>
            </a:xfrm>
            <a:custGeom>
              <a:avLst/>
              <a:gdLst>
                <a:gd name="connsiteX0" fmla="*/ 7144 w 46672"/>
                <a:gd name="connsiteY0" fmla="*/ 104680 h 104679"/>
                <a:gd name="connsiteX1" fmla="*/ 0 w 46672"/>
                <a:gd name="connsiteY1" fmla="*/ 97536 h 104679"/>
                <a:gd name="connsiteX2" fmla="*/ 0 w 46672"/>
                <a:gd name="connsiteY2" fmla="*/ 23336 h 104679"/>
                <a:gd name="connsiteX3" fmla="*/ 23336 w 46672"/>
                <a:gd name="connsiteY3" fmla="*/ 0 h 104679"/>
                <a:gd name="connsiteX4" fmla="*/ 46673 w 46672"/>
                <a:gd name="connsiteY4" fmla="*/ 23336 h 104679"/>
                <a:gd name="connsiteX5" fmla="*/ 46673 w 46672"/>
                <a:gd name="connsiteY5" fmla="*/ 84487 h 104679"/>
                <a:gd name="connsiteX6" fmla="*/ 39529 w 46672"/>
                <a:gd name="connsiteY6" fmla="*/ 91631 h 104679"/>
                <a:gd name="connsiteX7" fmla="*/ 32385 w 46672"/>
                <a:gd name="connsiteY7" fmla="*/ 84487 h 104679"/>
                <a:gd name="connsiteX8" fmla="*/ 32385 w 46672"/>
                <a:gd name="connsiteY8" fmla="*/ 23336 h 104679"/>
                <a:gd name="connsiteX9" fmla="*/ 23336 w 46672"/>
                <a:gd name="connsiteY9" fmla="*/ 14288 h 104679"/>
                <a:gd name="connsiteX10" fmla="*/ 14288 w 46672"/>
                <a:gd name="connsiteY10" fmla="*/ 23336 h 104679"/>
                <a:gd name="connsiteX11" fmla="*/ 14288 w 46672"/>
                <a:gd name="connsiteY11" fmla="*/ 97536 h 104679"/>
                <a:gd name="connsiteX12" fmla="*/ 7144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7144" y="104680"/>
                  </a:moveTo>
                  <a:cubicBezTo>
                    <a:pt x="3238" y="104680"/>
                    <a:pt x="0" y="101441"/>
                    <a:pt x="0" y="97536"/>
                  </a:cubicBezTo>
                  <a:lnTo>
                    <a:pt x="0" y="23336"/>
                  </a:lnTo>
                  <a:cubicBezTo>
                    <a:pt x="0" y="10477"/>
                    <a:pt x="10477" y="0"/>
                    <a:pt x="23336" y="0"/>
                  </a:cubicBezTo>
                  <a:cubicBezTo>
                    <a:pt x="36195" y="0"/>
                    <a:pt x="46673" y="10477"/>
                    <a:pt x="46673" y="23336"/>
                  </a:cubicBezTo>
                  <a:lnTo>
                    <a:pt x="46673" y="84487"/>
                  </a:lnTo>
                  <a:cubicBezTo>
                    <a:pt x="46673" y="88392"/>
                    <a:pt x="43434" y="91631"/>
                    <a:pt x="39529" y="91631"/>
                  </a:cubicBezTo>
                  <a:cubicBezTo>
                    <a:pt x="35624" y="91631"/>
                    <a:pt x="32385" y="88392"/>
                    <a:pt x="32385" y="84487"/>
                  </a:cubicBezTo>
                  <a:lnTo>
                    <a:pt x="32385" y="23336"/>
                  </a:lnTo>
                  <a:cubicBezTo>
                    <a:pt x="32385" y="18383"/>
                    <a:pt x="28289" y="14288"/>
                    <a:pt x="23336" y="14288"/>
                  </a:cubicBezTo>
                  <a:cubicBezTo>
                    <a:pt x="18383" y="14288"/>
                    <a:pt x="14288" y="18383"/>
                    <a:pt x="14288" y="23336"/>
                  </a:cubicBezTo>
                  <a:lnTo>
                    <a:pt x="14288" y="97536"/>
                  </a:lnTo>
                  <a:cubicBezTo>
                    <a:pt x="14288" y="101441"/>
                    <a:pt x="11049" y="104680"/>
                    <a:pt x="7144" y="104680"/>
                  </a:cubicBezTo>
                  <a:close/>
                </a:path>
              </a:pathLst>
            </a:custGeom>
            <a:grpFill/>
            <a:ln w="9525" cap="flat">
              <a:noFill/>
              <a:prstDash val="solid"/>
              <a:miter/>
            </a:ln>
          </p:spPr>
          <p:txBody>
            <a:bodyPr rtlCol="0" anchor="ctr"/>
            <a:lstStyle/>
            <a:p>
              <a:endParaRPr lang="de-DE"/>
            </a:p>
          </p:txBody>
        </p:sp>
        <p:sp>
          <p:nvSpPr>
            <p:cNvPr id="216" name="Grafik 3854">
              <a:extLst>
                <a:ext uri="{FF2B5EF4-FFF2-40B4-BE49-F238E27FC236}">
                  <a16:creationId xmlns:a16="http://schemas.microsoft.com/office/drawing/2014/main" id="{AF3BA3EF-DEC5-4A39-BBA9-79443DA71A36}"/>
                </a:ext>
              </a:extLst>
            </p:cNvPr>
            <p:cNvSpPr/>
            <p:nvPr/>
          </p:nvSpPr>
          <p:spPr bwMode="gray">
            <a:xfrm>
              <a:off x="6238207"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17" name="Grafik 3854">
              <a:extLst>
                <a:ext uri="{FF2B5EF4-FFF2-40B4-BE49-F238E27FC236}">
                  <a16:creationId xmlns:a16="http://schemas.microsoft.com/office/drawing/2014/main" id="{13105039-9FEF-AEC5-BD5A-470BA3F6C95B}"/>
                </a:ext>
              </a:extLst>
            </p:cNvPr>
            <p:cNvSpPr/>
            <p:nvPr/>
          </p:nvSpPr>
          <p:spPr bwMode="gray">
            <a:xfrm>
              <a:off x="6222015" y="3176587"/>
              <a:ext cx="46673" cy="46672"/>
            </a:xfrm>
            <a:custGeom>
              <a:avLst/>
              <a:gdLst>
                <a:gd name="connsiteX0" fmla="*/ 23336 w 46673"/>
                <a:gd name="connsiteY0" fmla="*/ 46673 h 46672"/>
                <a:gd name="connsiteX1" fmla="*/ 0 w 46673"/>
                <a:gd name="connsiteY1" fmla="*/ 23336 h 46672"/>
                <a:gd name="connsiteX2" fmla="*/ 23336 w 46673"/>
                <a:gd name="connsiteY2" fmla="*/ 0 h 46672"/>
                <a:gd name="connsiteX3" fmla="*/ 46673 w 46673"/>
                <a:gd name="connsiteY3" fmla="*/ 23336 h 46672"/>
                <a:gd name="connsiteX4" fmla="*/ 23336 w 46673"/>
                <a:gd name="connsiteY4" fmla="*/ 46673 h 46672"/>
                <a:gd name="connsiteX5" fmla="*/ 23336 w 46673"/>
                <a:gd name="connsiteY5" fmla="*/ 14288 h 46672"/>
                <a:gd name="connsiteX6" fmla="*/ 14288 w 46673"/>
                <a:gd name="connsiteY6" fmla="*/ 23336 h 46672"/>
                <a:gd name="connsiteX7" fmla="*/ 23336 w 46673"/>
                <a:gd name="connsiteY7" fmla="*/ 32385 h 46672"/>
                <a:gd name="connsiteX8" fmla="*/ 32385 w 46673"/>
                <a:gd name="connsiteY8" fmla="*/ 23336 h 46672"/>
                <a:gd name="connsiteX9" fmla="*/ 23336 w 46673"/>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3" h="46672">
                  <a:moveTo>
                    <a:pt x="23336" y="46673"/>
                  </a:moveTo>
                  <a:cubicBezTo>
                    <a:pt x="10478" y="46673"/>
                    <a:pt x="0" y="36195"/>
                    <a:pt x="0" y="23336"/>
                  </a:cubicBezTo>
                  <a:cubicBezTo>
                    <a:pt x="0" y="10478"/>
                    <a:pt x="10478" y="0"/>
                    <a:pt x="23336" y="0"/>
                  </a:cubicBezTo>
                  <a:cubicBezTo>
                    <a:pt x="36195" y="0"/>
                    <a:pt x="46673" y="10478"/>
                    <a:pt x="46673" y="23336"/>
                  </a:cubicBezTo>
                  <a:cubicBezTo>
                    <a:pt x="46768" y="36195"/>
                    <a:pt x="36290" y="46673"/>
                    <a:pt x="23336" y="46673"/>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384" y="14288"/>
                    <a:pt x="23336" y="14288"/>
                  </a:cubicBezTo>
                  <a:close/>
                </a:path>
              </a:pathLst>
            </a:custGeom>
            <a:grpFill/>
            <a:ln w="9525" cap="flat">
              <a:noFill/>
              <a:prstDash val="solid"/>
              <a:miter/>
            </a:ln>
          </p:spPr>
          <p:txBody>
            <a:bodyPr rtlCol="0" anchor="ctr"/>
            <a:lstStyle/>
            <a:p>
              <a:endParaRPr lang="de-DE"/>
            </a:p>
          </p:txBody>
        </p:sp>
        <p:sp>
          <p:nvSpPr>
            <p:cNvPr id="218" name="Grafik 3854">
              <a:extLst>
                <a:ext uri="{FF2B5EF4-FFF2-40B4-BE49-F238E27FC236}">
                  <a16:creationId xmlns:a16="http://schemas.microsoft.com/office/drawing/2014/main" id="{942E856F-8187-C370-223D-79E345FA775B}"/>
                </a:ext>
              </a:extLst>
            </p:cNvPr>
            <p:cNvSpPr/>
            <p:nvPr/>
          </p:nvSpPr>
          <p:spPr bwMode="gray">
            <a:xfrm>
              <a:off x="6222110" y="3241357"/>
              <a:ext cx="46672" cy="104679"/>
            </a:xfrm>
            <a:custGeom>
              <a:avLst/>
              <a:gdLst>
                <a:gd name="connsiteX0" fmla="*/ 39529 w 46672"/>
                <a:gd name="connsiteY0" fmla="*/ 104680 h 104679"/>
                <a:gd name="connsiteX1" fmla="*/ 32385 w 46672"/>
                <a:gd name="connsiteY1" fmla="*/ 97536 h 104679"/>
                <a:gd name="connsiteX2" fmla="*/ 32385 w 46672"/>
                <a:gd name="connsiteY2" fmla="*/ 23336 h 104679"/>
                <a:gd name="connsiteX3" fmla="*/ 23336 w 46672"/>
                <a:gd name="connsiteY3" fmla="*/ 14288 h 104679"/>
                <a:gd name="connsiteX4" fmla="*/ 14288 w 46672"/>
                <a:gd name="connsiteY4" fmla="*/ 23336 h 104679"/>
                <a:gd name="connsiteX5" fmla="*/ 14288 w 46672"/>
                <a:gd name="connsiteY5" fmla="*/ 84487 h 104679"/>
                <a:gd name="connsiteX6" fmla="*/ 7144 w 46672"/>
                <a:gd name="connsiteY6" fmla="*/ 91631 h 104679"/>
                <a:gd name="connsiteX7" fmla="*/ 0 w 46672"/>
                <a:gd name="connsiteY7" fmla="*/ 84487 h 104679"/>
                <a:gd name="connsiteX8" fmla="*/ 0 w 46672"/>
                <a:gd name="connsiteY8" fmla="*/ 23336 h 104679"/>
                <a:gd name="connsiteX9" fmla="*/ 23336 w 46672"/>
                <a:gd name="connsiteY9" fmla="*/ 0 h 104679"/>
                <a:gd name="connsiteX10" fmla="*/ 46672 w 46672"/>
                <a:gd name="connsiteY10" fmla="*/ 23336 h 104679"/>
                <a:gd name="connsiteX11" fmla="*/ 46672 w 46672"/>
                <a:gd name="connsiteY11" fmla="*/ 97536 h 104679"/>
                <a:gd name="connsiteX12" fmla="*/ 39529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39529" y="104680"/>
                  </a:moveTo>
                  <a:cubicBezTo>
                    <a:pt x="35623" y="104680"/>
                    <a:pt x="32385" y="101441"/>
                    <a:pt x="32385" y="97536"/>
                  </a:cubicBezTo>
                  <a:lnTo>
                    <a:pt x="32385" y="23336"/>
                  </a:lnTo>
                  <a:cubicBezTo>
                    <a:pt x="32385" y="18383"/>
                    <a:pt x="28289" y="14288"/>
                    <a:pt x="23336" y="14288"/>
                  </a:cubicBezTo>
                  <a:cubicBezTo>
                    <a:pt x="18383" y="14288"/>
                    <a:pt x="14288" y="18383"/>
                    <a:pt x="14288" y="23336"/>
                  </a:cubicBezTo>
                  <a:lnTo>
                    <a:pt x="14288" y="84487"/>
                  </a:lnTo>
                  <a:cubicBezTo>
                    <a:pt x="14288" y="88392"/>
                    <a:pt x="11049" y="91631"/>
                    <a:pt x="7144" y="91631"/>
                  </a:cubicBezTo>
                  <a:cubicBezTo>
                    <a:pt x="3239" y="91631"/>
                    <a:pt x="0" y="88392"/>
                    <a:pt x="0" y="84487"/>
                  </a:cubicBezTo>
                  <a:lnTo>
                    <a:pt x="0" y="23336"/>
                  </a:lnTo>
                  <a:cubicBezTo>
                    <a:pt x="0" y="10477"/>
                    <a:pt x="10477" y="0"/>
                    <a:pt x="23336" y="0"/>
                  </a:cubicBezTo>
                  <a:cubicBezTo>
                    <a:pt x="36195" y="0"/>
                    <a:pt x="46672" y="10477"/>
                    <a:pt x="46672" y="23336"/>
                  </a:cubicBezTo>
                  <a:lnTo>
                    <a:pt x="46672" y="97536"/>
                  </a:lnTo>
                  <a:cubicBezTo>
                    <a:pt x="46672" y="101441"/>
                    <a:pt x="43434" y="104680"/>
                    <a:pt x="39529" y="104680"/>
                  </a:cubicBezTo>
                  <a:close/>
                </a:path>
              </a:pathLst>
            </a:custGeom>
            <a:grpFill/>
            <a:ln w="9525" cap="flat">
              <a:noFill/>
              <a:prstDash val="solid"/>
              <a:miter/>
            </a:ln>
          </p:spPr>
          <p:txBody>
            <a:bodyPr rtlCol="0" anchor="ctr"/>
            <a:lstStyle/>
            <a:p>
              <a:endParaRPr lang="de-DE"/>
            </a:p>
          </p:txBody>
        </p:sp>
      </p:grpSp>
      <p:grpSp>
        <p:nvGrpSpPr>
          <p:cNvPr id="235" name="Grafik 3856">
            <a:extLst>
              <a:ext uri="{FF2B5EF4-FFF2-40B4-BE49-F238E27FC236}">
                <a16:creationId xmlns:a16="http://schemas.microsoft.com/office/drawing/2014/main" id="{D0C77C5B-9D1F-75F0-05DF-5E89932B274D}"/>
              </a:ext>
            </a:extLst>
          </p:cNvPr>
          <p:cNvGrpSpPr/>
          <p:nvPr/>
        </p:nvGrpSpPr>
        <p:grpSpPr bwMode="gray">
          <a:xfrm>
            <a:off x="2724270" y="2402528"/>
            <a:ext cx="374400" cy="374400"/>
            <a:chOff x="5843587" y="3176587"/>
            <a:chExt cx="500348" cy="500253"/>
          </a:xfrm>
          <a:solidFill>
            <a:schemeClr val="tx1"/>
          </a:solidFill>
        </p:grpSpPr>
        <p:grpSp>
          <p:nvGrpSpPr>
            <p:cNvPr id="236" name="Grafik 3856">
              <a:extLst>
                <a:ext uri="{FF2B5EF4-FFF2-40B4-BE49-F238E27FC236}">
                  <a16:creationId xmlns:a16="http://schemas.microsoft.com/office/drawing/2014/main" id="{3C9F86A9-A584-086F-8C63-7A71932B01A1}"/>
                </a:ext>
              </a:extLst>
            </p:cNvPr>
            <p:cNvGrpSpPr/>
            <p:nvPr/>
          </p:nvGrpSpPr>
          <p:grpSpPr bwMode="gray">
            <a:xfrm>
              <a:off x="5843587" y="3176587"/>
              <a:ext cx="500348" cy="500253"/>
              <a:chOff x="5843587" y="3176587"/>
              <a:chExt cx="500348" cy="500253"/>
            </a:xfrm>
            <a:grpFill/>
          </p:grpSpPr>
          <p:sp>
            <p:nvSpPr>
              <p:cNvPr id="242" name="Grafik 3856">
                <a:extLst>
                  <a:ext uri="{FF2B5EF4-FFF2-40B4-BE49-F238E27FC236}">
                    <a16:creationId xmlns:a16="http://schemas.microsoft.com/office/drawing/2014/main" id="{7B749120-31F7-1B71-220B-E5C5A9BF2D4A}"/>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43" name="Grafik 3856">
                <a:extLst>
                  <a:ext uri="{FF2B5EF4-FFF2-40B4-BE49-F238E27FC236}">
                    <a16:creationId xmlns:a16="http://schemas.microsoft.com/office/drawing/2014/main" id="{70CBF16C-B4AD-3351-15A5-7C3F47C0BF00}"/>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37" name="Grafik 3856">
              <a:extLst>
                <a:ext uri="{FF2B5EF4-FFF2-40B4-BE49-F238E27FC236}">
                  <a16:creationId xmlns:a16="http://schemas.microsoft.com/office/drawing/2014/main" id="{2CE40A0D-A001-7EA0-5EA8-009ADE27318F}"/>
                </a:ext>
              </a:extLst>
            </p:cNvPr>
            <p:cNvGrpSpPr/>
            <p:nvPr/>
          </p:nvGrpSpPr>
          <p:grpSpPr bwMode="gray">
            <a:xfrm>
              <a:off x="6005607" y="3351846"/>
              <a:ext cx="79057" cy="149732"/>
              <a:chOff x="6005607" y="3351846"/>
              <a:chExt cx="79057" cy="149732"/>
            </a:xfrm>
            <a:grpFill/>
          </p:grpSpPr>
          <p:sp>
            <p:nvSpPr>
              <p:cNvPr id="238" name="Grafik 3856">
                <a:extLst>
                  <a:ext uri="{FF2B5EF4-FFF2-40B4-BE49-F238E27FC236}">
                    <a16:creationId xmlns:a16="http://schemas.microsoft.com/office/drawing/2014/main" id="{41310515-6895-0D98-F668-A092E970DF29}"/>
                  </a:ext>
                </a:extLst>
              </p:cNvPr>
              <p:cNvSpPr/>
              <p:nvPr/>
            </p:nvSpPr>
            <p:spPr bwMode="gray">
              <a:xfrm>
                <a:off x="6037992" y="3351846"/>
                <a:ext cx="14287" cy="149732"/>
              </a:xfrm>
              <a:custGeom>
                <a:avLst/>
                <a:gdLst>
                  <a:gd name="connsiteX0" fmla="*/ 7144 w 14287"/>
                  <a:gd name="connsiteY0" fmla="*/ 149733 h 149732"/>
                  <a:gd name="connsiteX1" fmla="*/ 0 w 14287"/>
                  <a:gd name="connsiteY1" fmla="*/ 142589 h 149732"/>
                  <a:gd name="connsiteX2" fmla="*/ 0 w 14287"/>
                  <a:gd name="connsiteY2" fmla="*/ 7144 h 149732"/>
                  <a:gd name="connsiteX3" fmla="*/ 7144 w 14287"/>
                  <a:gd name="connsiteY3" fmla="*/ 0 h 149732"/>
                  <a:gd name="connsiteX4" fmla="*/ 14288 w 14287"/>
                  <a:gd name="connsiteY4" fmla="*/ 7144 h 149732"/>
                  <a:gd name="connsiteX5" fmla="*/ 14288 w 14287"/>
                  <a:gd name="connsiteY5" fmla="*/ 142589 h 149732"/>
                  <a:gd name="connsiteX6" fmla="*/ 7144 w 14287"/>
                  <a:gd name="connsiteY6" fmla="*/ 149733 h 14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2">
                    <a:moveTo>
                      <a:pt x="7144" y="149733"/>
                    </a:moveTo>
                    <a:cubicBezTo>
                      <a:pt x="3239" y="149733"/>
                      <a:pt x="0" y="146494"/>
                      <a:pt x="0" y="142589"/>
                    </a:cubicBezTo>
                    <a:lnTo>
                      <a:pt x="0" y="7144"/>
                    </a:lnTo>
                    <a:cubicBezTo>
                      <a:pt x="0" y="3239"/>
                      <a:pt x="3239" y="0"/>
                      <a:pt x="7144" y="0"/>
                    </a:cubicBezTo>
                    <a:cubicBezTo>
                      <a:pt x="11049" y="0"/>
                      <a:pt x="14288" y="3239"/>
                      <a:pt x="14288" y="7144"/>
                    </a:cubicBezTo>
                    <a:lnTo>
                      <a:pt x="14288" y="142589"/>
                    </a:lnTo>
                    <a:cubicBezTo>
                      <a:pt x="14288" y="146590"/>
                      <a:pt x="11049" y="149733"/>
                      <a:pt x="7144" y="149733"/>
                    </a:cubicBezTo>
                    <a:close/>
                  </a:path>
                </a:pathLst>
              </a:custGeom>
              <a:grpFill/>
              <a:ln w="9525" cap="flat">
                <a:noFill/>
                <a:prstDash val="solid"/>
                <a:miter/>
              </a:ln>
            </p:spPr>
            <p:txBody>
              <a:bodyPr rtlCol="0" anchor="ctr"/>
              <a:lstStyle/>
              <a:p>
                <a:endParaRPr lang="de-DE"/>
              </a:p>
            </p:txBody>
          </p:sp>
          <p:sp>
            <p:nvSpPr>
              <p:cNvPr id="239" name="Grafik 3856">
                <a:extLst>
                  <a:ext uri="{FF2B5EF4-FFF2-40B4-BE49-F238E27FC236}">
                    <a16:creationId xmlns:a16="http://schemas.microsoft.com/office/drawing/2014/main" id="{5C78633A-5594-BBE6-AB3B-60B967806CBB}"/>
                  </a:ext>
                </a:extLst>
              </p:cNvPr>
              <p:cNvSpPr/>
              <p:nvPr/>
            </p:nvSpPr>
            <p:spPr bwMode="gray">
              <a:xfrm>
                <a:off x="600560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240" name="Grafik 3856">
                <a:extLst>
                  <a:ext uri="{FF2B5EF4-FFF2-40B4-BE49-F238E27FC236}">
                    <a16:creationId xmlns:a16="http://schemas.microsoft.com/office/drawing/2014/main" id="{62736B37-3F35-F945-3EE4-5BA1D01DA4FC}"/>
                  </a:ext>
                </a:extLst>
              </p:cNvPr>
              <p:cNvSpPr/>
              <p:nvPr/>
            </p:nvSpPr>
            <p:spPr bwMode="gray">
              <a:xfrm>
                <a:off x="607037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144" y="79058"/>
                      <a:pt x="7144" y="79058"/>
                    </a:cubicBezTo>
                    <a:close/>
                  </a:path>
                </a:pathLst>
              </a:custGeom>
              <a:grpFill/>
              <a:ln w="9525" cap="flat">
                <a:noFill/>
                <a:prstDash val="solid"/>
                <a:miter/>
              </a:ln>
            </p:spPr>
            <p:txBody>
              <a:bodyPr rtlCol="0" anchor="ctr"/>
              <a:lstStyle/>
              <a:p>
                <a:endParaRPr lang="de-DE"/>
              </a:p>
            </p:txBody>
          </p:sp>
          <p:sp>
            <p:nvSpPr>
              <p:cNvPr id="241" name="Grafik 3856">
                <a:extLst>
                  <a:ext uri="{FF2B5EF4-FFF2-40B4-BE49-F238E27FC236}">
                    <a16:creationId xmlns:a16="http://schemas.microsoft.com/office/drawing/2014/main" id="{6DD17369-890D-3BB3-51FD-21C8FD48D0B4}"/>
                  </a:ext>
                </a:extLst>
              </p:cNvPr>
              <p:cNvSpPr/>
              <p:nvPr/>
            </p:nvSpPr>
            <p:spPr bwMode="gray">
              <a:xfrm>
                <a:off x="6005607" y="3384231"/>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grpSp>
      <p:grpSp>
        <p:nvGrpSpPr>
          <p:cNvPr id="244" name="Grafik 3858">
            <a:extLst>
              <a:ext uri="{FF2B5EF4-FFF2-40B4-BE49-F238E27FC236}">
                <a16:creationId xmlns:a16="http://schemas.microsoft.com/office/drawing/2014/main" id="{196D8E92-D359-6558-FCFF-9F32157F68E6}"/>
              </a:ext>
            </a:extLst>
          </p:cNvPr>
          <p:cNvGrpSpPr/>
          <p:nvPr/>
        </p:nvGrpSpPr>
        <p:grpSpPr bwMode="gray">
          <a:xfrm>
            <a:off x="2724270" y="2939915"/>
            <a:ext cx="374400" cy="374400"/>
            <a:chOff x="5843587" y="3176587"/>
            <a:chExt cx="500348" cy="500253"/>
          </a:xfrm>
          <a:solidFill>
            <a:schemeClr val="tx1"/>
          </a:solidFill>
        </p:grpSpPr>
        <p:grpSp>
          <p:nvGrpSpPr>
            <p:cNvPr id="245" name="Grafik 3858">
              <a:extLst>
                <a:ext uri="{FF2B5EF4-FFF2-40B4-BE49-F238E27FC236}">
                  <a16:creationId xmlns:a16="http://schemas.microsoft.com/office/drawing/2014/main" id="{FEFCE3B5-B88B-6DEB-CFB6-1D006226D721}"/>
                </a:ext>
              </a:extLst>
            </p:cNvPr>
            <p:cNvGrpSpPr/>
            <p:nvPr/>
          </p:nvGrpSpPr>
          <p:grpSpPr bwMode="gray">
            <a:xfrm>
              <a:off x="5968935" y="3468337"/>
              <a:ext cx="152400" cy="111347"/>
              <a:chOff x="5968935" y="3468337"/>
              <a:chExt cx="152400" cy="111347"/>
            </a:xfrm>
            <a:grpFill/>
          </p:grpSpPr>
          <p:sp>
            <p:nvSpPr>
              <p:cNvPr id="254" name="Grafik 3858">
                <a:extLst>
                  <a:ext uri="{FF2B5EF4-FFF2-40B4-BE49-F238E27FC236}">
                    <a16:creationId xmlns:a16="http://schemas.microsoft.com/office/drawing/2014/main" id="{81367325-4971-C017-2D1E-587787E8D767}"/>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55" name="Grafik 3858">
                <a:extLst>
                  <a:ext uri="{FF2B5EF4-FFF2-40B4-BE49-F238E27FC236}">
                    <a16:creationId xmlns:a16="http://schemas.microsoft.com/office/drawing/2014/main" id="{877DF928-3674-1F6B-AB66-D189960E1DB0}"/>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56" name="Grafik 3858">
                <a:extLst>
                  <a:ext uri="{FF2B5EF4-FFF2-40B4-BE49-F238E27FC236}">
                    <a16:creationId xmlns:a16="http://schemas.microsoft.com/office/drawing/2014/main" id="{79BF2123-49C5-880E-BFF1-B1BBDE7856DF}"/>
                  </a:ext>
                </a:extLst>
              </p:cNvPr>
              <p:cNvSpPr/>
              <p:nvPr/>
            </p:nvSpPr>
            <p:spPr bwMode="gray">
              <a:xfrm>
                <a:off x="5968935" y="3468337"/>
                <a:ext cx="62865" cy="62865"/>
              </a:xfrm>
              <a:custGeom>
                <a:avLst/>
                <a:gdLst>
                  <a:gd name="connsiteX0" fmla="*/ 31432 w 62865"/>
                  <a:gd name="connsiteY0" fmla="*/ 62865 h 62865"/>
                  <a:gd name="connsiteX1" fmla="*/ 24289 w 62865"/>
                  <a:gd name="connsiteY1" fmla="*/ 55721 h 62865"/>
                  <a:gd name="connsiteX2" fmla="*/ 31432 w 62865"/>
                  <a:gd name="connsiteY2" fmla="*/ 48578 h 62865"/>
                  <a:gd name="connsiteX3" fmla="*/ 48578 w 62865"/>
                  <a:gd name="connsiteY3" fmla="*/ 31433 h 62865"/>
                  <a:gd name="connsiteX4" fmla="*/ 31432 w 62865"/>
                  <a:gd name="connsiteY4" fmla="*/ 14288 h 62865"/>
                  <a:gd name="connsiteX5" fmla="*/ 14288 w 62865"/>
                  <a:gd name="connsiteY5" fmla="*/ 31433 h 62865"/>
                  <a:gd name="connsiteX6" fmla="*/ 7144 w 62865"/>
                  <a:gd name="connsiteY6" fmla="*/ 38576 h 62865"/>
                  <a:gd name="connsiteX7" fmla="*/ 0 w 62865"/>
                  <a:gd name="connsiteY7" fmla="*/ 31433 h 62865"/>
                  <a:gd name="connsiteX8" fmla="*/ 31432 w 62865"/>
                  <a:gd name="connsiteY8" fmla="*/ 0 h 62865"/>
                  <a:gd name="connsiteX9" fmla="*/ 62865 w 62865"/>
                  <a:gd name="connsiteY9" fmla="*/ 31433 h 62865"/>
                  <a:gd name="connsiteX10" fmla="*/ 31432 w 62865"/>
                  <a:gd name="connsiteY10" fmla="*/ 62865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5">
                    <a:moveTo>
                      <a:pt x="31432" y="62865"/>
                    </a:moveTo>
                    <a:cubicBezTo>
                      <a:pt x="27527" y="62865"/>
                      <a:pt x="24289" y="59627"/>
                      <a:pt x="24289" y="55721"/>
                    </a:cubicBezTo>
                    <a:cubicBezTo>
                      <a:pt x="24289" y="51816"/>
                      <a:pt x="27527" y="48578"/>
                      <a:pt x="31432" y="48578"/>
                    </a:cubicBezTo>
                    <a:cubicBezTo>
                      <a:pt x="40862" y="48578"/>
                      <a:pt x="48578" y="40862"/>
                      <a:pt x="48578" y="31433"/>
                    </a:cubicBezTo>
                    <a:cubicBezTo>
                      <a:pt x="48578" y="22003"/>
                      <a:pt x="40862" y="14288"/>
                      <a:pt x="31432" y="14288"/>
                    </a:cubicBezTo>
                    <a:cubicBezTo>
                      <a:pt x="22003" y="14288"/>
                      <a:pt x="14288" y="22003"/>
                      <a:pt x="14288" y="31433"/>
                    </a:cubicBezTo>
                    <a:cubicBezTo>
                      <a:pt x="14288" y="35338"/>
                      <a:pt x="11049" y="38576"/>
                      <a:pt x="7144" y="38576"/>
                    </a:cubicBezTo>
                    <a:cubicBezTo>
                      <a:pt x="3239" y="38576"/>
                      <a:pt x="0" y="35338"/>
                      <a:pt x="0" y="31433"/>
                    </a:cubicBezTo>
                    <a:cubicBezTo>
                      <a:pt x="0" y="14097"/>
                      <a:pt x="14097" y="0"/>
                      <a:pt x="31432" y="0"/>
                    </a:cubicBezTo>
                    <a:cubicBezTo>
                      <a:pt x="48768" y="0"/>
                      <a:pt x="62865" y="14097"/>
                      <a:pt x="62865" y="31433"/>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57" name="Grafik 3858">
                <a:extLst>
                  <a:ext uri="{FF2B5EF4-FFF2-40B4-BE49-F238E27FC236}">
                    <a16:creationId xmlns:a16="http://schemas.microsoft.com/office/drawing/2014/main" id="{8C12D9CE-FFAD-4346-BF9C-C576109D5E15}"/>
                  </a:ext>
                </a:extLst>
              </p:cNvPr>
              <p:cNvSpPr/>
              <p:nvPr/>
            </p:nvSpPr>
            <p:spPr bwMode="gray">
              <a:xfrm>
                <a:off x="5968935" y="3516820"/>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nvGrpSpPr>
            <p:cNvPr id="246" name="Grafik 3858">
              <a:extLst>
                <a:ext uri="{FF2B5EF4-FFF2-40B4-BE49-F238E27FC236}">
                  <a16:creationId xmlns:a16="http://schemas.microsoft.com/office/drawing/2014/main" id="{483261E4-9A48-03A7-DDFB-96FC78D73932}"/>
                </a:ext>
              </a:extLst>
            </p:cNvPr>
            <p:cNvGrpSpPr/>
            <p:nvPr/>
          </p:nvGrpSpPr>
          <p:grpSpPr bwMode="gray">
            <a:xfrm>
              <a:off x="5843587" y="3176587"/>
              <a:ext cx="500348" cy="500253"/>
              <a:chOff x="5843587" y="3176587"/>
              <a:chExt cx="500348" cy="500253"/>
            </a:xfrm>
            <a:grpFill/>
          </p:grpSpPr>
          <p:sp>
            <p:nvSpPr>
              <p:cNvPr id="252" name="Grafik 3858">
                <a:extLst>
                  <a:ext uri="{FF2B5EF4-FFF2-40B4-BE49-F238E27FC236}">
                    <a16:creationId xmlns:a16="http://schemas.microsoft.com/office/drawing/2014/main" id="{28692FD7-E642-1FC3-5F49-F086D94A0FFC}"/>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53" name="Grafik 3858">
                <a:extLst>
                  <a:ext uri="{FF2B5EF4-FFF2-40B4-BE49-F238E27FC236}">
                    <a16:creationId xmlns:a16="http://schemas.microsoft.com/office/drawing/2014/main" id="{019B3464-BFAF-8B52-A69E-BA3A50D8B0A7}"/>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47" name="Grafik 3858">
              <a:extLst>
                <a:ext uri="{FF2B5EF4-FFF2-40B4-BE49-F238E27FC236}">
                  <a16:creationId xmlns:a16="http://schemas.microsoft.com/office/drawing/2014/main" id="{282E73DD-CA3E-DCA1-01C2-B8EC0F0330BB}"/>
                </a:ext>
              </a:extLst>
            </p:cNvPr>
            <p:cNvGrpSpPr/>
            <p:nvPr/>
          </p:nvGrpSpPr>
          <p:grpSpPr bwMode="gray">
            <a:xfrm>
              <a:off x="6005607" y="3273837"/>
              <a:ext cx="79057" cy="149733"/>
              <a:chOff x="6005607" y="3273837"/>
              <a:chExt cx="79057" cy="149733"/>
            </a:xfrm>
            <a:grpFill/>
          </p:grpSpPr>
          <p:sp>
            <p:nvSpPr>
              <p:cNvPr id="248" name="Grafik 3858">
                <a:extLst>
                  <a:ext uri="{FF2B5EF4-FFF2-40B4-BE49-F238E27FC236}">
                    <a16:creationId xmlns:a16="http://schemas.microsoft.com/office/drawing/2014/main" id="{4AABEE36-7AEC-79CC-A191-994ABEDC3907}"/>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49" name="Grafik 3858">
                <a:extLst>
                  <a:ext uri="{FF2B5EF4-FFF2-40B4-BE49-F238E27FC236}">
                    <a16:creationId xmlns:a16="http://schemas.microsoft.com/office/drawing/2014/main" id="{3670F6A3-985D-412E-2F7B-E5396F3F0AC2}"/>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0" name="Grafik 3858">
                <a:extLst>
                  <a:ext uri="{FF2B5EF4-FFF2-40B4-BE49-F238E27FC236}">
                    <a16:creationId xmlns:a16="http://schemas.microsoft.com/office/drawing/2014/main" id="{D49EBF95-3F7D-3884-59B8-D620E8F8CD1D}"/>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1" name="Grafik 3858">
                <a:extLst>
                  <a:ext uri="{FF2B5EF4-FFF2-40B4-BE49-F238E27FC236}">
                    <a16:creationId xmlns:a16="http://schemas.microsoft.com/office/drawing/2014/main" id="{0FCB4C52-B397-1E50-F599-0699F290C930}"/>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58" name="Grafik 3860">
            <a:extLst>
              <a:ext uri="{FF2B5EF4-FFF2-40B4-BE49-F238E27FC236}">
                <a16:creationId xmlns:a16="http://schemas.microsoft.com/office/drawing/2014/main" id="{033BDD2B-F3D2-2C6E-0EA4-7EB06AFF0658}"/>
              </a:ext>
            </a:extLst>
          </p:cNvPr>
          <p:cNvGrpSpPr/>
          <p:nvPr/>
        </p:nvGrpSpPr>
        <p:grpSpPr bwMode="gray">
          <a:xfrm>
            <a:off x="2724270" y="3477302"/>
            <a:ext cx="374400" cy="374400"/>
            <a:chOff x="5843587" y="3176587"/>
            <a:chExt cx="500348" cy="500253"/>
          </a:xfrm>
          <a:solidFill>
            <a:schemeClr val="tx1"/>
          </a:solidFill>
        </p:grpSpPr>
        <p:grpSp>
          <p:nvGrpSpPr>
            <p:cNvPr id="259" name="Grafik 3860">
              <a:extLst>
                <a:ext uri="{FF2B5EF4-FFF2-40B4-BE49-F238E27FC236}">
                  <a16:creationId xmlns:a16="http://schemas.microsoft.com/office/drawing/2014/main" id="{93F982B6-9397-0C6D-1D5B-53F92433C1C9}"/>
                </a:ext>
              </a:extLst>
            </p:cNvPr>
            <p:cNvGrpSpPr/>
            <p:nvPr/>
          </p:nvGrpSpPr>
          <p:grpSpPr bwMode="gray">
            <a:xfrm>
              <a:off x="5968930" y="3468260"/>
              <a:ext cx="152405" cy="111424"/>
              <a:chOff x="5968930" y="3468260"/>
              <a:chExt cx="152405" cy="111424"/>
            </a:xfrm>
            <a:grpFill/>
          </p:grpSpPr>
          <p:sp>
            <p:nvSpPr>
              <p:cNvPr id="268" name="Grafik 3860">
                <a:extLst>
                  <a:ext uri="{FF2B5EF4-FFF2-40B4-BE49-F238E27FC236}">
                    <a16:creationId xmlns:a16="http://schemas.microsoft.com/office/drawing/2014/main" id="{2FED317B-EA82-56C5-F185-DF56CE993686}"/>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69" name="Grafik 3860">
                <a:extLst>
                  <a:ext uri="{FF2B5EF4-FFF2-40B4-BE49-F238E27FC236}">
                    <a16:creationId xmlns:a16="http://schemas.microsoft.com/office/drawing/2014/main" id="{E51BCEFA-793C-47C8-35E8-6CEA61BB2336}"/>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70" name="Grafik 3860">
                <a:extLst>
                  <a:ext uri="{FF2B5EF4-FFF2-40B4-BE49-F238E27FC236}">
                    <a16:creationId xmlns:a16="http://schemas.microsoft.com/office/drawing/2014/main" id="{426A13CD-9DD2-0B29-8ECD-CDB3D3D9ABF4}"/>
                  </a:ext>
                </a:extLst>
              </p:cNvPr>
              <p:cNvSpPr/>
              <p:nvPr/>
            </p:nvSpPr>
            <p:spPr bwMode="gray">
              <a:xfrm>
                <a:off x="5968930" y="3468260"/>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752 h 111424"/>
                  <a:gd name="connsiteX12" fmla="*/ 48583 w 62870"/>
                  <a:gd name="connsiteY12" fmla="*/ 64752 h 111424"/>
                  <a:gd name="connsiteX13" fmla="*/ 48583 w 62870"/>
                  <a:gd name="connsiteY13" fmla="*/ 28653 h 111424"/>
                  <a:gd name="connsiteX14" fmla="*/ 21437 w 62870"/>
                  <a:gd name="connsiteY14" fmla="*/ 64752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728" y="111425"/>
                      <a:pt x="55727" y="111425"/>
                    </a:cubicBezTo>
                    <a:close/>
                    <a:moveTo>
                      <a:pt x="21437" y="64752"/>
                    </a:moveTo>
                    <a:lnTo>
                      <a:pt x="48583" y="64752"/>
                    </a:lnTo>
                    <a:lnTo>
                      <a:pt x="48583" y="28653"/>
                    </a:lnTo>
                    <a:lnTo>
                      <a:pt x="21437" y="64752"/>
                    </a:lnTo>
                    <a:close/>
                  </a:path>
                </a:pathLst>
              </a:custGeom>
              <a:grpFill/>
              <a:ln w="9525" cap="flat">
                <a:noFill/>
                <a:prstDash val="solid"/>
                <a:miter/>
              </a:ln>
            </p:spPr>
            <p:txBody>
              <a:bodyPr rtlCol="0" anchor="ctr"/>
              <a:lstStyle/>
              <a:p>
                <a:endParaRPr lang="de-DE"/>
              </a:p>
            </p:txBody>
          </p:sp>
        </p:grpSp>
        <p:grpSp>
          <p:nvGrpSpPr>
            <p:cNvPr id="260" name="Grafik 3860">
              <a:extLst>
                <a:ext uri="{FF2B5EF4-FFF2-40B4-BE49-F238E27FC236}">
                  <a16:creationId xmlns:a16="http://schemas.microsoft.com/office/drawing/2014/main" id="{E039C7BB-90BE-5A24-5CC5-3D3DACDF264F}"/>
                </a:ext>
              </a:extLst>
            </p:cNvPr>
            <p:cNvGrpSpPr/>
            <p:nvPr/>
          </p:nvGrpSpPr>
          <p:grpSpPr bwMode="gray">
            <a:xfrm>
              <a:off x="5843587" y="3176587"/>
              <a:ext cx="500348" cy="500253"/>
              <a:chOff x="5843587" y="3176587"/>
              <a:chExt cx="500348" cy="500253"/>
            </a:xfrm>
            <a:grpFill/>
          </p:grpSpPr>
          <p:sp>
            <p:nvSpPr>
              <p:cNvPr id="266" name="Grafik 3860">
                <a:extLst>
                  <a:ext uri="{FF2B5EF4-FFF2-40B4-BE49-F238E27FC236}">
                    <a16:creationId xmlns:a16="http://schemas.microsoft.com/office/drawing/2014/main" id="{8DFEC19F-5515-5DF4-036D-36B4F4B2B57D}"/>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67" name="Grafik 3860">
                <a:extLst>
                  <a:ext uri="{FF2B5EF4-FFF2-40B4-BE49-F238E27FC236}">
                    <a16:creationId xmlns:a16="http://schemas.microsoft.com/office/drawing/2014/main" id="{439E0799-9B32-A5ED-B199-DBD02BE7B5E1}"/>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61" name="Grafik 3860">
              <a:extLst>
                <a:ext uri="{FF2B5EF4-FFF2-40B4-BE49-F238E27FC236}">
                  <a16:creationId xmlns:a16="http://schemas.microsoft.com/office/drawing/2014/main" id="{FD5F68A2-76A3-FA50-E913-F704D301FEEB}"/>
                </a:ext>
              </a:extLst>
            </p:cNvPr>
            <p:cNvGrpSpPr/>
            <p:nvPr/>
          </p:nvGrpSpPr>
          <p:grpSpPr bwMode="gray">
            <a:xfrm>
              <a:off x="6005607" y="3273837"/>
              <a:ext cx="79057" cy="149733"/>
              <a:chOff x="6005607" y="3273837"/>
              <a:chExt cx="79057" cy="149733"/>
            </a:xfrm>
            <a:grpFill/>
          </p:grpSpPr>
          <p:sp>
            <p:nvSpPr>
              <p:cNvPr id="262" name="Grafik 3860">
                <a:extLst>
                  <a:ext uri="{FF2B5EF4-FFF2-40B4-BE49-F238E27FC236}">
                    <a16:creationId xmlns:a16="http://schemas.microsoft.com/office/drawing/2014/main" id="{FCB2F166-2587-3CB7-C639-BF56B875EDCA}"/>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63" name="Grafik 3860">
                <a:extLst>
                  <a:ext uri="{FF2B5EF4-FFF2-40B4-BE49-F238E27FC236}">
                    <a16:creationId xmlns:a16="http://schemas.microsoft.com/office/drawing/2014/main" id="{819C2637-B5C3-6433-D330-D855694BFA3E}"/>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4" name="Grafik 3860">
                <a:extLst>
                  <a:ext uri="{FF2B5EF4-FFF2-40B4-BE49-F238E27FC236}">
                    <a16:creationId xmlns:a16="http://schemas.microsoft.com/office/drawing/2014/main" id="{FC6E22B9-C3D1-19F5-5B31-4D5F74904855}"/>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5" name="Grafik 3860">
                <a:extLst>
                  <a:ext uri="{FF2B5EF4-FFF2-40B4-BE49-F238E27FC236}">
                    <a16:creationId xmlns:a16="http://schemas.microsoft.com/office/drawing/2014/main" id="{6CC82CBD-55B8-9D4A-D90F-E09CDA106C85}"/>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71" name="Grafik 3862">
            <a:extLst>
              <a:ext uri="{FF2B5EF4-FFF2-40B4-BE49-F238E27FC236}">
                <a16:creationId xmlns:a16="http://schemas.microsoft.com/office/drawing/2014/main" id="{2FB0434D-6944-F46E-3D2F-1BBC032C09B0}"/>
              </a:ext>
            </a:extLst>
          </p:cNvPr>
          <p:cNvGrpSpPr/>
          <p:nvPr/>
        </p:nvGrpSpPr>
        <p:grpSpPr bwMode="gray">
          <a:xfrm>
            <a:off x="2724270" y="4014689"/>
            <a:ext cx="374400" cy="374400"/>
            <a:chOff x="5843557" y="3181326"/>
            <a:chExt cx="500279" cy="499991"/>
          </a:xfrm>
          <a:solidFill>
            <a:schemeClr val="tx1"/>
          </a:solidFill>
        </p:grpSpPr>
        <p:grpSp>
          <p:nvGrpSpPr>
            <p:cNvPr id="272" name="Grafik 3862">
              <a:extLst>
                <a:ext uri="{FF2B5EF4-FFF2-40B4-BE49-F238E27FC236}">
                  <a16:creationId xmlns:a16="http://schemas.microsoft.com/office/drawing/2014/main" id="{4E39AFA7-A3D2-9B65-14B7-6D627802CFDB}"/>
                </a:ext>
              </a:extLst>
            </p:cNvPr>
            <p:cNvGrpSpPr/>
            <p:nvPr/>
          </p:nvGrpSpPr>
          <p:grpSpPr bwMode="gray">
            <a:xfrm>
              <a:off x="5843557" y="3181326"/>
              <a:ext cx="500279" cy="499991"/>
              <a:chOff x="5843557" y="3181326"/>
              <a:chExt cx="500279" cy="499991"/>
            </a:xfrm>
            <a:grpFill/>
          </p:grpSpPr>
          <p:sp>
            <p:nvSpPr>
              <p:cNvPr id="274" name="Grafik 3862">
                <a:extLst>
                  <a:ext uri="{FF2B5EF4-FFF2-40B4-BE49-F238E27FC236}">
                    <a16:creationId xmlns:a16="http://schemas.microsoft.com/office/drawing/2014/main" id="{4DCB13A4-09E7-6643-8CD8-5DD5720445D1}"/>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75" name="Grafik 3862">
                <a:extLst>
                  <a:ext uri="{FF2B5EF4-FFF2-40B4-BE49-F238E27FC236}">
                    <a16:creationId xmlns:a16="http://schemas.microsoft.com/office/drawing/2014/main" id="{06595D26-DBAA-44F6-F37D-6CABC9616B90}"/>
                  </a:ext>
                </a:extLst>
              </p:cNvPr>
              <p:cNvGrpSpPr/>
              <p:nvPr/>
            </p:nvGrpSpPr>
            <p:grpSpPr bwMode="gray">
              <a:xfrm>
                <a:off x="6017608" y="3464718"/>
                <a:ext cx="152304" cy="111347"/>
                <a:chOff x="6017608" y="3464718"/>
                <a:chExt cx="152304" cy="111347"/>
              </a:xfrm>
              <a:grpFill/>
            </p:grpSpPr>
            <p:sp>
              <p:nvSpPr>
                <p:cNvPr id="276" name="Grafik 3862">
                  <a:extLst>
                    <a:ext uri="{FF2B5EF4-FFF2-40B4-BE49-F238E27FC236}">
                      <a16:creationId xmlns:a16="http://schemas.microsoft.com/office/drawing/2014/main" id="{C2039028-BCE6-4D86-B152-D2E0A10FEC89}"/>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77" name="Grafik 3862">
                  <a:extLst>
                    <a:ext uri="{FF2B5EF4-FFF2-40B4-BE49-F238E27FC236}">
                      <a16:creationId xmlns:a16="http://schemas.microsoft.com/office/drawing/2014/main" id="{EE390EE3-A650-7BBA-6C60-C82E150D6F18}"/>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78" name="Grafik 3862">
                  <a:extLst>
                    <a:ext uri="{FF2B5EF4-FFF2-40B4-BE49-F238E27FC236}">
                      <a16:creationId xmlns:a16="http://schemas.microsoft.com/office/drawing/2014/main" id="{2106C7B9-6552-95EC-45A5-4CC573CE707A}"/>
                    </a:ext>
                  </a:extLst>
                </p:cNvPr>
                <p:cNvSpPr/>
                <p:nvPr/>
              </p:nvSpPr>
              <p:spPr bwMode="gray">
                <a:xfrm>
                  <a:off x="6017608" y="3464718"/>
                  <a:ext cx="62865" cy="111347"/>
                </a:xfrm>
                <a:custGeom>
                  <a:avLst/>
                  <a:gdLst>
                    <a:gd name="connsiteX0" fmla="*/ 55721 w 62865"/>
                    <a:gd name="connsiteY0" fmla="*/ 111347 h 111347"/>
                    <a:gd name="connsiteX1" fmla="*/ 7144 w 62865"/>
                    <a:gd name="connsiteY1" fmla="*/ 111347 h 111347"/>
                    <a:gd name="connsiteX2" fmla="*/ 286 w 62865"/>
                    <a:gd name="connsiteY2" fmla="*/ 106108 h 111347"/>
                    <a:gd name="connsiteX3" fmla="*/ 3429 w 62865"/>
                    <a:gd name="connsiteY3" fmla="*/ 98107 h 111347"/>
                    <a:gd name="connsiteX4" fmla="*/ 48578 w 62865"/>
                    <a:gd name="connsiteY4" fmla="*/ 31432 h 111347"/>
                    <a:gd name="connsiteX5" fmla="*/ 31432 w 62865"/>
                    <a:gd name="connsiteY5" fmla="*/ 14288 h 111347"/>
                    <a:gd name="connsiteX6" fmla="*/ 14288 w 62865"/>
                    <a:gd name="connsiteY6" fmla="*/ 31432 h 111347"/>
                    <a:gd name="connsiteX7" fmla="*/ 7144 w 62865"/>
                    <a:gd name="connsiteY7" fmla="*/ 38576 h 111347"/>
                    <a:gd name="connsiteX8" fmla="*/ 0 w 62865"/>
                    <a:gd name="connsiteY8" fmla="*/ 31432 h 111347"/>
                    <a:gd name="connsiteX9" fmla="*/ 31432 w 62865"/>
                    <a:gd name="connsiteY9" fmla="*/ 0 h 111347"/>
                    <a:gd name="connsiteX10" fmla="*/ 62865 w 62865"/>
                    <a:gd name="connsiteY10" fmla="*/ 31432 h 111347"/>
                    <a:gd name="connsiteX11" fmla="*/ 28194 w 62865"/>
                    <a:gd name="connsiteY11" fmla="*/ 97060 h 111347"/>
                    <a:gd name="connsiteX12" fmla="*/ 55721 w 62865"/>
                    <a:gd name="connsiteY12" fmla="*/ 97060 h 111347"/>
                    <a:gd name="connsiteX13" fmla="*/ 62865 w 62865"/>
                    <a:gd name="connsiteY13" fmla="*/ 104203 h 111347"/>
                    <a:gd name="connsiteX14" fmla="*/ 55721 w 62865"/>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111347">
                      <a:moveTo>
                        <a:pt x="55721" y="111347"/>
                      </a:moveTo>
                      <a:lnTo>
                        <a:pt x="7144" y="111347"/>
                      </a:lnTo>
                      <a:cubicBezTo>
                        <a:pt x="3905" y="111347"/>
                        <a:pt x="1143" y="109252"/>
                        <a:pt x="286" y="106108"/>
                      </a:cubicBezTo>
                      <a:cubicBezTo>
                        <a:pt x="-572" y="103061"/>
                        <a:pt x="667" y="99727"/>
                        <a:pt x="3429" y="98107"/>
                      </a:cubicBezTo>
                      <a:cubicBezTo>
                        <a:pt x="3905" y="97822"/>
                        <a:pt x="48578" y="69914"/>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60579"/>
                        <a:pt x="43339" y="83534"/>
                        <a:pt x="28194" y="97060"/>
                      </a:cubicBezTo>
                      <a:lnTo>
                        <a:pt x="55721" y="97060"/>
                      </a:lnTo>
                      <a:cubicBezTo>
                        <a:pt x="59627" y="97060"/>
                        <a:pt x="62865" y="100298"/>
                        <a:pt x="62865" y="104203"/>
                      </a:cubicBezTo>
                      <a:cubicBezTo>
                        <a:pt x="62865" y="108109"/>
                        <a:pt x="59627" y="111347"/>
                        <a:pt x="55721" y="111347"/>
                      </a:cubicBezTo>
                      <a:close/>
                    </a:path>
                  </a:pathLst>
                </a:custGeom>
                <a:grpFill/>
                <a:ln w="9525" cap="flat">
                  <a:noFill/>
                  <a:prstDash val="solid"/>
                  <a:miter/>
                </a:ln>
              </p:spPr>
              <p:txBody>
                <a:bodyPr rtlCol="0" anchor="ctr"/>
                <a:lstStyle/>
                <a:p>
                  <a:endParaRPr lang="de-DE"/>
                </a:p>
              </p:txBody>
            </p:sp>
          </p:grpSp>
        </p:grpSp>
        <p:sp>
          <p:nvSpPr>
            <p:cNvPr id="273" name="Grafik 3862">
              <a:extLst>
                <a:ext uri="{FF2B5EF4-FFF2-40B4-BE49-F238E27FC236}">
                  <a16:creationId xmlns:a16="http://schemas.microsoft.com/office/drawing/2014/main" id="{DBAF4E8F-F5D1-5C08-E640-426ABA7F97AA}"/>
                </a:ext>
              </a:extLst>
            </p:cNvPr>
            <p:cNvSpPr/>
            <p:nvPr/>
          </p:nvSpPr>
          <p:spPr bwMode="gray">
            <a:xfrm>
              <a:off x="5843587" y="3181350"/>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grpSp>
      <p:grpSp>
        <p:nvGrpSpPr>
          <p:cNvPr id="279" name="Grafik 3864">
            <a:extLst>
              <a:ext uri="{FF2B5EF4-FFF2-40B4-BE49-F238E27FC236}">
                <a16:creationId xmlns:a16="http://schemas.microsoft.com/office/drawing/2014/main" id="{BAB8709F-2A68-9B50-A25F-FD776F997DB2}"/>
              </a:ext>
            </a:extLst>
          </p:cNvPr>
          <p:cNvGrpSpPr/>
          <p:nvPr/>
        </p:nvGrpSpPr>
        <p:grpSpPr bwMode="gray">
          <a:xfrm>
            <a:off x="2724270" y="4551232"/>
            <a:ext cx="374400" cy="374400"/>
            <a:chOff x="5843557" y="3181326"/>
            <a:chExt cx="500279" cy="499991"/>
          </a:xfrm>
          <a:solidFill>
            <a:schemeClr val="tx1"/>
          </a:solidFill>
        </p:grpSpPr>
        <p:sp>
          <p:nvSpPr>
            <p:cNvPr id="280" name="Grafik 3864">
              <a:extLst>
                <a:ext uri="{FF2B5EF4-FFF2-40B4-BE49-F238E27FC236}">
                  <a16:creationId xmlns:a16="http://schemas.microsoft.com/office/drawing/2014/main" id="{1F8DE5B0-60E4-A340-3CA5-84944790F86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81" name="Grafik 3864">
              <a:extLst>
                <a:ext uri="{FF2B5EF4-FFF2-40B4-BE49-F238E27FC236}">
                  <a16:creationId xmlns:a16="http://schemas.microsoft.com/office/drawing/2014/main" id="{8FA80F36-D463-25B0-70FA-196CC8846192}"/>
                </a:ext>
              </a:extLst>
            </p:cNvPr>
            <p:cNvGrpSpPr/>
            <p:nvPr/>
          </p:nvGrpSpPr>
          <p:grpSpPr bwMode="gray">
            <a:xfrm>
              <a:off x="6017608" y="3464718"/>
              <a:ext cx="152304" cy="111347"/>
              <a:chOff x="6017608" y="3464718"/>
              <a:chExt cx="152304" cy="111347"/>
            </a:xfrm>
            <a:grpFill/>
          </p:grpSpPr>
          <p:sp>
            <p:nvSpPr>
              <p:cNvPr id="282" name="Grafik 3864">
                <a:extLst>
                  <a:ext uri="{FF2B5EF4-FFF2-40B4-BE49-F238E27FC236}">
                    <a16:creationId xmlns:a16="http://schemas.microsoft.com/office/drawing/2014/main" id="{B6EB3E3A-06FC-E7EE-A902-30960C389BF2}"/>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83" name="Grafik 3864">
                <a:extLst>
                  <a:ext uri="{FF2B5EF4-FFF2-40B4-BE49-F238E27FC236}">
                    <a16:creationId xmlns:a16="http://schemas.microsoft.com/office/drawing/2014/main" id="{73C7FDF3-11A7-28B1-374B-DE8CA46E1840}"/>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84" name="Grafik 3864">
                <a:extLst>
                  <a:ext uri="{FF2B5EF4-FFF2-40B4-BE49-F238E27FC236}">
                    <a16:creationId xmlns:a16="http://schemas.microsoft.com/office/drawing/2014/main" id="{90C78D4A-63BA-67E1-0DAC-7751AF15F245}"/>
                  </a:ext>
                </a:extLst>
              </p:cNvPr>
              <p:cNvSpPr/>
              <p:nvPr/>
            </p:nvSpPr>
            <p:spPr bwMode="gray">
              <a:xfrm>
                <a:off x="6017608" y="3464718"/>
                <a:ext cx="62865" cy="62864"/>
              </a:xfrm>
              <a:custGeom>
                <a:avLst/>
                <a:gdLst>
                  <a:gd name="connsiteX0" fmla="*/ 31432 w 62865"/>
                  <a:gd name="connsiteY0" fmla="*/ 62865 h 62864"/>
                  <a:gd name="connsiteX1" fmla="*/ 24289 w 62865"/>
                  <a:gd name="connsiteY1" fmla="*/ 55721 h 62864"/>
                  <a:gd name="connsiteX2" fmla="*/ 31432 w 62865"/>
                  <a:gd name="connsiteY2" fmla="*/ 48577 h 62864"/>
                  <a:gd name="connsiteX3" fmla="*/ 48578 w 62865"/>
                  <a:gd name="connsiteY3" fmla="*/ 31432 h 62864"/>
                  <a:gd name="connsiteX4" fmla="*/ 31432 w 62865"/>
                  <a:gd name="connsiteY4" fmla="*/ 14288 h 62864"/>
                  <a:gd name="connsiteX5" fmla="*/ 14288 w 62865"/>
                  <a:gd name="connsiteY5" fmla="*/ 31432 h 62864"/>
                  <a:gd name="connsiteX6" fmla="*/ 7144 w 62865"/>
                  <a:gd name="connsiteY6" fmla="*/ 38576 h 62864"/>
                  <a:gd name="connsiteX7" fmla="*/ 0 w 62865"/>
                  <a:gd name="connsiteY7" fmla="*/ 31432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27527" y="62865"/>
                      <a:pt x="24289" y="59626"/>
                      <a:pt x="24289" y="55721"/>
                    </a:cubicBezTo>
                    <a:cubicBezTo>
                      <a:pt x="24289" y="51816"/>
                      <a:pt x="27527" y="48577"/>
                      <a:pt x="31432" y="48577"/>
                    </a:cubicBezTo>
                    <a:cubicBezTo>
                      <a:pt x="40862" y="48577"/>
                      <a:pt x="48578" y="40862"/>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85" name="Grafik 3864">
                <a:extLst>
                  <a:ext uri="{FF2B5EF4-FFF2-40B4-BE49-F238E27FC236}">
                    <a16:creationId xmlns:a16="http://schemas.microsoft.com/office/drawing/2014/main" id="{9BB4FF58-7B89-5954-20BA-74E640C9B9B3}"/>
                  </a:ext>
                </a:extLst>
              </p:cNvPr>
              <p:cNvSpPr/>
              <p:nvPr/>
            </p:nvSpPr>
            <p:spPr bwMode="gray">
              <a:xfrm>
                <a:off x="6017608" y="3513201"/>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grpSp>
        <p:nvGrpSpPr>
          <p:cNvPr id="286" name="Grafik 3866">
            <a:extLst>
              <a:ext uri="{FF2B5EF4-FFF2-40B4-BE49-F238E27FC236}">
                <a16:creationId xmlns:a16="http://schemas.microsoft.com/office/drawing/2014/main" id="{D23362FD-0FDE-84FD-42DF-66CEC3B6DC66}"/>
              </a:ext>
            </a:extLst>
          </p:cNvPr>
          <p:cNvGrpSpPr/>
          <p:nvPr/>
        </p:nvGrpSpPr>
        <p:grpSpPr bwMode="gray">
          <a:xfrm>
            <a:off x="2724270" y="5083519"/>
            <a:ext cx="374400" cy="374400"/>
            <a:chOff x="5843557" y="3181326"/>
            <a:chExt cx="500279" cy="499991"/>
          </a:xfrm>
          <a:solidFill>
            <a:schemeClr val="tx1"/>
          </a:solidFill>
        </p:grpSpPr>
        <p:sp>
          <p:nvSpPr>
            <p:cNvPr id="287" name="Grafik 3866">
              <a:extLst>
                <a:ext uri="{FF2B5EF4-FFF2-40B4-BE49-F238E27FC236}">
                  <a16:creationId xmlns:a16="http://schemas.microsoft.com/office/drawing/2014/main" id="{7FA0CDBF-23AF-0392-3210-A5111B9A242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sp>
          <p:nvSpPr>
            <p:cNvPr id="288" name="Grafik 3866">
              <a:extLst>
                <a:ext uri="{FF2B5EF4-FFF2-40B4-BE49-F238E27FC236}">
                  <a16:creationId xmlns:a16="http://schemas.microsoft.com/office/drawing/2014/main" id="{8E5D22B0-C271-9954-B290-A0AA09D0B766}"/>
                </a:ext>
              </a:extLst>
            </p:cNvPr>
            <p:cNvSpPr/>
            <p:nvPr/>
          </p:nvSpPr>
          <p:spPr bwMode="gray">
            <a:xfrm>
              <a:off x="6123241" y="3464718"/>
              <a:ext cx="46672" cy="46672"/>
            </a:xfrm>
            <a:custGeom>
              <a:avLst/>
              <a:gdLst>
                <a:gd name="connsiteX0" fmla="*/ 39529 w 46672"/>
                <a:gd name="connsiteY0" fmla="*/ 46673 h 46672"/>
                <a:gd name="connsiteX1" fmla="*/ 32385 w 46672"/>
                <a:gd name="connsiteY1" fmla="*/ 39529 h 46672"/>
                <a:gd name="connsiteX2" fmla="*/ 7144 w 46672"/>
                <a:gd name="connsiteY2" fmla="*/ 14288 h 46672"/>
                <a:gd name="connsiteX3" fmla="*/ 0 w 46672"/>
                <a:gd name="connsiteY3" fmla="*/ 7144 h 46672"/>
                <a:gd name="connsiteX4" fmla="*/ 7144 w 46672"/>
                <a:gd name="connsiteY4" fmla="*/ 0 h 46672"/>
                <a:gd name="connsiteX5" fmla="*/ 46672 w 46672"/>
                <a:gd name="connsiteY5" fmla="*/ 39529 h 46672"/>
                <a:gd name="connsiteX6" fmla="*/ 39529 w 46672"/>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46672">
                  <a:moveTo>
                    <a:pt x="39529" y="46673"/>
                  </a:moveTo>
                  <a:cubicBezTo>
                    <a:pt x="35623" y="46673"/>
                    <a:pt x="32385" y="43434"/>
                    <a:pt x="32385" y="39529"/>
                  </a:cubicBezTo>
                  <a:cubicBezTo>
                    <a:pt x="32385" y="25622"/>
                    <a:pt x="21050" y="14288"/>
                    <a:pt x="7144" y="14288"/>
                  </a:cubicBezTo>
                  <a:cubicBezTo>
                    <a:pt x="3239" y="14288"/>
                    <a:pt x="0" y="11049"/>
                    <a:pt x="0" y="7144"/>
                  </a:cubicBezTo>
                  <a:cubicBezTo>
                    <a:pt x="0" y="3239"/>
                    <a:pt x="3239" y="0"/>
                    <a:pt x="7144" y="0"/>
                  </a:cubicBezTo>
                  <a:cubicBezTo>
                    <a:pt x="28956" y="0"/>
                    <a:pt x="46672" y="17717"/>
                    <a:pt x="46672" y="39529"/>
                  </a:cubicBezTo>
                  <a:cubicBezTo>
                    <a:pt x="46672" y="43434"/>
                    <a:pt x="43434" y="46673"/>
                    <a:pt x="39529" y="46673"/>
                  </a:cubicBezTo>
                  <a:close/>
                </a:path>
              </a:pathLst>
            </a:custGeom>
            <a:grpFill/>
            <a:ln w="9525" cap="flat">
              <a:noFill/>
              <a:prstDash val="solid"/>
              <a:miter/>
            </a:ln>
          </p:spPr>
          <p:txBody>
            <a:bodyPr rtlCol="0" anchor="ctr"/>
            <a:lstStyle/>
            <a:p>
              <a:endParaRPr lang="de-DE"/>
            </a:p>
          </p:txBody>
        </p:sp>
        <p:sp>
          <p:nvSpPr>
            <p:cNvPr id="289" name="Grafik 3866">
              <a:extLst>
                <a:ext uri="{FF2B5EF4-FFF2-40B4-BE49-F238E27FC236}">
                  <a16:creationId xmlns:a16="http://schemas.microsoft.com/office/drawing/2014/main" id="{1BD38398-39BA-938A-AB2F-2B9BBEE4EA2B}"/>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46673 w 79057"/>
                <a:gd name="connsiteY4" fmla="*/ 7144 h 111347"/>
                <a:gd name="connsiteX5" fmla="*/ 39529 w 79057"/>
                <a:gd name="connsiteY5" fmla="*/ 14288 h 111347"/>
                <a:gd name="connsiteX6" fmla="*/ 14288 w 79057"/>
                <a:gd name="connsiteY6" fmla="*/ 39529 h 111347"/>
                <a:gd name="connsiteX7" fmla="*/ 14288 w 79057"/>
                <a:gd name="connsiteY7" fmla="*/ 71819 h 111347"/>
                <a:gd name="connsiteX8" fmla="*/ 39529 w 79057"/>
                <a:gd name="connsiteY8" fmla="*/ 97060 h 111347"/>
                <a:gd name="connsiteX9" fmla="*/ 64770 w 79057"/>
                <a:gd name="connsiteY9" fmla="*/ 71819 h 111347"/>
                <a:gd name="connsiteX10" fmla="*/ 71914 w 79057"/>
                <a:gd name="connsiteY10" fmla="*/ 64675 h 111347"/>
                <a:gd name="connsiteX11" fmla="*/ 79057 w 79057"/>
                <a:gd name="connsiteY11" fmla="*/ 71819 h 111347"/>
                <a:gd name="connsiteX12" fmla="*/ 39529 w 79057"/>
                <a:gd name="connsiteY12"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057" h="111347">
                  <a:moveTo>
                    <a:pt x="39529" y="111347"/>
                  </a:moveTo>
                  <a:cubicBezTo>
                    <a:pt x="17717" y="111347"/>
                    <a:pt x="0" y="93631"/>
                    <a:pt x="0" y="71819"/>
                  </a:cubicBezTo>
                  <a:lnTo>
                    <a:pt x="0" y="39529"/>
                  </a:lnTo>
                  <a:cubicBezTo>
                    <a:pt x="0" y="17717"/>
                    <a:pt x="17717" y="0"/>
                    <a:pt x="39529" y="0"/>
                  </a:cubicBezTo>
                  <a:cubicBezTo>
                    <a:pt x="43434" y="0"/>
                    <a:pt x="46673" y="3239"/>
                    <a:pt x="46673" y="7144"/>
                  </a:cubicBezTo>
                  <a:cubicBezTo>
                    <a:pt x="46673" y="11049"/>
                    <a:pt x="43434"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90" name="Grafik 3866">
              <a:extLst>
                <a:ext uri="{FF2B5EF4-FFF2-40B4-BE49-F238E27FC236}">
                  <a16:creationId xmlns:a16="http://schemas.microsoft.com/office/drawing/2014/main" id="{875D0BAB-DDE2-99CE-28FE-9D52A12507E2}"/>
                </a:ext>
              </a:extLst>
            </p:cNvPr>
            <p:cNvSpPr/>
            <p:nvPr/>
          </p:nvSpPr>
          <p:spPr bwMode="gray">
            <a:xfrm>
              <a:off x="6017602" y="3464641"/>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657 h 111424"/>
                <a:gd name="connsiteX12" fmla="*/ 48583 w 62870"/>
                <a:gd name="connsiteY12" fmla="*/ 64657 h 111424"/>
                <a:gd name="connsiteX13" fmla="*/ 48583 w 62870"/>
                <a:gd name="connsiteY13" fmla="*/ 28557 h 111424"/>
                <a:gd name="connsiteX14" fmla="*/ 21437 w 62870"/>
                <a:gd name="connsiteY14" fmla="*/ 64657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632" y="111425"/>
                    <a:pt x="55727" y="111425"/>
                  </a:cubicBezTo>
                  <a:close/>
                  <a:moveTo>
                    <a:pt x="21437" y="64657"/>
                  </a:moveTo>
                  <a:lnTo>
                    <a:pt x="48583" y="64657"/>
                  </a:lnTo>
                  <a:lnTo>
                    <a:pt x="48583" y="28557"/>
                  </a:lnTo>
                  <a:lnTo>
                    <a:pt x="21437" y="64657"/>
                  </a:lnTo>
                  <a:close/>
                </a:path>
              </a:pathLst>
            </a:custGeom>
            <a:grpFill/>
            <a:ln w="9525" cap="flat">
              <a:noFill/>
              <a:prstDash val="solid"/>
              <a:miter/>
            </a:ln>
          </p:spPr>
          <p:txBody>
            <a:bodyPr rtlCol="0" anchor="ctr"/>
            <a:lstStyle/>
            <a:p>
              <a:endParaRPr lang="de-DE"/>
            </a:p>
          </p:txBody>
        </p:sp>
        <p:sp>
          <p:nvSpPr>
            <p:cNvPr id="291" name="Grafik 3866">
              <a:extLst>
                <a:ext uri="{FF2B5EF4-FFF2-40B4-BE49-F238E27FC236}">
                  <a16:creationId xmlns:a16="http://schemas.microsoft.com/office/drawing/2014/main" id="{6F96DE86-F291-03BA-0C55-67FC2217DC14}"/>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grpSp>
      <p:sp>
        <p:nvSpPr>
          <p:cNvPr id="292" name="Text Box 59">
            <a:extLst>
              <a:ext uri="{FF2B5EF4-FFF2-40B4-BE49-F238E27FC236}">
                <a16:creationId xmlns:a16="http://schemas.microsoft.com/office/drawing/2014/main" id="{F9065056-73AC-2089-51F1-89A1FEC5A984}"/>
              </a:ext>
            </a:extLst>
          </p:cNvPr>
          <p:cNvSpPr txBox="1">
            <a:spLocks noChangeArrowheads="1"/>
          </p:cNvSpPr>
          <p:nvPr/>
        </p:nvSpPr>
        <p:spPr bwMode="auto">
          <a:xfrm>
            <a:off x="5668571" y="4097338"/>
            <a:ext cx="4536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GSN</a:t>
            </a:r>
          </a:p>
        </p:txBody>
      </p:sp>
      <p:sp>
        <p:nvSpPr>
          <p:cNvPr id="293" name="Text Box 59">
            <a:extLst>
              <a:ext uri="{FF2B5EF4-FFF2-40B4-BE49-F238E27FC236}">
                <a16:creationId xmlns:a16="http://schemas.microsoft.com/office/drawing/2014/main" id="{9F0E16BC-416E-1EF9-2767-A75334ED0838}"/>
              </a:ext>
            </a:extLst>
          </p:cNvPr>
          <p:cNvSpPr txBox="1">
            <a:spLocks noChangeArrowheads="1"/>
          </p:cNvSpPr>
          <p:nvPr/>
        </p:nvSpPr>
        <p:spPr bwMode="auto">
          <a:xfrm>
            <a:off x="5668571" y="4643438"/>
            <a:ext cx="34144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C</a:t>
            </a:r>
          </a:p>
        </p:txBody>
      </p:sp>
      <p:grpSp>
        <p:nvGrpSpPr>
          <p:cNvPr id="294" name="Grafik 3870">
            <a:extLst>
              <a:ext uri="{FF2B5EF4-FFF2-40B4-BE49-F238E27FC236}">
                <a16:creationId xmlns:a16="http://schemas.microsoft.com/office/drawing/2014/main" id="{8DEB1393-C858-1062-1F41-C5740F2E6B44}"/>
              </a:ext>
            </a:extLst>
          </p:cNvPr>
          <p:cNvGrpSpPr/>
          <p:nvPr/>
        </p:nvGrpSpPr>
        <p:grpSpPr bwMode="gray">
          <a:xfrm>
            <a:off x="5130236" y="1327754"/>
            <a:ext cx="374400" cy="374400"/>
            <a:chOff x="5843587" y="3176587"/>
            <a:chExt cx="500253" cy="500253"/>
          </a:xfrm>
          <a:solidFill>
            <a:schemeClr val="tx1"/>
          </a:solidFill>
        </p:grpSpPr>
        <p:sp>
          <p:nvSpPr>
            <p:cNvPr id="295" name="Grafik 3870">
              <a:extLst>
                <a:ext uri="{FF2B5EF4-FFF2-40B4-BE49-F238E27FC236}">
                  <a16:creationId xmlns:a16="http://schemas.microsoft.com/office/drawing/2014/main" id="{8FF2BE2C-6DD8-6E87-BA57-1EE7C3E28D51}"/>
                </a:ext>
              </a:extLst>
            </p:cNvPr>
            <p:cNvSpPr/>
            <p:nvPr/>
          </p:nvSpPr>
          <p:spPr bwMode="gray">
            <a:xfrm>
              <a:off x="602179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6" name="Grafik 3870">
              <a:extLst>
                <a:ext uri="{FF2B5EF4-FFF2-40B4-BE49-F238E27FC236}">
                  <a16:creationId xmlns:a16="http://schemas.microsoft.com/office/drawing/2014/main" id="{A27D6502-31C5-5366-12CB-D9120FDAA43C}"/>
                </a:ext>
              </a:extLst>
            </p:cNvPr>
            <p:cNvSpPr/>
            <p:nvPr/>
          </p:nvSpPr>
          <p:spPr bwMode="gray">
            <a:xfrm>
              <a:off x="608656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297" name="Grafik 3870">
              <a:extLst>
                <a:ext uri="{FF2B5EF4-FFF2-40B4-BE49-F238E27FC236}">
                  <a16:creationId xmlns:a16="http://schemas.microsoft.com/office/drawing/2014/main" id="{995FD422-6BB5-B62F-5270-2B2F7079AD69}"/>
                </a:ext>
              </a:extLst>
            </p:cNvPr>
            <p:cNvSpPr/>
            <p:nvPr/>
          </p:nvSpPr>
          <p:spPr bwMode="gray">
            <a:xfrm>
              <a:off x="615143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8" name="Grafik 3870">
              <a:extLst>
                <a:ext uri="{FF2B5EF4-FFF2-40B4-BE49-F238E27FC236}">
                  <a16:creationId xmlns:a16="http://schemas.microsoft.com/office/drawing/2014/main" id="{BB819988-DD49-135B-D75C-31EDD32ECE20}"/>
                </a:ext>
              </a:extLst>
            </p:cNvPr>
            <p:cNvSpPr/>
            <p:nvPr/>
          </p:nvSpPr>
          <p:spPr bwMode="gray">
            <a:xfrm>
              <a:off x="595702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9" name="Grafik 3870">
              <a:extLst>
                <a:ext uri="{FF2B5EF4-FFF2-40B4-BE49-F238E27FC236}">
                  <a16:creationId xmlns:a16="http://schemas.microsoft.com/office/drawing/2014/main" id="{96970D1F-3669-A8E0-2CD6-4DFFEABC6777}"/>
                </a:ext>
              </a:extLst>
            </p:cNvPr>
            <p:cNvSpPr/>
            <p:nvPr/>
          </p:nvSpPr>
          <p:spPr bwMode="gray">
            <a:xfrm>
              <a:off x="589216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sp>
          <p:nvSpPr>
            <p:cNvPr id="300" name="Grafik 3870">
              <a:extLst>
                <a:ext uri="{FF2B5EF4-FFF2-40B4-BE49-F238E27FC236}">
                  <a16:creationId xmlns:a16="http://schemas.microsoft.com/office/drawing/2014/main" id="{457231F1-D8D0-E1E3-D205-C927B7DFB83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1" name="Grafik 3870">
              <a:extLst>
                <a:ext uri="{FF2B5EF4-FFF2-40B4-BE49-F238E27FC236}">
                  <a16:creationId xmlns:a16="http://schemas.microsoft.com/office/drawing/2014/main" id="{61CD370F-C087-65B0-F323-06D9BB5848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2" name="Grafik 3870">
              <a:extLst>
                <a:ext uri="{FF2B5EF4-FFF2-40B4-BE49-F238E27FC236}">
                  <a16:creationId xmlns:a16="http://schemas.microsoft.com/office/drawing/2014/main" id="{F4511C02-85C2-41E6-F8F8-E26C6907605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3" name="Grafik 3870">
              <a:extLst>
                <a:ext uri="{FF2B5EF4-FFF2-40B4-BE49-F238E27FC236}">
                  <a16:creationId xmlns:a16="http://schemas.microsoft.com/office/drawing/2014/main" id="{0664D050-DEB1-84B2-EF5C-A54F490DC97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3870">
              <a:extLst>
                <a:ext uri="{FF2B5EF4-FFF2-40B4-BE49-F238E27FC236}">
                  <a16:creationId xmlns:a16="http://schemas.microsoft.com/office/drawing/2014/main" id="{64248044-9F77-60F7-7405-3994FFACA3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5" name="Grafik 3872">
            <a:extLst>
              <a:ext uri="{FF2B5EF4-FFF2-40B4-BE49-F238E27FC236}">
                <a16:creationId xmlns:a16="http://schemas.microsoft.com/office/drawing/2014/main" id="{C67D7DDD-E9AA-A5CB-B3E2-888FBE440366}"/>
              </a:ext>
            </a:extLst>
          </p:cNvPr>
          <p:cNvGrpSpPr/>
          <p:nvPr/>
        </p:nvGrpSpPr>
        <p:grpSpPr bwMode="gray">
          <a:xfrm>
            <a:off x="5130236" y="1865000"/>
            <a:ext cx="374400" cy="374400"/>
            <a:chOff x="5843548" y="3176587"/>
            <a:chExt cx="500291" cy="500253"/>
          </a:xfrm>
          <a:solidFill>
            <a:schemeClr val="tx1"/>
          </a:solidFill>
        </p:grpSpPr>
        <p:grpSp>
          <p:nvGrpSpPr>
            <p:cNvPr id="306" name="Grafik 3872">
              <a:extLst>
                <a:ext uri="{FF2B5EF4-FFF2-40B4-BE49-F238E27FC236}">
                  <a16:creationId xmlns:a16="http://schemas.microsoft.com/office/drawing/2014/main" id="{F673842B-C7B8-9AAD-F42E-2880CF0BEE83}"/>
                </a:ext>
              </a:extLst>
            </p:cNvPr>
            <p:cNvGrpSpPr/>
            <p:nvPr/>
          </p:nvGrpSpPr>
          <p:grpSpPr bwMode="gray">
            <a:xfrm>
              <a:off x="5843587" y="3176587"/>
              <a:ext cx="500253" cy="500253"/>
              <a:chOff x="5843587" y="3176587"/>
              <a:chExt cx="500253" cy="500253"/>
            </a:xfrm>
            <a:grpFill/>
          </p:grpSpPr>
          <p:sp>
            <p:nvSpPr>
              <p:cNvPr id="309" name="Grafik 3872">
                <a:extLst>
                  <a:ext uri="{FF2B5EF4-FFF2-40B4-BE49-F238E27FC236}">
                    <a16:creationId xmlns:a16="http://schemas.microsoft.com/office/drawing/2014/main" id="{C0471E1B-477F-EA0A-599D-1D54BD6D1307}"/>
                  </a:ext>
                </a:extLst>
              </p:cNvPr>
              <p:cNvSpPr/>
              <p:nvPr/>
            </p:nvSpPr>
            <p:spPr bwMode="gray">
              <a:xfrm>
                <a:off x="602179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0" name="Grafik 3872">
                <a:extLst>
                  <a:ext uri="{FF2B5EF4-FFF2-40B4-BE49-F238E27FC236}">
                    <a16:creationId xmlns:a16="http://schemas.microsoft.com/office/drawing/2014/main" id="{A6F49492-A126-40B1-6EBE-82ED75D5D37A}"/>
                  </a:ext>
                </a:extLst>
              </p:cNvPr>
              <p:cNvSpPr/>
              <p:nvPr/>
            </p:nvSpPr>
            <p:spPr bwMode="gray">
              <a:xfrm>
                <a:off x="608656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0" y="14192"/>
                      <a:pt x="39529" y="14192"/>
                    </a:cubicBezTo>
                    <a:close/>
                  </a:path>
                </a:pathLst>
              </a:custGeom>
              <a:grpFill/>
              <a:ln w="9525" cap="flat">
                <a:noFill/>
                <a:prstDash val="solid"/>
                <a:miter/>
              </a:ln>
            </p:spPr>
            <p:txBody>
              <a:bodyPr rtlCol="0" anchor="ctr"/>
              <a:lstStyle/>
              <a:p>
                <a:endParaRPr lang="de-DE"/>
              </a:p>
            </p:txBody>
          </p:sp>
          <p:sp>
            <p:nvSpPr>
              <p:cNvPr id="311" name="Grafik 3872">
                <a:extLst>
                  <a:ext uri="{FF2B5EF4-FFF2-40B4-BE49-F238E27FC236}">
                    <a16:creationId xmlns:a16="http://schemas.microsoft.com/office/drawing/2014/main" id="{60BDD31B-6780-D4B2-1460-C5AAD3A72556}"/>
                  </a:ext>
                </a:extLst>
              </p:cNvPr>
              <p:cNvSpPr/>
              <p:nvPr/>
            </p:nvSpPr>
            <p:spPr bwMode="gray">
              <a:xfrm>
                <a:off x="615143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2" name="Grafik 3872">
                <a:extLst>
                  <a:ext uri="{FF2B5EF4-FFF2-40B4-BE49-F238E27FC236}">
                    <a16:creationId xmlns:a16="http://schemas.microsoft.com/office/drawing/2014/main" id="{FDAB8203-AF35-A4AF-C5A9-24EC1A66AC6E}"/>
                  </a:ext>
                </a:extLst>
              </p:cNvPr>
              <p:cNvSpPr/>
              <p:nvPr/>
            </p:nvSpPr>
            <p:spPr bwMode="gray">
              <a:xfrm>
                <a:off x="595702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3" name="Grafik 3872">
                <a:extLst>
                  <a:ext uri="{FF2B5EF4-FFF2-40B4-BE49-F238E27FC236}">
                    <a16:creationId xmlns:a16="http://schemas.microsoft.com/office/drawing/2014/main" id="{EF3F89C5-6AF7-03CE-F7C6-41826FE0C57B}"/>
                  </a:ext>
                </a:extLst>
              </p:cNvPr>
              <p:cNvSpPr/>
              <p:nvPr/>
            </p:nvSpPr>
            <p:spPr bwMode="gray">
              <a:xfrm>
                <a:off x="589216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1" y="14192"/>
                      <a:pt x="39529" y="14192"/>
                    </a:cubicBezTo>
                    <a:close/>
                  </a:path>
                </a:pathLst>
              </a:custGeom>
              <a:grpFill/>
              <a:ln w="9525" cap="flat">
                <a:noFill/>
                <a:prstDash val="solid"/>
                <a:miter/>
              </a:ln>
            </p:spPr>
            <p:txBody>
              <a:bodyPr rtlCol="0" anchor="ctr"/>
              <a:lstStyle/>
              <a:p>
                <a:endParaRPr lang="de-DE"/>
              </a:p>
            </p:txBody>
          </p:sp>
          <p:sp>
            <p:nvSpPr>
              <p:cNvPr id="314" name="Grafik 3872">
                <a:extLst>
                  <a:ext uri="{FF2B5EF4-FFF2-40B4-BE49-F238E27FC236}">
                    <a16:creationId xmlns:a16="http://schemas.microsoft.com/office/drawing/2014/main" id="{86A81004-75FE-0046-BB64-D89F219CFD1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14288 w 435483"/>
                  <a:gd name="connsiteY5" fmla="*/ 7144 h 435483"/>
                  <a:gd name="connsiteX6" fmla="*/ 14288 w 435483"/>
                  <a:gd name="connsiteY6" fmla="*/ 421196 h 435483"/>
                  <a:gd name="connsiteX7" fmla="*/ 421196 w 435483"/>
                  <a:gd name="connsiteY7" fmla="*/ 421196 h 435483"/>
                  <a:gd name="connsiteX8" fmla="*/ 421196 w 435483"/>
                  <a:gd name="connsiteY8" fmla="*/ 7144 h 435483"/>
                  <a:gd name="connsiteX9" fmla="*/ 428339 w 435483"/>
                  <a:gd name="connsiteY9" fmla="*/ 0 h 435483"/>
                  <a:gd name="connsiteX10" fmla="*/ 435483 w 435483"/>
                  <a:gd name="connsiteY10" fmla="*/ 7144 h 435483"/>
                  <a:gd name="connsiteX11" fmla="*/ 435483 w 435483"/>
                  <a:gd name="connsiteY11" fmla="*/ 428339 h 435483"/>
                  <a:gd name="connsiteX12" fmla="*/ 428339 w 435483"/>
                  <a:gd name="connsiteY12"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cubicBezTo>
                      <a:pt x="11049" y="0"/>
                      <a:pt x="14288" y="3238"/>
                      <a:pt x="14288" y="7144"/>
                    </a:cubicBezTo>
                    <a:lnTo>
                      <a:pt x="14288" y="421196"/>
                    </a:lnTo>
                    <a:lnTo>
                      <a:pt x="421196" y="421196"/>
                    </a:lnTo>
                    <a:lnTo>
                      <a:pt x="421196" y="7144"/>
                    </a:lnTo>
                    <a:cubicBezTo>
                      <a:pt x="421196" y="3238"/>
                      <a:pt x="424434" y="0"/>
                      <a:pt x="428339" y="0"/>
                    </a:cubicBezTo>
                    <a:cubicBezTo>
                      <a:pt x="432245" y="0"/>
                      <a:pt x="435483" y="3238"/>
                      <a:pt x="435483" y="7144"/>
                    </a:cubicBezTo>
                    <a:lnTo>
                      <a:pt x="435483" y="428339"/>
                    </a:lnTo>
                    <a:cubicBezTo>
                      <a:pt x="435483" y="432340"/>
                      <a:pt x="432245" y="435483"/>
                      <a:pt x="428339" y="435483"/>
                    </a:cubicBezTo>
                    <a:close/>
                  </a:path>
                </a:pathLst>
              </a:custGeom>
              <a:grpFill/>
              <a:ln w="9525" cap="flat">
                <a:noFill/>
                <a:prstDash val="solid"/>
                <a:miter/>
              </a:ln>
            </p:spPr>
            <p:txBody>
              <a:bodyPr rtlCol="0" anchor="ctr"/>
              <a:lstStyle/>
              <a:p>
                <a:endParaRPr lang="de-DE"/>
              </a:p>
            </p:txBody>
          </p:sp>
          <p:sp>
            <p:nvSpPr>
              <p:cNvPr id="315" name="Grafik 3872">
                <a:extLst>
                  <a:ext uri="{FF2B5EF4-FFF2-40B4-BE49-F238E27FC236}">
                    <a16:creationId xmlns:a16="http://schemas.microsoft.com/office/drawing/2014/main" id="{C658ED40-8C1F-BA00-FA02-646C418B1B6D}"/>
                  </a:ext>
                </a:extLst>
              </p:cNvPr>
              <p:cNvSpPr/>
              <p:nvPr/>
            </p:nvSpPr>
            <p:spPr bwMode="gray">
              <a:xfrm>
                <a:off x="6329552" y="3176587"/>
                <a:ext cx="14287" cy="435483"/>
              </a:xfrm>
              <a:custGeom>
                <a:avLst/>
                <a:gdLst>
                  <a:gd name="connsiteX0" fmla="*/ 7144 w 14287"/>
                  <a:gd name="connsiteY0" fmla="*/ 435483 h 435483"/>
                  <a:gd name="connsiteX1" fmla="*/ 0 w 14287"/>
                  <a:gd name="connsiteY1" fmla="*/ 428339 h 435483"/>
                  <a:gd name="connsiteX2" fmla="*/ 0 w 14287"/>
                  <a:gd name="connsiteY2" fmla="*/ 7144 h 435483"/>
                  <a:gd name="connsiteX3" fmla="*/ 7144 w 14287"/>
                  <a:gd name="connsiteY3" fmla="*/ 0 h 435483"/>
                  <a:gd name="connsiteX4" fmla="*/ 14288 w 14287"/>
                  <a:gd name="connsiteY4" fmla="*/ 7144 h 435483"/>
                  <a:gd name="connsiteX5" fmla="*/ 14288 w 14287"/>
                  <a:gd name="connsiteY5" fmla="*/ 428339 h 435483"/>
                  <a:gd name="connsiteX6" fmla="*/ 7144 w 14287"/>
                  <a:gd name="connsiteY6"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5483">
                    <a:moveTo>
                      <a:pt x="7144" y="435483"/>
                    </a:moveTo>
                    <a:cubicBezTo>
                      <a:pt x="3239" y="435483"/>
                      <a:pt x="0" y="432245"/>
                      <a:pt x="0" y="428339"/>
                    </a:cubicBezTo>
                    <a:lnTo>
                      <a:pt x="0" y="7144"/>
                    </a:lnTo>
                    <a:cubicBezTo>
                      <a:pt x="0" y="3239"/>
                      <a:pt x="3239" y="0"/>
                      <a:pt x="7144" y="0"/>
                    </a:cubicBezTo>
                    <a:cubicBezTo>
                      <a:pt x="11049" y="0"/>
                      <a:pt x="14288" y="3239"/>
                      <a:pt x="14288" y="7144"/>
                    </a:cubicBezTo>
                    <a:lnTo>
                      <a:pt x="14288" y="428339"/>
                    </a:lnTo>
                    <a:cubicBezTo>
                      <a:pt x="14288" y="432245"/>
                      <a:pt x="11144" y="435483"/>
                      <a:pt x="7144" y="435483"/>
                    </a:cubicBezTo>
                    <a:close/>
                  </a:path>
                </a:pathLst>
              </a:custGeom>
              <a:grpFill/>
              <a:ln w="9525" cap="flat">
                <a:noFill/>
                <a:prstDash val="solid"/>
                <a:miter/>
              </a:ln>
            </p:spPr>
            <p:txBody>
              <a:bodyPr rtlCol="0" anchor="ctr"/>
              <a:lstStyle/>
              <a:p>
                <a:endParaRPr lang="de-DE"/>
              </a:p>
            </p:txBody>
          </p:sp>
          <p:sp>
            <p:nvSpPr>
              <p:cNvPr id="316" name="Grafik 3872">
                <a:extLst>
                  <a:ext uri="{FF2B5EF4-FFF2-40B4-BE49-F238E27FC236}">
                    <a16:creationId xmlns:a16="http://schemas.microsoft.com/office/drawing/2014/main" id="{379739FA-19F8-A7A5-9801-1CEE082691EC}"/>
                  </a:ext>
                </a:extLst>
              </p:cNvPr>
              <p:cNvSpPr/>
              <p:nvPr/>
            </p:nvSpPr>
            <p:spPr bwMode="gray">
              <a:xfrm>
                <a:off x="5843587" y="3176587"/>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sp>
            <p:nvSpPr>
              <p:cNvPr id="317" name="Grafik 3872">
                <a:extLst>
                  <a:ext uri="{FF2B5EF4-FFF2-40B4-BE49-F238E27FC236}">
                    <a16:creationId xmlns:a16="http://schemas.microsoft.com/office/drawing/2014/main" id="{C411D5F6-481E-B284-EEF2-625E1B0C753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8" name="Grafik 3872">
                <a:extLst>
                  <a:ext uri="{FF2B5EF4-FFF2-40B4-BE49-F238E27FC236}">
                    <a16:creationId xmlns:a16="http://schemas.microsoft.com/office/drawing/2014/main" id="{FFBF1A32-AFCA-465C-DDD5-F4DBD081D4B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9" name="Grafik 3872">
                <a:extLst>
                  <a:ext uri="{FF2B5EF4-FFF2-40B4-BE49-F238E27FC236}">
                    <a16:creationId xmlns:a16="http://schemas.microsoft.com/office/drawing/2014/main" id="{E400B910-42DC-8675-C837-CCAC0078AD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07" name="Grafik 3872">
              <a:extLst>
                <a:ext uri="{FF2B5EF4-FFF2-40B4-BE49-F238E27FC236}">
                  <a16:creationId xmlns:a16="http://schemas.microsoft.com/office/drawing/2014/main" id="{D3C1AC15-B1AA-7366-6104-C0C06ADE4A32}"/>
                </a:ext>
              </a:extLst>
            </p:cNvPr>
            <p:cNvSpPr/>
            <p:nvPr/>
          </p:nvSpPr>
          <p:spPr bwMode="gray">
            <a:xfrm>
              <a:off x="5843548" y="3241396"/>
              <a:ext cx="435370" cy="62158"/>
            </a:xfrm>
            <a:custGeom>
              <a:avLst/>
              <a:gdLst>
                <a:gd name="connsiteX0" fmla="*/ 217780 w 435370"/>
                <a:gd name="connsiteY0" fmla="*/ 62158 h 62158"/>
                <a:gd name="connsiteX1" fmla="*/ 4039 w 435370"/>
                <a:gd name="connsiteY1" fmla="*/ 13581 h 62158"/>
                <a:gd name="connsiteX2" fmla="*/ 706 w 435370"/>
                <a:gd name="connsiteY2" fmla="*/ 4056 h 62158"/>
                <a:gd name="connsiteX3" fmla="*/ 10231 w 435370"/>
                <a:gd name="connsiteY3" fmla="*/ 722 h 62158"/>
                <a:gd name="connsiteX4" fmla="*/ 217685 w 435370"/>
                <a:gd name="connsiteY4" fmla="*/ 47871 h 62158"/>
                <a:gd name="connsiteX5" fmla="*/ 425140 w 435370"/>
                <a:gd name="connsiteY5" fmla="*/ 722 h 62158"/>
                <a:gd name="connsiteX6" fmla="*/ 434665 w 435370"/>
                <a:gd name="connsiteY6" fmla="*/ 4056 h 62158"/>
                <a:gd name="connsiteX7" fmla="*/ 431331 w 435370"/>
                <a:gd name="connsiteY7" fmla="*/ 13581 h 62158"/>
                <a:gd name="connsiteX8" fmla="*/ 217780 w 435370"/>
                <a:gd name="connsiteY8" fmla="*/ 62158 h 6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70" h="62158">
                  <a:moveTo>
                    <a:pt x="217780" y="62158"/>
                  </a:moveTo>
                  <a:cubicBezTo>
                    <a:pt x="142914" y="62158"/>
                    <a:pt x="71000" y="45775"/>
                    <a:pt x="4039" y="13581"/>
                  </a:cubicBezTo>
                  <a:cubicBezTo>
                    <a:pt x="515" y="11866"/>
                    <a:pt x="-1009" y="7580"/>
                    <a:pt x="706" y="4056"/>
                  </a:cubicBezTo>
                  <a:cubicBezTo>
                    <a:pt x="2420" y="436"/>
                    <a:pt x="6706" y="-992"/>
                    <a:pt x="10231" y="722"/>
                  </a:cubicBezTo>
                  <a:cubicBezTo>
                    <a:pt x="75191" y="32059"/>
                    <a:pt x="145009" y="47871"/>
                    <a:pt x="217685" y="47871"/>
                  </a:cubicBezTo>
                  <a:cubicBezTo>
                    <a:pt x="290361" y="47871"/>
                    <a:pt x="360179" y="31964"/>
                    <a:pt x="425140" y="722"/>
                  </a:cubicBezTo>
                  <a:cubicBezTo>
                    <a:pt x="428664" y="-992"/>
                    <a:pt x="432950" y="532"/>
                    <a:pt x="434665" y="4056"/>
                  </a:cubicBezTo>
                  <a:cubicBezTo>
                    <a:pt x="436379" y="7580"/>
                    <a:pt x="434855" y="11866"/>
                    <a:pt x="431331" y="13581"/>
                  </a:cubicBezTo>
                  <a:cubicBezTo>
                    <a:pt x="364561" y="45775"/>
                    <a:pt x="292647" y="62158"/>
                    <a:pt x="217780" y="62158"/>
                  </a:cubicBezTo>
                  <a:close/>
                </a:path>
              </a:pathLst>
            </a:custGeom>
            <a:grpFill/>
            <a:ln w="9525" cap="flat">
              <a:noFill/>
              <a:prstDash val="solid"/>
              <a:miter/>
            </a:ln>
          </p:spPr>
          <p:txBody>
            <a:bodyPr rtlCol="0" anchor="ctr"/>
            <a:lstStyle/>
            <a:p>
              <a:endParaRPr lang="de-DE"/>
            </a:p>
          </p:txBody>
        </p:sp>
        <p:sp>
          <p:nvSpPr>
            <p:cNvPr id="308" name="Grafik 3872">
              <a:extLst>
                <a:ext uri="{FF2B5EF4-FFF2-40B4-BE49-F238E27FC236}">
                  <a16:creationId xmlns:a16="http://schemas.microsoft.com/office/drawing/2014/main" id="{9C6B290C-8796-1260-12A2-C2C53527FEED}"/>
                </a:ext>
              </a:extLst>
            </p:cNvPr>
            <p:cNvSpPr/>
            <p:nvPr/>
          </p:nvSpPr>
          <p:spPr bwMode="gray">
            <a:xfrm>
              <a:off x="5908318" y="3176643"/>
              <a:ext cx="435465" cy="62141"/>
            </a:xfrm>
            <a:custGeom>
              <a:avLst/>
              <a:gdLst>
                <a:gd name="connsiteX0" fmla="*/ 217780 w 435465"/>
                <a:gd name="connsiteY0" fmla="*/ 62142 h 62141"/>
                <a:gd name="connsiteX1" fmla="*/ 4039 w 435465"/>
                <a:gd name="connsiteY1" fmla="*/ 13564 h 62141"/>
                <a:gd name="connsiteX2" fmla="*/ 706 w 435465"/>
                <a:gd name="connsiteY2" fmla="*/ 4039 h 62141"/>
                <a:gd name="connsiteX3" fmla="*/ 10231 w 435465"/>
                <a:gd name="connsiteY3" fmla="*/ 706 h 62141"/>
                <a:gd name="connsiteX4" fmla="*/ 217685 w 435465"/>
                <a:gd name="connsiteY4" fmla="*/ 47854 h 62141"/>
                <a:gd name="connsiteX5" fmla="*/ 425235 w 435465"/>
                <a:gd name="connsiteY5" fmla="*/ 706 h 62141"/>
                <a:gd name="connsiteX6" fmla="*/ 434760 w 435465"/>
                <a:gd name="connsiteY6" fmla="*/ 4039 h 62141"/>
                <a:gd name="connsiteX7" fmla="*/ 431426 w 435465"/>
                <a:gd name="connsiteY7" fmla="*/ 13564 h 62141"/>
                <a:gd name="connsiteX8" fmla="*/ 217780 w 435465"/>
                <a:gd name="connsiteY8" fmla="*/ 62142 h 6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465" h="62141">
                  <a:moveTo>
                    <a:pt x="217780" y="62142"/>
                  </a:moveTo>
                  <a:cubicBezTo>
                    <a:pt x="142914" y="62142"/>
                    <a:pt x="71000" y="45759"/>
                    <a:pt x="4039" y="13564"/>
                  </a:cubicBezTo>
                  <a:cubicBezTo>
                    <a:pt x="515" y="11850"/>
                    <a:pt x="-1009" y="7564"/>
                    <a:pt x="706" y="4039"/>
                  </a:cubicBezTo>
                  <a:cubicBezTo>
                    <a:pt x="2420" y="515"/>
                    <a:pt x="6706" y="-1009"/>
                    <a:pt x="10231" y="706"/>
                  </a:cubicBezTo>
                  <a:cubicBezTo>
                    <a:pt x="75191" y="32043"/>
                    <a:pt x="145009" y="47854"/>
                    <a:pt x="217685" y="47854"/>
                  </a:cubicBezTo>
                  <a:cubicBezTo>
                    <a:pt x="290361" y="47854"/>
                    <a:pt x="360179" y="31948"/>
                    <a:pt x="425235" y="706"/>
                  </a:cubicBezTo>
                  <a:cubicBezTo>
                    <a:pt x="428759" y="-1009"/>
                    <a:pt x="433045" y="515"/>
                    <a:pt x="434760" y="4039"/>
                  </a:cubicBezTo>
                  <a:cubicBezTo>
                    <a:pt x="436474" y="7564"/>
                    <a:pt x="434950" y="11850"/>
                    <a:pt x="431426" y="13564"/>
                  </a:cubicBezTo>
                  <a:cubicBezTo>
                    <a:pt x="364561" y="45759"/>
                    <a:pt x="292647" y="62142"/>
                    <a:pt x="217780" y="62142"/>
                  </a:cubicBezTo>
                  <a:close/>
                </a:path>
              </a:pathLst>
            </a:custGeom>
            <a:grpFill/>
            <a:ln w="9525" cap="flat">
              <a:noFill/>
              <a:prstDash val="solid"/>
              <a:miter/>
            </a:ln>
          </p:spPr>
          <p:txBody>
            <a:bodyPr rtlCol="0" anchor="ctr"/>
            <a:lstStyle/>
            <a:p>
              <a:endParaRPr lang="de-DE"/>
            </a:p>
          </p:txBody>
        </p:sp>
      </p:grpSp>
      <p:grpSp>
        <p:nvGrpSpPr>
          <p:cNvPr id="320" name="Grafik 3874">
            <a:extLst>
              <a:ext uri="{FF2B5EF4-FFF2-40B4-BE49-F238E27FC236}">
                <a16:creationId xmlns:a16="http://schemas.microsoft.com/office/drawing/2014/main" id="{80A08732-84CF-A37F-865A-5545D03A90EA}"/>
              </a:ext>
            </a:extLst>
          </p:cNvPr>
          <p:cNvGrpSpPr/>
          <p:nvPr/>
        </p:nvGrpSpPr>
        <p:grpSpPr bwMode="gray">
          <a:xfrm>
            <a:off x="5130236" y="2402246"/>
            <a:ext cx="374400" cy="374400"/>
            <a:chOff x="5843587" y="3176587"/>
            <a:chExt cx="500253" cy="500253"/>
          </a:xfrm>
          <a:solidFill>
            <a:schemeClr val="tx1"/>
          </a:solidFill>
        </p:grpSpPr>
        <p:grpSp>
          <p:nvGrpSpPr>
            <p:cNvPr id="321" name="Grafik 3874">
              <a:extLst>
                <a:ext uri="{FF2B5EF4-FFF2-40B4-BE49-F238E27FC236}">
                  <a16:creationId xmlns:a16="http://schemas.microsoft.com/office/drawing/2014/main" id="{6491DE5A-D6A8-0013-3018-2925BE46494E}"/>
                </a:ext>
              </a:extLst>
            </p:cNvPr>
            <p:cNvGrpSpPr/>
            <p:nvPr/>
          </p:nvGrpSpPr>
          <p:grpSpPr bwMode="gray">
            <a:xfrm>
              <a:off x="5843587" y="3176587"/>
              <a:ext cx="500253" cy="500253"/>
              <a:chOff x="5843587" y="3176587"/>
              <a:chExt cx="500253" cy="500253"/>
            </a:xfrm>
            <a:grpFill/>
          </p:grpSpPr>
          <p:grpSp>
            <p:nvGrpSpPr>
              <p:cNvPr id="339" name="Grafik 3874">
                <a:extLst>
                  <a:ext uri="{FF2B5EF4-FFF2-40B4-BE49-F238E27FC236}">
                    <a16:creationId xmlns:a16="http://schemas.microsoft.com/office/drawing/2014/main" id="{54737410-EEF4-1C49-7FB4-6D52487509C2}"/>
                  </a:ext>
                </a:extLst>
              </p:cNvPr>
              <p:cNvGrpSpPr/>
              <p:nvPr/>
            </p:nvGrpSpPr>
            <p:grpSpPr bwMode="gray">
              <a:xfrm>
                <a:off x="5892164" y="3549204"/>
                <a:ext cx="338327" cy="79057"/>
                <a:chOff x="5892164" y="3549204"/>
                <a:chExt cx="338327" cy="79057"/>
              </a:xfrm>
              <a:grpFill/>
            </p:grpSpPr>
            <p:sp>
              <p:nvSpPr>
                <p:cNvPr id="345" name="Grafik 3874">
                  <a:extLst>
                    <a:ext uri="{FF2B5EF4-FFF2-40B4-BE49-F238E27FC236}">
                      <a16:creationId xmlns:a16="http://schemas.microsoft.com/office/drawing/2014/main" id="{34EACD78-C4E6-DE3A-77CB-2B3A9E996F31}"/>
                    </a:ext>
                  </a:extLst>
                </p:cNvPr>
                <p:cNvSpPr/>
                <p:nvPr/>
              </p:nvSpPr>
              <p:spPr bwMode="gray">
                <a:xfrm>
                  <a:off x="602179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6" name="Grafik 3874">
                  <a:extLst>
                    <a:ext uri="{FF2B5EF4-FFF2-40B4-BE49-F238E27FC236}">
                      <a16:creationId xmlns:a16="http://schemas.microsoft.com/office/drawing/2014/main" id="{8356F005-3EF1-C09F-954D-3B8A56459C18}"/>
                    </a:ext>
                  </a:extLst>
                </p:cNvPr>
                <p:cNvSpPr/>
                <p:nvPr/>
              </p:nvSpPr>
              <p:spPr bwMode="gray">
                <a:xfrm>
                  <a:off x="608656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347" name="Grafik 3874">
                  <a:extLst>
                    <a:ext uri="{FF2B5EF4-FFF2-40B4-BE49-F238E27FC236}">
                      <a16:creationId xmlns:a16="http://schemas.microsoft.com/office/drawing/2014/main" id="{ABF38268-2594-2D7C-B424-3C46CC21E6CB}"/>
                    </a:ext>
                  </a:extLst>
                </p:cNvPr>
                <p:cNvSpPr/>
                <p:nvPr/>
              </p:nvSpPr>
              <p:spPr bwMode="gray">
                <a:xfrm>
                  <a:off x="615143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8" name="Grafik 3874">
                  <a:extLst>
                    <a:ext uri="{FF2B5EF4-FFF2-40B4-BE49-F238E27FC236}">
                      <a16:creationId xmlns:a16="http://schemas.microsoft.com/office/drawing/2014/main" id="{9C05DD33-DBF0-184D-AD1D-095F6EFB3B2D}"/>
                    </a:ext>
                  </a:extLst>
                </p:cNvPr>
                <p:cNvSpPr/>
                <p:nvPr/>
              </p:nvSpPr>
              <p:spPr bwMode="gray">
                <a:xfrm>
                  <a:off x="595702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9" name="Grafik 3874">
                  <a:extLst>
                    <a:ext uri="{FF2B5EF4-FFF2-40B4-BE49-F238E27FC236}">
                      <a16:creationId xmlns:a16="http://schemas.microsoft.com/office/drawing/2014/main" id="{71E43AA5-B462-4B21-0408-671D809624B8}"/>
                    </a:ext>
                  </a:extLst>
                </p:cNvPr>
                <p:cNvSpPr/>
                <p:nvPr/>
              </p:nvSpPr>
              <p:spPr bwMode="gray">
                <a:xfrm>
                  <a:off x="589216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grpSp>
          <p:sp>
            <p:nvSpPr>
              <p:cNvPr id="340" name="Grafik 3874">
                <a:extLst>
                  <a:ext uri="{FF2B5EF4-FFF2-40B4-BE49-F238E27FC236}">
                    <a16:creationId xmlns:a16="http://schemas.microsoft.com/office/drawing/2014/main" id="{8A614711-522A-8FD9-08E4-16FDDFF067D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41" name="Grafik 3874">
                <a:extLst>
                  <a:ext uri="{FF2B5EF4-FFF2-40B4-BE49-F238E27FC236}">
                    <a16:creationId xmlns:a16="http://schemas.microsoft.com/office/drawing/2014/main" id="{6AE9B2DD-7DDF-611E-FCAF-96D205B518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42" name="Grafik 3874">
                <a:extLst>
                  <a:ext uri="{FF2B5EF4-FFF2-40B4-BE49-F238E27FC236}">
                    <a16:creationId xmlns:a16="http://schemas.microsoft.com/office/drawing/2014/main" id="{26C21EFF-A85A-05B2-7414-08B2BE0929B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3" name="Grafik 3874">
                <a:extLst>
                  <a:ext uri="{FF2B5EF4-FFF2-40B4-BE49-F238E27FC236}">
                    <a16:creationId xmlns:a16="http://schemas.microsoft.com/office/drawing/2014/main" id="{AB589A21-DF1F-6AA9-DE27-55A359BC83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4" name="Grafik 3874">
                <a:extLst>
                  <a:ext uri="{FF2B5EF4-FFF2-40B4-BE49-F238E27FC236}">
                    <a16:creationId xmlns:a16="http://schemas.microsoft.com/office/drawing/2014/main" id="{6B65230E-86B4-F7D8-27B4-85E4249F43C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2" name="Grafik 3874">
              <a:extLst>
                <a:ext uri="{FF2B5EF4-FFF2-40B4-BE49-F238E27FC236}">
                  <a16:creationId xmlns:a16="http://schemas.microsoft.com/office/drawing/2014/main" id="{5D197C51-1D38-9947-4437-DE208666F822}"/>
                </a:ext>
              </a:extLst>
            </p:cNvPr>
            <p:cNvGrpSpPr/>
            <p:nvPr/>
          </p:nvGrpSpPr>
          <p:grpSpPr bwMode="gray">
            <a:xfrm>
              <a:off x="5952005" y="3279457"/>
              <a:ext cx="218646" cy="224504"/>
              <a:chOff x="5952005" y="3279457"/>
              <a:chExt cx="218646" cy="224504"/>
            </a:xfrm>
            <a:grpFill/>
          </p:grpSpPr>
          <p:grpSp>
            <p:nvGrpSpPr>
              <p:cNvPr id="323" name="Grafik 3874">
                <a:extLst>
                  <a:ext uri="{FF2B5EF4-FFF2-40B4-BE49-F238E27FC236}">
                    <a16:creationId xmlns:a16="http://schemas.microsoft.com/office/drawing/2014/main" id="{428B90B0-CDB7-C7C8-8C52-9105F0E96E82}"/>
                  </a:ext>
                </a:extLst>
              </p:cNvPr>
              <p:cNvGrpSpPr/>
              <p:nvPr/>
            </p:nvGrpSpPr>
            <p:grpSpPr bwMode="gray">
              <a:xfrm>
                <a:off x="6110025" y="3400900"/>
                <a:ext cx="60626" cy="60674"/>
                <a:chOff x="6110025" y="3400900"/>
                <a:chExt cx="60626" cy="60674"/>
              </a:xfrm>
              <a:grpFill/>
            </p:grpSpPr>
            <p:sp>
              <p:nvSpPr>
                <p:cNvPr id="336" name="Grafik 3874">
                  <a:extLst>
                    <a:ext uri="{FF2B5EF4-FFF2-40B4-BE49-F238E27FC236}">
                      <a16:creationId xmlns:a16="http://schemas.microsoft.com/office/drawing/2014/main" id="{72940B4C-4E7E-1A71-41D9-6DE337DF55B5}"/>
                    </a:ext>
                  </a:extLst>
                </p:cNvPr>
                <p:cNvSpPr/>
                <p:nvPr/>
              </p:nvSpPr>
              <p:spPr bwMode="gray">
                <a:xfrm>
                  <a:off x="6110025" y="3400924"/>
                  <a:ext cx="60626" cy="60650"/>
                </a:xfrm>
                <a:custGeom>
                  <a:avLst/>
                  <a:gdLst>
                    <a:gd name="connsiteX0" fmla="*/ 53507 w 60626"/>
                    <a:gd name="connsiteY0" fmla="*/ 60650 h 60650"/>
                    <a:gd name="connsiteX1" fmla="*/ 48458 w 60626"/>
                    <a:gd name="connsiteY1" fmla="*/ 58555 h 60650"/>
                    <a:gd name="connsiteX2" fmla="*/ 2072 w 60626"/>
                    <a:gd name="connsiteY2" fmla="*/ 12168 h 60650"/>
                    <a:gd name="connsiteX3" fmla="*/ 2072 w 60626"/>
                    <a:gd name="connsiteY3" fmla="*/ 2072 h 60650"/>
                    <a:gd name="connsiteX4" fmla="*/ 12168 w 60626"/>
                    <a:gd name="connsiteY4" fmla="*/ 2072 h 60650"/>
                    <a:gd name="connsiteX5" fmla="*/ 58555 w 60626"/>
                    <a:gd name="connsiteY5" fmla="*/ 48458 h 60650"/>
                    <a:gd name="connsiteX6" fmla="*/ 58555 w 60626"/>
                    <a:gd name="connsiteY6" fmla="*/ 58555 h 60650"/>
                    <a:gd name="connsiteX7" fmla="*/ 53507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53507" y="60650"/>
                      </a:moveTo>
                      <a:cubicBezTo>
                        <a:pt x="51697" y="60650"/>
                        <a:pt x="49887" y="59984"/>
                        <a:pt x="48458" y="58555"/>
                      </a:cubicBezTo>
                      <a:lnTo>
                        <a:pt x="2072" y="12168"/>
                      </a:lnTo>
                      <a:cubicBezTo>
                        <a:pt x="-691" y="9406"/>
                        <a:pt x="-691" y="4834"/>
                        <a:pt x="2072" y="2072"/>
                      </a:cubicBezTo>
                      <a:cubicBezTo>
                        <a:pt x="4834" y="-691"/>
                        <a:pt x="9406" y="-691"/>
                        <a:pt x="12168" y="2072"/>
                      </a:cubicBezTo>
                      <a:lnTo>
                        <a:pt x="58555" y="48458"/>
                      </a:lnTo>
                      <a:cubicBezTo>
                        <a:pt x="61317" y="51221"/>
                        <a:pt x="61317" y="55793"/>
                        <a:pt x="58555" y="58555"/>
                      </a:cubicBezTo>
                      <a:cubicBezTo>
                        <a:pt x="57221" y="59984"/>
                        <a:pt x="55412" y="60650"/>
                        <a:pt x="53507" y="60650"/>
                      </a:cubicBezTo>
                      <a:close/>
                    </a:path>
                  </a:pathLst>
                </a:custGeom>
                <a:grpFill/>
                <a:ln w="9525" cap="flat">
                  <a:noFill/>
                  <a:prstDash val="solid"/>
                  <a:miter/>
                </a:ln>
              </p:spPr>
              <p:txBody>
                <a:bodyPr rtlCol="0" anchor="ctr"/>
                <a:lstStyle/>
                <a:p>
                  <a:endParaRPr lang="de-DE"/>
                </a:p>
              </p:txBody>
            </p:sp>
            <p:sp>
              <p:nvSpPr>
                <p:cNvPr id="337" name="Grafik 3874">
                  <a:extLst>
                    <a:ext uri="{FF2B5EF4-FFF2-40B4-BE49-F238E27FC236}">
                      <a16:creationId xmlns:a16="http://schemas.microsoft.com/office/drawing/2014/main" id="{AEBADF42-F0E0-3FE3-3658-5457D3BC4031}"/>
                    </a:ext>
                  </a:extLst>
                </p:cNvPr>
                <p:cNvSpPr/>
                <p:nvPr/>
              </p:nvSpPr>
              <p:spPr bwMode="gray">
                <a:xfrm>
                  <a:off x="6110096"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sp>
              <p:nvSpPr>
                <p:cNvPr id="338" name="Grafik 3874">
                  <a:extLst>
                    <a:ext uri="{FF2B5EF4-FFF2-40B4-BE49-F238E27FC236}">
                      <a16:creationId xmlns:a16="http://schemas.microsoft.com/office/drawing/2014/main" id="{F4284874-FADB-0368-A817-9598A2E63FBC}"/>
                    </a:ext>
                  </a:extLst>
                </p:cNvPr>
                <p:cNvSpPr/>
                <p:nvPr/>
              </p:nvSpPr>
              <p:spPr bwMode="gray">
                <a:xfrm>
                  <a:off x="6110096"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grpSp>
          <p:grpSp>
            <p:nvGrpSpPr>
              <p:cNvPr id="324" name="Grafik 3874">
                <a:extLst>
                  <a:ext uri="{FF2B5EF4-FFF2-40B4-BE49-F238E27FC236}">
                    <a16:creationId xmlns:a16="http://schemas.microsoft.com/office/drawing/2014/main" id="{E3BD8804-669D-3906-4082-00B1AC78C622}"/>
                  </a:ext>
                </a:extLst>
              </p:cNvPr>
              <p:cNvGrpSpPr/>
              <p:nvPr/>
            </p:nvGrpSpPr>
            <p:grpSpPr bwMode="gray">
              <a:xfrm>
                <a:off x="5952005" y="3400900"/>
                <a:ext cx="60650" cy="60674"/>
                <a:chOff x="5952005" y="3400900"/>
                <a:chExt cx="60650" cy="60674"/>
              </a:xfrm>
              <a:grpFill/>
            </p:grpSpPr>
            <p:sp>
              <p:nvSpPr>
                <p:cNvPr id="333" name="Grafik 3874">
                  <a:extLst>
                    <a:ext uri="{FF2B5EF4-FFF2-40B4-BE49-F238E27FC236}">
                      <a16:creationId xmlns:a16="http://schemas.microsoft.com/office/drawing/2014/main" id="{67813732-BFC2-007F-75E1-14D81706DDF2}"/>
                    </a:ext>
                  </a:extLst>
                </p:cNvPr>
                <p:cNvSpPr/>
                <p:nvPr/>
              </p:nvSpPr>
              <p:spPr bwMode="gray">
                <a:xfrm>
                  <a:off x="5952005" y="3400924"/>
                  <a:ext cx="60626" cy="60650"/>
                </a:xfrm>
                <a:custGeom>
                  <a:avLst/>
                  <a:gdLst>
                    <a:gd name="connsiteX0" fmla="*/ 7120 w 60626"/>
                    <a:gd name="connsiteY0" fmla="*/ 60650 h 60650"/>
                    <a:gd name="connsiteX1" fmla="*/ 2072 w 60626"/>
                    <a:gd name="connsiteY1" fmla="*/ 58555 h 60650"/>
                    <a:gd name="connsiteX2" fmla="*/ 2072 w 60626"/>
                    <a:gd name="connsiteY2" fmla="*/ 48458 h 60650"/>
                    <a:gd name="connsiteX3" fmla="*/ 48458 w 60626"/>
                    <a:gd name="connsiteY3" fmla="*/ 2072 h 60650"/>
                    <a:gd name="connsiteX4" fmla="*/ 58555 w 60626"/>
                    <a:gd name="connsiteY4" fmla="*/ 2072 h 60650"/>
                    <a:gd name="connsiteX5" fmla="*/ 58555 w 60626"/>
                    <a:gd name="connsiteY5" fmla="*/ 12168 h 60650"/>
                    <a:gd name="connsiteX6" fmla="*/ 12168 w 60626"/>
                    <a:gd name="connsiteY6" fmla="*/ 58555 h 60650"/>
                    <a:gd name="connsiteX7" fmla="*/ 7120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7120" y="60650"/>
                      </a:moveTo>
                      <a:cubicBezTo>
                        <a:pt x="5310" y="60650"/>
                        <a:pt x="3500" y="59984"/>
                        <a:pt x="2072" y="58555"/>
                      </a:cubicBezTo>
                      <a:cubicBezTo>
                        <a:pt x="-691" y="55793"/>
                        <a:pt x="-691" y="51221"/>
                        <a:pt x="2072" y="48458"/>
                      </a:cubicBezTo>
                      <a:lnTo>
                        <a:pt x="48458" y="2072"/>
                      </a:lnTo>
                      <a:cubicBezTo>
                        <a:pt x="51221" y="-691"/>
                        <a:pt x="55793" y="-691"/>
                        <a:pt x="58555" y="2072"/>
                      </a:cubicBezTo>
                      <a:cubicBezTo>
                        <a:pt x="61317" y="4834"/>
                        <a:pt x="61317" y="9406"/>
                        <a:pt x="58555" y="12168"/>
                      </a:cubicBezTo>
                      <a:lnTo>
                        <a:pt x="12168" y="58555"/>
                      </a:lnTo>
                      <a:cubicBezTo>
                        <a:pt x="10739" y="59984"/>
                        <a:pt x="8930" y="60650"/>
                        <a:pt x="7120" y="60650"/>
                      </a:cubicBezTo>
                      <a:close/>
                    </a:path>
                  </a:pathLst>
                </a:custGeom>
                <a:grpFill/>
                <a:ln w="9525" cap="flat">
                  <a:noFill/>
                  <a:prstDash val="solid"/>
                  <a:miter/>
                </a:ln>
              </p:spPr>
              <p:txBody>
                <a:bodyPr rtlCol="0" anchor="ctr"/>
                <a:lstStyle/>
                <a:p>
                  <a:endParaRPr lang="de-DE"/>
                </a:p>
              </p:txBody>
            </p:sp>
            <p:sp>
              <p:nvSpPr>
                <p:cNvPr id="334" name="Grafik 3874">
                  <a:extLst>
                    <a:ext uri="{FF2B5EF4-FFF2-40B4-BE49-F238E27FC236}">
                      <a16:creationId xmlns:a16="http://schemas.microsoft.com/office/drawing/2014/main" id="{4193BF72-EBDF-10FB-6EFF-81A74BB5ADBF}"/>
                    </a:ext>
                  </a:extLst>
                </p:cNvPr>
                <p:cNvSpPr/>
                <p:nvPr/>
              </p:nvSpPr>
              <p:spPr bwMode="gray">
                <a:xfrm>
                  <a:off x="5969221"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sp>
              <p:nvSpPr>
                <p:cNvPr id="335" name="Grafik 3874">
                  <a:extLst>
                    <a:ext uri="{FF2B5EF4-FFF2-40B4-BE49-F238E27FC236}">
                      <a16:creationId xmlns:a16="http://schemas.microsoft.com/office/drawing/2014/main" id="{C9A19F34-A5EB-F18C-4139-6327B2B24CDE}"/>
                    </a:ext>
                  </a:extLst>
                </p:cNvPr>
                <p:cNvSpPr/>
                <p:nvPr/>
              </p:nvSpPr>
              <p:spPr bwMode="gray">
                <a:xfrm>
                  <a:off x="5998368"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grpSp>
          <p:grpSp>
            <p:nvGrpSpPr>
              <p:cNvPr id="325" name="Grafik 3874">
                <a:extLst>
                  <a:ext uri="{FF2B5EF4-FFF2-40B4-BE49-F238E27FC236}">
                    <a16:creationId xmlns:a16="http://schemas.microsoft.com/office/drawing/2014/main" id="{7F51EDE7-F277-4710-D12D-7D17CC692E85}"/>
                  </a:ext>
                </a:extLst>
              </p:cNvPr>
              <p:cNvGrpSpPr/>
              <p:nvPr/>
            </p:nvGrpSpPr>
            <p:grpSpPr bwMode="gray">
              <a:xfrm>
                <a:off x="6033634" y="3424046"/>
                <a:ext cx="55387" cy="79914"/>
                <a:chOff x="6033634" y="3424046"/>
                <a:chExt cx="55387" cy="79914"/>
              </a:xfrm>
              <a:grpFill/>
            </p:grpSpPr>
            <p:sp>
              <p:nvSpPr>
                <p:cNvPr id="330" name="Grafik 3874">
                  <a:extLst>
                    <a:ext uri="{FF2B5EF4-FFF2-40B4-BE49-F238E27FC236}">
                      <a16:creationId xmlns:a16="http://schemas.microsoft.com/office/drawing/2014/main" id="{BCC188F7-F52F-D4D6-B2B7-36767B45E5D1}"/>
                    </a:ext>
                  </a:extLst>
                </p:cNvPr>
                <p:cNvSpPr/>
                <p:nvPr/>
              </p:nvSpPr>
              <p:spPr bwMode="gray">
                <a:xfrm>
                  <a:off x="6054184" y="3424046"/>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31" name="Grafik 3874">
                  <a:extLst>
                    <a:ext uri="{FF2B5EF4-FFF2-40B4-BE49-F238E27FC236}">
                      <a16:creationId xmlns:a16="http://schemas.microsoft.com/office/drawing/2014/main" id="{E0960DA8-FC52-9F47-E78A-8C78C58673E9}"/>
                    </a:ext>
                  </a:extLst>
                </p:cNvPr>
                <p:cNvSpPr/>
                <p:nvPr/>
              </p:nvSpPr>
              <p:spPr bwMode="gray">
                <a:xfrm>
                  <a:off x="6033634" y="3424165"/>
                  <a:ext cx="34813" cy="34837"/>
                </a:xfrm>
                <a:custGeom>
                  <a:avLst/>
                  <a:gdLst>
                    <a:gd name="connsiteX0" fmla="*/ 7120 w 34813"/>
                    <a:gd name="connsiteY0" fmla="*/ 34838 h 34837"/>
                    <a:gd name="connsiteX1" fmla="*/ 2072 w 34813"/>
                    <a:gd name="connsiteY1" fmla="*/ 32742 h 34837"/>
                    <a:gd name="connsiteX2" fmla="*/ 2072 w 34813"/>
                    <a:gd name="connsiteY2" fmla="*/ 22646 h 34837"/>
                    <a:gd name="connsiteX3" fmla="*/ 22646 w 34813"/>
                    <a:gd name="connsiteY3" fmla="*/ 2072 h 34837"/>
                    <a:gd name="connsiteX4" fmla="*/ 32742 w 34813"/>
                    <a:gd name="connsiteY4" fmla="*/ 2072 h 34837"/>
                    <a:gd name="connsiteX5" fmla="*/ 32742 w 34813"/>
                    <a:gd name="connsiteY5" fmla="*/ 12168 h 34837"/>
                    <a:gd name="connsiteX6" fmla="*/ 12168 w 34813"/>
                    <a:gd name="connsiteY6" fmla="*/ 32742 h 34837"/>
                    <a:gd name="connsiteX7" fmla="*/ 7120 w 34813"/>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837">
                      <a:moveTo>
                        <a:pt x="7120" y="34838"/>
                      </a:moveTo>
                      <a:cubicBezTo>
                        <a:pt x="5310" y="34838"/>
                        <a:pt x="3500" y="34171"/>
                        <a:pt x="2072" y="32742"/>
                      </a:cubicBezTo>
                      <a:cubicBezTo>
                        <a:pt x="-691" y="29980"/>
                        <a:pt x="-691" y="25408"/>
                        <a:pt x="2072" y="22646"/>
                      </a:cubicBezTo>
                      <a:lnTo>
                        <a:pt x="22646" y="2072"/>
                      </a:lnTo>
                      <a:cubicBezTo>
                        <a:pt x="25408" y="-691"/>
                        <a:pt x="29980" y="-691"/>
                        <a:pt x="32742" y="2072"/>
                      </a:cubicBezTo>
                      <a:cubicBezTo>
                        <a:pt x="35504" y="4834"/>
                        <a:pt x="35504" y="9406"/>
                        <a:pt x="32742" y="12168"/>
                      </a:cubicBezTo>
                      <a:lnTo>
                        <a:pt x="12168" y="32742"/>
                      </a:lnTo>
                      <a:cubicBezTo>
                        <a:pt x="10739" y="34076"/>
                        <a:pt x="8930" y="34838"/>
                        <a:pt x="7120" y="34838"/>
                      </a:cubicBezTo>
                      <a:close/>
                    </a:path>
                  </a:pathLst>
                </a:custGeom>
                <a:grpFill/>
                <a:ln w="9525" cap="flat">
                  <a:noFill/>
                  <a:prstDash val="solid"/>
                  <a:miter/>
                </a:ln>
              </p:spPr>
              <p:txBody>
                <a:bodyPr rtlCol="0" anchor="ctr"/>
                <a:lstStyle/>
                <a:p>
                  <a:endParaRPr lang="de-DE"/>
                </a:p>
              </p:txBody>
            </p:sp>
            <p:sp>
              <p:nvSpPr>
                <p:cNvPr id="332" name="Grafik 3874">
                  <a:extLst>
                    <a:ext uri="{FF2B5EF4-FFF2-40B4-BE49-F238E27FC236}">
                      <a16:creationId xmlns:a16="http://schemas.microsoft.com/office/drawing/2014/main" id="{8E2BE690-2E4B-C1F0-12EF-A31D5F8068C2}"/>
                    </a:ext>
                  </a:extLst>
                </p:cNvPr>
                <p:cNvSpPr/>
                <p:nvPr/>
              </p:nvSpPr>
              <p:spPr bwMode="gray">
                <a:xfrm>
                  <a:off x="6054113" y="3424165"/>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076"/>
                        <a:pt x="29694" y="34838"/>
                        <a:pt x="27789" y="34838"/>
                      </a:cubicBezTo>
                      <a:close/>
                    </a:path>
                  </a:pathLst>
                </a:custGeom>
                <a:grpFill/>
                <a:ln w="9525" cap="flat">
                  <a:noFill/>
                  <a:prstDash val="solid"/>
                  <a:miter/>
                </a:ln>
              </p:spPr>
              <p:txBody>
                <a:bodyPr rtlCol="0" anchor="ctr"/>
                <a:lstStyle/>
                <a:p>
                  <a:endParaRPr lang="de-DE"/>
                </a:p>
              </p:txBody>
            </p:sp>
          </p:grpSp>
          <p:grpSp>
            <p:nvGrpSpPr>
              <p:cNvPr id="326" name="Grafik 3874">
                <a:extLst>
                  <a:ext uri="{FF2B5EF4-FFF2-40B4-BE49-F238E27FC236}">
                    <a16:creationId xmlns:a16="http://schemas.microsoft.com/office/drawing/2014/main" id="{0984CE9D-D319-447D-86E8-9A519FEA6C97}"/>
                  </a:ext>
                </a:extLst>
              </p:cNvPr>
              <p:cNvGrpSpPr/>
              <p:nvPr/>
            </p:nvGrpSpPr>
            <p:grpSpPr bwMode="gray">
              <a:xfrm>
                <a:off x="6033634" y="3279457"/>
                <a:ext cx="55387" cy="79914"/>
                <a:chOff x="6033634" y="3279457"/>
                <a:chExt cx="55387" cy="79914"/>
              </a:xfrm>
              <a:grpFill/>
            </p:grpSpPr>
            <p:sp>
              <p:nvSpPr>
                <p:cNvPr id="327" name="Grafik 3874">
                  <a:extLst>
                    <a:ext uri="{FF2B5EF4-FFF2-40B4-BE49-F238E27FC236}">
                      <a16:creationId xmlns:a16="http://schemas.microsoft.com/office/drawing/2014/main" id="{5ADF94EE-D367-C310-98B9-2E2199C2A279}"/>
                    </a:ext>
                  </a:extLst>
                </p:cNvPr>
                <p:cNvSpPr/>
                <p:nvPr/>
              </p:nvSpPr>
              <p:spPr bwMode="gray">
                <a:xfrm>
                  <a:off x="6054184" y="3279457"/>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28" name="Grafik 3874">
                  <a:extLst>
                    <a:ext uri="{FF2B5EF4-FFF2-40B4-BE49-F238E27FC236}">
                      <a16:creationId xmlns:a16="http://schemas.microsoft.com/office/drawing/2014/main" id="{BC405E65-F8D9-4100-373F-BA74D18F0CF3}"/>
                    </a:ext>
                  </a:extLst>
                </p:cNvPr>
                <p:cNvSpPr/>
                <p:nvPr/>
              </p:nvSpPr>
              <p:spPr bwMode="gray">
                <a:xfrm>
                  <a:off x="6033634" y="3279480"/>
                  <a:ext cx="34813" cy="34932"/>
                </a:xfrm>
                <a:custGeom>
                  <a:avLst/>
                  <a:gdLst>
                    <a:gd name="connsiteX0" fmla="*/ 7120 w 34813"/>
                    <a:gd name="connsiteY0" fmla="*/ 34933 h 34932"/>
                    <a:gd name="connsiteX1" fmla="*/ 2072 w 34813"/>
                    <a:gd name="connsiteY1" fmla="*/ 32837 h 34932"/>
                    <a:gd name="connsiteX2" fmla="*/ 2072 w 34813"/>
                    <a:gd name="connsiteY2" fmla="*/ 22741 h 34932"/>
                    <a:gd name="connsiteX3" fmla="*/ 22646 w 34813"/>
                    <a:gd name="connsiteY3" fmla="*/ 2072 h 34932"/>
                    <a:gd name="connsiteX4" fmla="*/ 32742 w 34813"/>
                    <a:gd name="connsiteY4" fmla="*/ 2072 h 34932"/>
                    <a:gd name="connsiteX5" fmla="*/ 32742 w 34813"/>
                    <a:gd name="connsiteY5" fmla="*/ 12168 h 34932"/>
                    <a:gd name="connsiteX6" fmla="*/ 12168 w 34813"/>
                    <a:gd name="connsiteY6" fmla="*/ 32837 h 34932"/>
                    <a:gd name="connsiteX7" fmla="*/ 7120 w 34813"/>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932">
                      <a:moveTo>
                        <a:pt x="7120" y="34933"/>
                      </a:moveTo>
                      <a:cubicBezTo>
                        <a:pt x="5310" y="34933"/>
                        <a:pt x="3500" y="34266"/>
                        <a:pt x="2072" y="32837"/>
                      </a:cubicBezTo>
                      <a:cubicBezTo>
                        <a:pt x="-691" y="30075"/>
                        <a:pt x="-691" y="25503"/>
                        <a:pt x="2072" y="22741"/>
                      </a:cubicBezTo>
                      <a:lnTo>
                        <a:pt x="22646" y="2072"/>
                      </a:lnTo>
                      <a:cubicBezTo>
                        <a:pt x="25408" y="-691"/>
                        <a:pt x="29980" y="-691"/>
                        <a:pt x="32742" y="2072"/>
                      </a:cubicBezTo>
                      <a:cubicBezTo>
                        <a:pt x="35504" y="4834"/>
                        <a:pt x="35504" y="9406"/>
                        <a:pt x="32742" y="12168"/>
                      </a:cubicBezTo>
                      <a:lnTo>
                        <a:pt x="12168" y="32837"/>
                      </a:lnTo>
                      <a:cubicBezTo>
                        <a:pt x="10739" y="34171"/>
                        <a:pt x="8930" y="34933"/>
                        <a:pt x="7120" y="34933"/>
                      </a:cubicBezTo>
                      <a:close/>
                    </a:path>
                  </a:pathLst>
                </a:custGeom>
                <a:grpFill/>
                <a:ln w="9525" cap="flat">
                  <a:noFill/>
                  <a:prstDash val="solid"/>
                  <a:miter/>
                </a:ln>
              </p:spPr>
              <p:txBody>
                <a:bodyPr rtlCol="0" anchor="ctr"/>
                <a:lstStyle/>
                <a:p>
                  <a:endParaRPr lang="de-DE"/>
                </a:p>
              </p:txBody>
            </p:sp>
            <p:sp>
              <p:nvSpPr>
                <p:cNvPr id="329" name="Grafik 3874">
                  <a:extLst>
                    <a:ext uri="{FF2B5EF4-FFF2-40B4-BE49-F238E27FC236}">
                      <a16:creationId xmlns:a16="http://schemas.microsoft.com/office/drawing/2014/main" id="{DF9F4A35-7365-DC10-476C-F5A77442E832}"/>
                    </a:ext>
                  </a:extLst>
                </p:cNvPr>
                <p:cNvSpPr/>
                <p:nvPr/>
              </p:nvSpPr>
              <p:spPr bwMode="gray">
                <a:xfrm>
                  <a:off x="6054113" y="3279480"/>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171"/>
                        <a:pt x="29694" y="34933"/>
                        <a:pt x="27789" y="34933"/>
                      </a:cubicBezTo>
                      <a:close/>
                    </a:path>
                  </a:pathLst>
                </a:custGeom>
                <a:grpFill/>
                <a:ln w="9525" cap="flat">
                  <a:noFill/>
                  <a:prstDash val="solid"/>
                  <a:miter/>
                </a:ln>
              </p:spPr>
              <p:txBody>
                <a:bodyPr rtlCol="0" anchor="ctr"/>
                <a:lstStyle/>
                <a:p>
                  <a:endParaRPr lang="de-DE"/>
                </a:p>
              </p:txBody>
            </p:sp>
          </p:grpSp>
        </p:grpSp>
      </p:grpSp>
      <p:grpSp>
        <p:nvGrpSpPr>
          <p:cNvPr id="350" name="Grafik 3876">
            <a:extLst>
              <a:ext uri="{FF2B5EF4-FFF2-40B4-BE49-F238E27FC236}">
                <a16:creationId xmlns:a16="http://schemas.microsoft.com/office/drawing/2014/main" id="{FF82BE64-0EB7-0EE1-014C-4BF52BEB0B2F}"/>
              </a:ext>
            </a:extLst>
          </p:cNvPr>
          <p:cNvGrpSpPr/>
          <p:nvPr/>
        </p:nvGrpSpPr>
        <p:grpSpPr bwMode="gray">
          <a:xfrm>
            <a:off x="5228749" y="2939492"/>
            <a:ext cx="177375" cy="374400"/>
            <a:chOff x="5976937" y="3176587"/>
            <a:chExt cx="241077" cy="500253"/>
          </a:xfrm>
          <a:solidFill>
            <a:schemeClr val="tx1"/>
          </a:solidFill>
        </p:grpSpPr>
        <p:sp>
          <p:nvSpPr>
            <p:cNvPr id="351" name="Grafik 3876">
              <a:extLst>
                <a:ext uri="{FF2B5EF4-FFF2-40B4-BE49-F238E27FC236}">
                  <a16:creationId xmlns:a16="http://schemas.microsoft.com/office/drawing/2014/main" id="{16BFCACE-D094-5225-EBA6-81A71FEEA451}"/>
                </a:ext>
              </a:extLst>
            </p:cNvPr>
            <p:cNvSpPr/>
            <p:nvPr/>
          </p:nvSpPr>
          <p:spPr bwMode="gray">
            <a:xfrm>
              <a:off x="607418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2" name="Grafik 3876">
              <a:extLst>
                <a:ext uri="{FF2B5EF4-FFF2-40B4-BE49-F238E27FC236}">
                  <a16:creationId xmlns:a16="http://schemas.microsoft.com/office/drawing/2014/main" id="{F4CBB8C6-F97D-E1C6-B1CA-3C6515E3751E}"/>
                </a:ext>
              </a:extLst>
            </p:cNvPr>
            <p:cNvSpPr/>
            <p:nvPr/>
          </p:nvSpPr>
          <p:spPr bwMode="gray">
            <a:xfrm>
              <a:off x="613895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3" name="Grafik 3876">
              <a:extLst>
                <a:ext uri="{FF2B5EF4-FFF2-40B4-BE49-F238E27FC236}">
                  <a16:creationId xmlns:a16="http://schemas.microsoft.com/office/drawing/2014/main" id="{2445A552-921C-4EE4-04E5-B2F9C87806D2}"/>
                </a:ext>
              </a:extLst>
            </p:cNvPr>
            <p:cNvSpPr/>
            <p:nvPr/>
          </p:nvSpPr>
          <p:spPr bwMode="gray">
            <a:xfrm>
              <a:off x="6009322"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4" name="Grafik 3876">
              <a:extLst>
                <a:ext uri="{FF2B5EF4-FFF2-40B4-BE49-F238E27FC236}">
                  <a16:creationId xmlns:a16="http://schemas.microsoft.com/office/drawing/2014/main" id="{1EA8FDB0-B642-B608-5EEA-931AEE3D0640}"/>
                </a:ext>
              </a:extLst>
            </p:cNvPr>
            <p:cNvSpPr/>
            <p:nvPr/>
          </p:nvSpPr>
          <p:spPr bwMode="gray">
            <a:xfrm>
              <a:off x="607418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5" name="Grafik 3876">
              <a:extLst>
                <a:ext uri="{FF2B5EF4-FFF2-40B4-BE49-F238E27FC236}">
                  <a16:creationId xmlns:a16="http://schemas.microsoft.com/office/drawing/2014/main" id="{2C1BC9ED-A319-3CA0-6F47-C2525446D7F7}"/>
                </a:ext>
              </a:extLst>
            </p:cNvPr>
            <p:cNvSpPr/>
            <p:nvPr/>
          </p:nvSpPr>
          <p:spPr bwMode="gray">
            <a:xfrm>
              <a:off x="5976937" y="3241357"/>
              <a:ext cx="241077" cy="435483"/>
            </a:xfrm>
            <a:custGeom>
              <a:avLst/>
              <a:gdLst>
                <a:gd name="connsiteX0" fmla="*/ 201549 w 241077"/>
                <a:gd name="connsiteY0" fmla="*/ 435483 h 435483"/>
                <a:gd name="connsiteX1" fmla="*/ 39529 w 241077"/>
                <a:gd name="connsiteY1" fmla="*/ 435483 h 435483"/>
                <a:gd name="connsiteX2" fmla="*/ 0 w 241077"/>
                <a:gd name="connsiteY2" fmla="*/ 395954 h 435483"/>
                <a:gd name="connsiteX3" fmla="*/ 0 w 241077"/>
                <a:gd name="connsiteY3" fmla="*/ 39624 h 435483"/>
                <a:gd name="connsiteX4" fmla="*/ 39529 w 241077"/>
                <a:gd name="connsiteY4" fmla="*/ 0 h 435483"/>
                <a:gd name="connsiteX5" fmla="*/ 201549 w 241077"/>
                <a:gd name="connsiteY5" fmla="*/ 0 h 435483"/>
                <a:gd name="connsiteX6" fmla="*/ 241078 w 241077"/>
                <a:gd name="connsiteY6" fmla="*/ 39529 h 435483"/>
                <a:gd name="connsiteX7" fmla="*/ 241078 w 241077"/>
                <a:gd name="connsiteY7" fmla="*/ 395954 h 435483"/>
                <a:gd name="connsiteX8" fmla="*/ 201549 w 241077"/>
                <a:gd name="connsiteY8" fmla="*/ 435483 h 435483"/>
                <a:gd name="connsiteX9" fmla="*/ 39529 w 241077"/>
                <a:gd name="connsiteY9" fmla="*/ 14288 h 435483"/>
                <a:gd name="connsiteX10" fmla="*/ 14288 w 241077"/>
                <a:gd name="connsiteY10" fmla="*/ 39529 h 435483"/>
                <a:gd name="connsiteX11" fmla="*/ 14288 w 241077"/>
                <a:gd name="connsiteY11" fmla="*/ 395954 h 435483"/>
                <a:gd name="connsiteX12" fmla="*/ 39529 w 241077"/>
                <a:gd name="connsiteY12" fmla="*/ 421196 h 435483"/>
                <a:gd name="connsiteX13" fmla="*/ 201549 w 241077"/>
                <a:gd name="connsiteY13" fmla="*/ 421196 h 435483"/>
                <a:gd name="connsiteX14" fmla="*/ 226790 w 241077"/>
                <a:gd name="connsiteY14" fmla="*/ 395954 h 435483"/>
                <a:gd name="connsiteX15" fmla="*/ 226790 w 241077"/>
                <a:gd name="connsiteY15" fmla="*/ 39624 h 435483"/>
                <a:gd name="connsiteX16" fmla="*/ 201549 w 241077"/>
                <a:gd name="connsiteY16" fmla="*/ 14383 h 435483"/>
                <a:gd name="connsiteX17" fmla="*/ 39529 w 241077"/>
                <a:gd name="connsiteY17" fmla="*/ 143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077" h="435483">
                  <a:moveTo>
                    <a:pt x="201549" y="435483"/>
                  </a:moveTo>
                  <a:lnTo>
                    <a:pt x="39529" y="435483"/>
                  </a:lnTo>
                  <a:cubicBezTo>
                    <a:pt x="17717" y="435483"/>
                    <a:pt x="0" y="417767"/>
                    <a:pt x="0" y="395954"/>
                  </a:cubicBezTo>
                  <a:lnTo>
                    <a:pt x="0" y="39624"/>
                  </a:lnTo>
                  <a:cubicBezTo>
                    <a:pt x="0" y="17812"/>
                    <a:pt x="17717" y="0"/>
                    <a:pt x="39529" y="0"/>
                  </a:cubicBezTo>
                  <a:lnTo>
                    <a:pt x="201549" y="0"/>
                  </a:lnTo>
                  <a:cubicBezTo>
                    <a:pt x="223361" y="0"/>
                    <a:pt x="241078" y="17716"/>
                    <a:pt x="241078" y="39529"/>
                  </a:cubicBezTo>
                  <a:lnTo>
                    <a:pt x="241078" y="395954"/>
                  </a:lnTo>
                  <a:cubicBezTo>
                    <a:pt x="241078" y="417767"/>
                    <a:pt x="223361" y="435483"/>
                    <a:pt x="201549" y="435483"/>
                  </a:cubicBezTo>
                  <a:close/>
                  <a:moveTo>
                    <a:pt x="39529" y="14288"/>
                  </a:moveTo>
                  <a:cubicBezTo>
                    <a:pt x="25622" y="14288"/>
                    <a:pt x="14288" y="25622"/>
                    <a:pt x="14288" y="39529"/>
                  </a:cubicBezTo>
                  <a:lnTo>
                    <a:pt x="14288" y="395954"/>
                  </a:lnTo>
                  <a:cubicBezTo>
                    <a:pt x="14288" y="409861"/>
                    <a:pt x="25622" y="421196"/>
                    <a:pt x="39529" y="421196"/>
                  </a:cubicBezTo>
                  <a:lnTo>
                    <a:pt x="201549" y="421196"/>
                  </a:lnTo>
                  <a:cubicBezTo>
                    <a:pt x="215456" y="421196"/>
                    <a:pt x="226790" y="409861"/>
                    <a:pt x="226790" y="395954"/>
                  </a:cubicBezTo>
                  <a:lnTo>
                    <a:pt x="226790" y="39624"/>
                  </a:lnTo>
                  <a:cubicBezTo>
                    <a:pt x="226790" y="25717"/>
                    <a:pt x="215456" y="14383"/>
                    <a:pt x="201549" y="14383"/>
                  </a:cubicBezTo>
                  <a:lnTo>
                    <a:pt x="39529" y="14383"/>
                  </a:lnTo>
                  <a:close/>
                </a:path>
              </a:pathLst>
            </a:custGeom>
            <a:grpFill/>
            <a:ln w="9525" cap="flat">
              <a:noFill/>
              <a:prstDash val="solid"/>
              <a:miter/>
            </a:ln>
          </p:spPr>
          <p:txBody>
            <a:bodyPr rtlCol="0" anchor="ctr"/>
            <a:lstStyle/>
            <a:p>
              <a:endParaRPr lang="de-DE"/>
            </a:p>
          </p:txBody>
        </p:sp>
        <p:sp>
          <p:nvSpPr>
            <p:cNvPr id="356" name="Grafik 3876">
              <a:extLst>
                <a:ext uri="{FF2B5EF4-FFF2-40B4-BE49-F238E27FC236}">
                  <a16:creationId xmlns:a16="http://schemas.microsoft.com/office/drawing/2014/main" id="{08E3D592-F7B3-2083-25A9-006640104D33}"/>
                </a:ext>
              </a:extLst>
            </p:cNvPr>
            <p:cNvSpPr/>
            <p:nvPr/>
          </p:nvSpPr>
          <p:spPr bwMode="gray">
            <a:xfrm>
              <a:off x="613895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7" name="Grafik 3876">
              <a:extLst>
                <a:ext uri="{FF2B5EF4-FFF2-40B4-BE49-F238E27FC236}">
                  <a16:creationId xmlns:a16="http://schemas.microsoft.com/office/drawing/2014/main" id="{FABF63A0-F19D-5757-05CF-A9E151A20FE0}"/>
                </a:ext>
              </a:extLst>
            </p:cNvPr>
            <p:cNvSpPr/>
            <p:nvPr/>
          </p:nvSpPr>
          <p:spPr bwMode="gray">
            <a:xfrm>
              <a:off x="6009322"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8" y="46673"/>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434"/>
                    <a:pt x="43529"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8" name="Grafik 3876">
              <a:extLst>
                <a:ext uri="{FF2B5EF4-FFF2-40B4-BE49-F238E27FC236}">
                  <a16:creationId xmlns:a16="http://schemas.microsoft.com/office/drawing/2014/main" id="{EB215DD5-CBB9-C44D-5E03-7402D9562636}"/>
                </a:ext>
              </a:extLst>
            </p:cNvPr>
            <p:cNvSpPr/>
            <p:nvPr/>
          </p:nvSpPr>
          <p:spPr bwMode="gray">
            <a:xfrm>
              <a:off x="607418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9" name="Grafik 3876">
              <a:extLst>
                <a:ext uri="{FF2B5EF4-FFF2-40B4-BE49-F238E27FC236}">
                  <a16:creationId xmlns:a16="http://schemas.microsoft.com/office/drawing/2014/main" id="{B1153C7F-4CE8-36F1-BC24-3588116887AA}"/>
                </a:ext>
              </a:extLst>
            </p:cNvPr>
            <p:cNvSpPr/>
            <p:nvPr/>
          </p:nvSpPr>
          <p:spPr bwMode="gray">
            <a:xfrm>
              <a:off x="613895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0" name="Grafik 3876">
              <a:extLst>
                <a:ext uri="{FF2B5EF4-FFF2-40B4-BE49-F238E27FC236}">
                  <a16:creationId xmlns:a16="http://schemas.microsoft.com/office/drawing/2014/main" id="{A3E303AD-3A34-350F-44CB-8AD962AE7328}"/>
                </a:ext>
              </a:extLst>
            </p:cNvPr>
            <p:cNvSpPr/>
            <p:nvPr/>
          </p:nvSpPr>
          <p:spPr bwMode="gray">
            <a:xfrm>
              <a:off x="6009322"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1" name="Grafik 3876">
              <a:extLst>
                <a:ext uri="{FF2B5EF4-FFF2-40B4-BE49-F238E27FC236}">
                  <a16:creationId xmlns:a16="http://schemas.microsoft.com/office/drawing/2014/main" id="{71600D13-B25C-648A-1C38-002D8592F9A4}"/>
                </a:ext>
              </a:extLst>
            </p:cNvPr>
            <p:cNvSpPr/>
            <p:nvPr/>
          </p:nvSpPr>
          <p:spPr bwMode="gray">
            <a:xfrm>
              <a:off x="6065995" y="3387184"/>
              <a:ext cx="62864" cy="62864"/>
            </a:xfrm>
            <a:custGeom>
              <a:avLst/>
              <a:gdLst>
                <a:gd name="connsiteX0" fmla="*/ 31432 w 62864"/>
                <a:gd name="connsiteY0" fmla="*/ 62865 h 62864"/>
                <a:gd name="connsiteX1" fmla="*/ 0 w 62864"/>
                <a:gd name="connsiteY1" fmla="*/ 31432 h 62864"/>
                <a:gd name="connsiteX2" fmla="*/ 31432 w 62864"/>
                <a:gd name="connsiteY2" fmla="*/ 0 h 62864"/>
                <a:gd name="connsiteX3" fmla="*/ 62865 w 62864"/>
                <a:gd name="connsiteY3" fmla="*/ 31432 h 62864"/>
                <a:gd name="connsiteX4" fmla="*/ 31432 w 62864"/>
                <a:gd name="connsiteY4" fmla="*/ 62865 h 62864"/>
                <a:gd name="connsiteX5" fmla="*/ 31432 w 62864"/>
                <a:gd name="connsiteY5" fmla="*/ 14288 h 62864"/>
                <a:gd name="connsiteX6" fmla="*/ 14288 w 62864"/>
                <a:gd name="connsiteY6" fmla="*/ 31432 h 62864"/>
                <a:gd name="connsiteX7" fmla="*/ 31432 w 62864"/>
                <a:gd name="connsiteY7" fmla="*/ 48577 h 62864"/>
                <a:gd name="connsiteX8" fmla="*/ 48577 w 62864"/>
                <a:gd name="connsiteY8" fmla="*/ 31432 h 62864"/>
                <a:gd name="connsiteX9" fmla="*/ 31432 w 62864"/>
                <a:gd name="connsiteY9" fmla="*/ 14288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4" h="62864">
                  <a:moveTo>
                    <a:pt x="31432" y="62865"/>
                  </a:moveTo>
                  <a:cubicBezTo>
                    <a:pt x="14097" y="62865"/>
                    <a:pt x="0" y="48768"/>
                    <a:pt x="0" y="31432"/>
                  </a:cubicBezTo>
                  <a:cubicBezTo>
                    <a:pt x="0" y="14097"/>
                    <a:pt x="14097" y="0"/>
                    <a:pt x="31432" y="0"/>
                  </a:cubicBezTo>
                  <a:cubicBezTo>
                    <a:pt x="48768" y="0"/>
                    <a:pt x="62865" y="14097"/>
                    <a:pt x="62865" y="31432"/>
                  </a:cubicBezTo>
                  <a:cubicBezTo>
                    <a:pt x="62865" y="48768"/>
                    <a:pt x="48863" y="62865"/>
                    <a:pt x="31432" y="62865"/>
                  </a:cubicBezTo>
                  <a:close/>
                  <a:moveTo>
                    <a:pt x="31432" y="14288"/>
                  </a:moveTo>
                  <a:cubicBezTo>
                    <a:pt x="22003" y="14288"/>
                    <a:pt x="14288" y="22003"/>
                    <a:pt x="14288" y="31432"/>
                  </a:cubicBezTo>
                  <a:cubicBezTo>
                    <a:pt x="14288" y="40862"/>
                    <a:pt x="22003" y="48577"/>
                    <a:pt x="31432" y="48577"/>
                  </a:cubicBezTo>
                  <a:cubicBezTo>
                    <a:pt x="40862" y="48577"/>
                    <a:pt x="48577" y="40862"/>
                    <a:pt x="48577" y="31432"/>
                  </a:cubicBezTo>
                  <a:cubicBezTo>
                    <a:pt x="48577" y="22003"/>
                    <a:pt x="40957" y="14288"/>
                    <a:pt x="31432" y="14288"/>
                  </a:cubicBezTo>
                  <a:close/>
                </a:path>
              </a:pathLst>
            </a:custGeom>
            <a:grpFill/>
            <a:ln w="9525" cap="flat">
              <a:noFill/>
              <a:prstDash val="solid"/>
              <a:miter/>
            </a:ln>
          </p:spPr>
          <p:txBody>
            <a:bodyPr rtlCol="0" anchor="ctr"/>
            <a:lstStyle/>
            <a:p>
              <a:endParaRPr lang="de-DE"/>
            </a:p>
          </p:txBody>
        </p:sp>
        <p:sp>
          <p:nvSpPr>
            <p:cNvPr id="362" name="Grafik 3876">
              <a:extLst>
                <a:ext uri="{FF2B5EF4-FFF2-40B4-BE49-F238E27FC236}">
                  <a16:creationId xmlns:a16="http://schemas.microsoft.com/office/drawing/2014/main" id="{7230521D-FC5B-26E2-999F-8E267A51A76E}"/>
                </a:ext>
              </a:extLst>
            </p:cNvPr>
            <p:cNvSpPr/>
            <p:nvPr/>
          </p:nvSpPr>
          <p:spPr bwMode="gray">
            <a:xfrm>
              <a:off x="6138957" y="3176587"/>
              <a:ext cx="46672" cy="79057"/>
            </a:xfrm>
            <a:custGeom>
              <a:avLst/>
              <a:gdLst>
                <a:gd name="connsiteX0" fmla="*/ 39529 w 46672"/>
                <a:gd name="connsiteY0" fmla="*/ 79058 h 79057"/>
                <a:gd name="connsiteX1" fmla="*/ 32385 w 46672"/>
                <a:gd name="connsiteY1" fmla="*/ 71914 h 79057"/>
                <a:gd name="connsiteX2" fmla="*/ 32385 w 46672"/>
                <a:gd name="connsiteY2" fmla="*/ 23336 h 79057"/>
                <a:gd name="connsiteX3" fmla="*/ 23336 w 46672"/>
                <a:gd name="connsiteY3" fmla="*/ 14288 h 79057"/>
                <a:gd name="connsiteX4" fmla="*/ 14288 w 46672"/>
                <a:gd name="connsiteY4" fmla="*/ 23336 h 79057"/>
                <a:gd name="connsiteX5" fmla="*/ 14288 w 46672"/>
                <a:gd name="connsiteY5" fmla="*/ 71914 h 79057"/>
                <a:gd name="connsiteX6" fmla="*/ 7144 w 46672"/>
                <a:gd name="connsiteY6" fmla="*/ 79058 h 79057"/>
                <a:gd name="connsiteX7" fmla="*/ 0 w 46672"/>
                <a:gd name="connsiteY7" fmla="*/ 71914 h 79057"/>
                <a:gd name="connsiteX8" fmla="*/ 0 w 46672"/>
                <a:gd name="connsiteY8" fmla="*/ 23336 h 79057"/>
                <a:gd name="connsiteX9" fmla="*/ 23336 w 46672"/>
                <a:gd name="connsiteY9" fmla="*/ 0 h 79057"/>
                <a:gd name="connsiteX10" fmla="*/ 46672 w 46672"/>
                <a:gd name="connsiteY10" fmla="*/ 23336 h 79057"/>
                <a:gd name="connsiteX11" fmla="*/ 46672 w 46672"/>
                <a:gd name="connsiteY11" fmla="*/ 71914 h 79057"/>
                <a:gd name="connsiteX12" fmla="*/ 39529 w 46672"/>
                <a:gd name="connsiteY12"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79057">
                  <a:moveTo>
                    <a:pt x="39529" y="79058"/>
                  </a:moveTo>
                  <a:cubicBezTo>
                    <a:pt x="35623" y="79058"/>
                    <a:pt x="32385" y="75819"/>
                    <a:pt x="32385" y="71914"/>
                  </a:cubicBezTo>
                  <a:lnTo>
                    <a:pt x="32385" y="23336"/>
                  </a:lnTo>
                  <a:cubicBezTo>
                    <a:pt x="32385" y="18383"/>
                    <a:pt x="28289" y="14288"/>
                    <a:pt x="23336" y="14288"/>
                  </a:cubicBezTo>
                  <a:cubicBezTo>
                    <a:pt x="18383" y="14288"/>
                    <a:pt x="14288" y="18383"/>
                    <a:pt x="14288" y="23336"/>
                  </a:cubicBezTo>
                  <a:lnTo>
                    <a:pt x="14288" y="71914"/>
                  </a:lnTo>
                  <a:cubicBezTo>
                    <a:pt x="14288" y="75819"/>
                    <a:pt x="11049" y="79058"/>
                    <a:pt x="7144" y="79058"/>
                  </a:cubicBezTo>
                  <a:cubicBezTo>
                    <a:pt x="3239" y="79058"/>
                    <a:pt x="0" y="75819"/>
                    <a:pt x="0" y="71914"/>
                  </a:cubicBezTo>
                  <a:lnTo>
                    <a:pt x="0" y="23336"/>
                  </a:lnTo>
                  <a:cubicBezTo>
                    <a:pt x="0" y="10478"/>
                    <a:pt x="10382" y="0"/>
                    <a:pt x="23336" y="0"/>
                  </a:cubicBezTo>
                  <a:cubicBezTo>
                    <a:pt x="36195" y="0"/>
                    <a:pt x="46672" y="10478"/>
                    <a:pt x="46672" y="23336"/>
                  </a:cubicBezTo>
                  <a:lnTo>
                    <a:pt x="46672" y="71914"/>
                  </a:lnTo>
                  <a:cubicBezTo>
                    <a:pt x="46672" y="75914"/>
                    <a:pt x="43434" y="79058"/>
                    <a:pt x="39529" y="79058"/>
                  </a:cubicBezTo>
                  <a:close/>
                </a:path>
              </a:pathLst>
            </a:custGeom>
            <a:grpFill/>
            <a:ln w="9525" cap="flat">
              <a:noFill/>
              <a:prstDash val="solid"/>
              <a:miter/>
            </a:ln>
          </p:spPr>
          <p:txBody>
            <a:bodyPr rtlCol="0" anchor="ctr"/>
            <a:lstStyle/>
            <a:p>
              <a:endParaRPr lang="de-DE"/>
            </a:p>
          </p:txBody>
        </p:sp>
        <p:sp>
          <p:nvSpPr>
            <p:cNvPr id="363" name="Grafik 3876">
              <a:extLst>
                <a:ext uri="{FF2B5EF4-FFF2-40B4-BE49-F238E27FC236}">
                  <a16:creationId xmlns:a16="http://schemas.microsoft.com/office/drawing/2014/main" id="{8CC4FF35-9B01-F585-C683-16C1899D7C6F}"/>
                </a:ext>
              </a:extLst>
            </p:cNvPr>
            <p:cNvSpPr/>
            <p:nvPr/>
          </p:nvSpPr>
          <p:spPr bwMode="gray">
            <a:xfrm>
              <a:off x="6009322" y="3273837"/>
              <a:ext cx="176307" cy="95249"/>
            </a:xfrm>
            <a:custGeom>
              <a:avLst/>
              <a:gdLst>
                <a:gd name="connsiteX0" fmla="*/ 152971 w 176307"/>
                <a:gd name="connsiteY0" fmla="*/ 95250 h 95249"/>
                <a:gd name="connsiteX1" fmla="*/ 23336 w 176307"/>
                <a:gd name="connsiteY1" fmla="*/ 95250 h 95249"/>
                <a:gd name="connsiteX2" fmla="*/ 0 w 176307"/>
                <a:gd name="connsiteY2" fmla="*/ 71914 h 95249"/>
                <a:gd name="connsiteX3" fmla="*/ 0 w 176307"/>
                <a:gd name="connsiteY3" fmla="*/ 23336 h 95249"/>
                <a:gd name="connsiteX4" fmla="*/ 23336 w 176307"/>
                <a:gd name="connsiteY4" fmla="*/ 0 h 95249"/>
                <a:gd name="connsiteX5" fmla="*/ 152971 w 176307"/>
                <a:gd name="connsiteY5" fmla="*/ 0 h 95249"/>
                <a:gd name="connsiteX6" fmla="*/ 176308 w 176307"/>
                <a:gd name="connsiteY6" fmla="*/ 23336 h 95249"/>
                <a:gd name="connsiteX7" fmla="*/ 176308 w 176307"/>
                <a:gd name="connsiteY7" fmla="*/ 71914 h 95249"/>
                <a:gd name="connsiteX8" fmla="*/ 152971 w 176307"/>
                <a:gd name="connsiteY8" fmla="*/ 95250 h 95249"/>
                <a:gd name="connsiteX9" fmla="*/ 23336 w 176307"/>
                <a:gd name="connsiteY9" fmla="*/ 14288 h 95249"/>
                <a:gd name="connsiteX10" fmla="*/ 14288 w 176307"/>
                <a:gd name="connsiteY10" fmla="*/ 23336 h 95249"/>
                <a:gd name="connsiteX11" fmla="*/ 14288 w 176307"/>
                <a:gd name="connsiteY11" fmla="*/ 71914 h 95249"/>
                <a:gd name="connsiteX12" fmla="*/ 23336 w 176307"/>
                <a:gd name="connsiteY12" fmla="*/ 80962 h 95249"/>
                <a:gd name="connsiteX13" fmla="*/ 152971 w 176307"/>
                <a:gd name="connsiteY13" fmla="*/ 80962 h 95249"/>
                <a:gd name="connsiteX14" fmla="*/ 162020 w 176307"/>
                <a:gd name="connsiteY14" fmla="*/ 71914 h 95249"/>
                <a:gd name="connsiteX15" fmla="*/ 162020 w 176307"/>
                <a:gd name="connsiteY15" fmla="*/ 23336 h 95249"/>
                <a:gd name="connsiteX16" fmla="*/ 152971 w 176307"/>
                <a:gd name="connsiteY16" fmla="*/ 14288 h 95249"/>
                <a:gd name="connsiteX17" fmla="*/ 23336 w 176307"/>
                <a:gd name="connsiteY17" fmla="*/ 1428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307" h="95249">
                  <a:moveTo>
                    <a:pt x="152971" y="95250"/>
                  </a:moveTo>
                  <a:lnTo>
                    <a:pt x="23336" y="95250"/>
                  </a:lnTo>
                  <a:cubicBezTo>
                    <a:pt x="10477" y="95250"/>
                    <a:pt x="0" y="84773"/>
                    <a:pt x="0" y="71914"/>
                  </a:cubicBezTo>
                  <a:lnTo>
                    <a:pt x="0" y="23336"/>
                  </a:lnTo>
                  <a:cubicBezTo>
                    <a:pt x="0" y="10478"/>
                    <a:pt x="10477" y="0"/>
                    <a:pt x="23336" y="0"/>
                  </a:cubicBezTo>
                  <a:lnTo>
                    <a:pt x="152971" y="0"/>
                  </a:lnTo>
                  <a:cubicBezTo>
                    <a:pt x="165830" y="0"/>
                    <a:pt x="176308" y="10478"/>
                    <a:pt x="176308" y="23336"/>
                  </a:cubicBezTo>
                  <a:lnTo>
                    <a:pt x="176308" y="71914"/>
                  </a:lnTo>
                  <a:cubicBezTo>
                    <a:pt x="176308" y="84773"/>
                    <a:pt x="165830" y="95250"/>
                    <a:pt x="152971" y="95250"/>
                  </a:cubicBezTo>
                  <a:close/>
                  <a:moveTo>
                    <a:pt x="23336" y="14288"/>
                  </a:moveTo>
                  <a:cubicBezTo>
                    <a:pt x="18383" y="14288"/>
                    <a:pt x="14288" y="18383"/>
                    <a:pt x="14288" y="23336"/>
                  </a:cubicBezTo>
                  <a:lnTo>
                    <a:pt x="14288" y="71914"/>
                  </a:lnTo>
                  <a:cubicBezTo>
                    <a:pt x="14288" y="76867"/>
                    <a:pt x="18383" y="80962"/>
                    <a:pt x="23336" y="80962"/>
                  </a:cubicBezTo>
                  <a:lnTo>
                    <a:pt x="152971" y="80962"/>
                  </a:lnTo>
                  <a:cubicBezTo>
                    <a:pt x="157925" y="80962"/>
                    <a:pt x="162020" y="76867"/>
                    <a:pt x="162020" y="71914"/>
                  </a:cubicBezTo>
                  <a:lnTo>
                    <a:pt x="162020" y="23336"/>
                  </a:lnTo>
                  <a:cubicBezTo>
                    <a:pt x="162020" y="18383"/>
                    <a:pt x="157925" y="14288"/>
                    <a:pt x="152971" y="14288"/>
                  </a:cubicBezTo>
                  <a:lnTo>
                    <a:pt x="23336" y="14288"/>
                  </a:lnTo>
                  <a:close/>
                </a:path>
              </a:pathLst>
            </a:custGeom>
            <a:grpFill/>
            <a:ln w="9525" cap="flat">
              <a:noFill/>
              <a:prstDash val="solid"/>
              <a:miter/>
            </a:ln>
          </p:spPr>
          <p:txBody>
            <a:bodyPr rtlCol="0" anchor="ctr"/>
            <a:lstStyle/>
            <a:p>
              <a:endParaRPr lang="de-DE"/>
            </a:p>
          </p:txBody>
        </p:sp>
      </p:grpSp>
      <p:grpSp>
        <p:nvGrpSpPr>
          <p:cNvPr id="364" name="Grafik 3878">
            <a:extLst>
              <a:ext uri="{FF2B5EF4-FFF2-40B4-BE49-F238E27FC236}">
                <a16:creationId xmlns:a16="http://schemas.microsoft.com/office/drawing/2014/main" id="{B8A2E332-8C4B-73C3-E09E-F3D5505CAA34}"/>
              </a:ext>
            </a:extLst>
          </p:cNvPr>
          <p:cNvGrpSpPr/>
          <p:nvPr/>
        </p:nvGrpSpPr>
        <p:grpSpPr bwMode="gray">
          <a:xfrm>
            <a:off x="5130236" y="3476738"/>
            <a:ext cx="374400" cy="374400"/>
            <a:chOff x="5843587" y="3176587"/>
            <a:chExt cx="500253" cy="500253"/>
          </a:xfrm>
          <a:solidFill>
            <a:schemeClr val="tx1"/>
          </a:solidFill>
        </p:grpSpPr>
        <p:sp>
          <p:nvSpPr>
            <p:cNvPr id="365" name="Grafik 3878">
              <a:extLst>
                <a:ext uri="{FF2B5EF4-FFF2-40B4-BE49-F238E27FC236}">
                  <a16:creationId xmlns:a16="http://schemas.microsoft.com/office/drawing/2014/main" id="{010DC006-227A-B59F-1866-F869782EB7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66" name="Grafik 3878">
              <a:extLst>
                <a:ext uri="{FF2B5EF4-FFF2-40B4-BE49-F238E27FC236}">
                  <a16:creationId xmlns:a16="http://schemas.microsoft.com/office/drawing/2014/main" id="{0DF8CB6C-57E7-9CE4-D3A7-54F4489AF1CE}"/>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67" name="Grafik 3878">
              <a:extLst>
                <a:ext uri="{FF2B5EF4-FFF2-40B4-BE49-F238E27FC236}">
                  <a16:creationId xmlns:a16="http://schemas.microsoft.com/office/drawing/2014/main" id="{ADF2864D-8EBF-0C3C-46E0-E3F2B6A90AA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8" name="Grafik 3878">
              <a:extLst>
                <a:ext uri="{FF2B5EF4-FFF2-40B4-BE49-F238E27FC236}">
                  <a16:creationId xmlns:a16="http://schemas.microsoft.com/office/drawing/2014/main" id="{67087C8D-5420-2A5C-52DC-D9929488AF9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9" name="Grafik 3878">
              <a:extLst>
                <a:ext uri="{FF2B5EF4-FFF2-40B4-BE49-F238E27FC236}">
                  <a16:creationId xmlns:a16="http://schemas.microsoft.com/office/drawing/2014/main" id="{B6C5C7E8-7BAC-6FAD-512B-08FE551B129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0" name="Grafik 3878">
              <a:extLst>
                <a:ext uri="{FF2B5EF4-FFF2-40B4-BE49-F238E27FC236}">
                  <a16:creationId xmlns:a16="http://schemas.microsoft.com/office/drawing/2014/main" id="{02CD3730-A40C-2AA0-4B82-AED0F5CB861F}"/>
                </a:ext>
              </a:extLst>
            </p:cNvPr>
            <p:cNvSpPr/>
            <p:nvPr/>
          </p:nvSpPr>
          <p:spPr bwMode="gray">
            <a:xfrm>
              <a:off x="5892135" y="3290196"/>
              <a:ext cx="338354" cy="338066"/>
            </a:xfrm>
            <a:custGeom>
              <a:avLst/>
              <a:gdLst>
                <a:gd name="connsiteX0" fmla="*/ 331214 w 338354"/>
                <a:gd name="connsiteY0" fmla="*/ 338066 h 338066"/>
                <a:gd name="connsiteX1" fmla="*/ 7173 w 338354"/>
                <a:gd name="connsiteY1" fmla="*/ 338066 h 338066"/>
                <a:gd name="connsiteX2" fmla="*/ 1077 w 338354"/>
                <a:gd name="connsiteY2" fmla="*/ 334637 h 338066"/>
                <a:gd name="connsiteX3" fmla="*/ 791 w 338354"/>
                <a:gd name="connsiteY3" fmla="*/ 327684 h 338066"/>
                <a:gd name="connsiteX4" fmla="*/ 162812 w 338354"/>
                <a:gd name="connsiteY4" fmla="*/ 3643 h 338066"/>
                <a:gd name="connsiteX5" fmla="*/ 175575 w 338354"/>
                <a:gd name="connsiteY5" fmla="*/ 3643 h 338066"/>
                <a:gd name="connsiteX6" fmla="*/ 337595 w 338354"/>
                <a:gd name="connsiteY6" fmla="*/ 327684 h 338066"/>
                <a:gd name="connsiteX7" fmla="*/ 337310 w 338354"/>
                <a:gd name="connsiteY7" fmla="*/ 334637 h 338066"/>
                <a:gd name="connsiteX8" fmla="*/ 331214 w 338354"/>
                <a:gd name="connsiteY8" fmla="*/ 338066 h 338066"/>
                <a:gd name="connsiteX9" fmla="*/ 18794 w 338354"/>
                <a:gd name="connsiteY9" fmla="*/ 323779 h 338066"/>
                <a:gd name="connsiteX10" fmla="*/ 319688 w 338354"/>
                <a:gd name="connsiteY10" fmla="*/ 323779 h 338066"/>
                <a:gd name="connsiteX11" fmla="*/ 169193 w 338354"/>
                <a:gd name="connsiteY11" fmla="*/ 22884 h 338066"/>
                <a:gd name="connsiteX12" fmla="*/ 18794 w 338354"/>
                <a:gd name="connsiteY12" fmla="*/ 323779 h 33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354" h="338066">
                  <a:moveTo>
                    <a:pt x="331214" y="338066"/>
                  </a:moveTo>
                  <a:lnTo>
                    <a:pt x="7173" y="338066"/>
                  </a:lnTo>
                  <a:cubicBezTo>
                    <a:pt x="4697" y="338066"/>
                    <a:pt x="2411" y="336828"/>
                    <a:pt x="1077" y="334637"/>
                  </a:cubicBezTo>
                  <a:cubicBezTo>
                    <a:pt x="-256" y="332542"/>
                    <a:pt x="-352" y="329875"/>
                    <a:pt x="791" y="327684"/>
                  </a:cubicBezTo>
                  <a:lnTo>
                    <a:pt x="162812" y="3643"/>
                  </a:lnTo>
                  <a:cubicBezTo>
                    <a:pt x="165193" y="-1214"/>
                    <a:pt x="173194" y="-1214"/>
                    <a:pt x="175575" y="3643"/>
                  </a:cubicBezTo>
                  <a:lnTo>
                    <a:pt x="337595" y="327684"/>
                  </a:lnTo>
                  <a:cubicBezTo>
                    <a:pt x="338738" y="329875"/>
                    <a:pt x="338548" y="332542"/>
                    <a:pt x="337310" y="334637"/>
                  </a:cubicBezTo>
                  <a:cubicBezTo>
                    <a:pt x="335976" y="336828"/>
                    <a:pt x="333690" y="338066"/>
                    <a:pt x="331214" y="338066"/>
                  </a:cubicBezTo>
                  <a:close/>
                  <a:moveTo>
                    <a:pt x="18794" y="323779"/>
                  </a:moveTo>
                  <a:lnTo>
                    <a:pt x="319688" y="323779"/>
                  </a:lnTo>
                  <a:lnTo>
                    <a:pt x="169193" y="22884"/>
                  </a:lnTo>
                  <a:lnTo>
                    <a:pt x="18794" y="323779"/>
                  </a:lnTo>
                  <a:close/>
                </a:path>
              </a:pathLst>
            </a:custGeom>
            <a:grpFill/>
            <a:ln w="9525" cap="flat">
              <a:noFill/>
              <a:prstDash val="solid"/>
              <a:miter/>
            </a:ln>
          </p:spPr>
          <p:txBody>
            <a:bodyPr rtlCol="0" anchor="ctr"/>
            <a:lstStyle/>
            <a:p>
              <a:endParaRPr lang="de-DE"/>
            </a:p>
          </p:txBody>
        </p:sp>
        <p:sp>
          <p:nvSpPr>
            <p:cNvPr id="371" name="Grafik 3878">
              <a:extLst>
                <a:ext uri="{FF2B5EF4-FFF2-40B4-BE49-F238E27FC236}">
                  <a16:creationId xmlns:a16="http://schemas.microsoft.com/office/drawing/2014/main" id="{CFEBB4DD-236D-5C6A-F754-D5715392E458}"/>
                </a:ext>
              </a:extLst>
            </p:cNvPr>
            <p:cNvSpPr/>
            <p:nvPr/>
          </p:nvSpPr>
          <p:spPr bwMode="gray">
            <a:xfrm>
              <a:off x="6075896" y="3411927"/>
              <a:ext cx="44772" cy="54695"/>
            </a:xfrm>
            <a:custGeom>
              <a:avLst/>
              <a:gdLst>
                <a:gd name="connsiteX0" fmla="*/ 37915 w 44772"/>
                <a:gd name="connsiteY0" fmla="*/ 54696 h 54695"/>
                <a:gd name="connsiteX1" fmla="*/ 35629 w 44772"/>
                <a:gd name="connsiteY1" fmla="*/ 54315 h 54695"/>
                <a:gd name="connsiteX2" fmla="*/ 4863 w 44772"/>
                <a:gd name="connsiteY2" fmla="*/ 44028 h 54695"/>
                <a:gd name="connsiteX3" fmla="*/ 100 w 44772"/>
                <a:gd name="connsiteY3" fmla="*/ 36027 h 54695"/>
                <a:gd name="connsiteX4" fmla="*/ 100 w 44772"/>
                <a:gd name="connsiteY4" fmla="*/ 36027 h 54695"/>
                <a:gd name="connsiteX5" fmla="*/ 100 w 44772"/>
                <a:gd name="connsiteY5" fmla="*/ 35932 h 54695"/>
                <a:gd name="connsiteX6" fmla="*/ 100 w 44772"/>
                <a:gd name="connsiteY6" fmla="*/ 35932 h 54695"/>
                <a:gd name="connsiteX7" fmla="*/ 100 w 44772"/>
                <a:gd name="connsiteY7" fmla="*/ 35932 h 54695"/>
                <a:gd name="connsiteX8" fmla="*/ 100 w 44772"/>
                <a:gd name="connsiteY8" fmla="*/ 35932 h 54695"/>
                <a:gd name="connsiteX9" fmla="*/ 100 w 44772"/>
                <a:gd name="connsiteY9" fmla="*/ 35932 h 54695"/>
                <a:gd name="connsiteX10" fmla="*/ 100 w 44772"/>
                <a:gd name="connsiteY10" fmla="*/ 35932 h 54695"/>
                <a:gd name="connsiteX11" fmla="*/ 100 w 44772"/>
                <a:gd name="connsiteY11" fmla="*/ 35836 h 54695"/>
                <a:gd name="connsiteX12" fmla="*/ 100 w 44772"/>
                <a:gd name="connsiteY12" fmla="*/ 35836 h 54695"/>
                <a:gd name="connsiteX13" fmla="*/ 100 w 44772"/>
                <a:gd name="connsiteY13" fmla="*/ 35836 h 54695"/>
                <a:gd name="connsiteX14" fmla="*/ 100 w 44772"/>
                <a:gd name="connsiteY14" fmla="*/ 35836 h 54695"/>
                <a:gd name="connsiteX15" fmla="*/ 100 w 44772"/>
                <a:gd name="connsiteY15" fmla="*/ 35836 h 54695"/>
                <a:gd name="connsiteX16" fmla="*/ 100 w 44772"/>
                <a:gd name="connsiteY16" fmla="*/ 35836 h 54695"/>
                <a:gd name="connsiteX17" fmla="*/ 100 w 44772"/>
                <a:gd name="connsiteY17" fmla="*/ 35836 h 54695"/>
                <a:gd name="connsiteX18" fmla="*/ 100 w 44772"/>
                <a:gd name="connsiteY18" fmla="*/ 35836 h 54695"/>
                <a:gd name="connsiteX19" fmla="*/ 100 w 44772"/>
                <a:gd name="connsiteY19" fmla="*/ 35836 h 54695"/>
                <a:gd name="connsiteX20" fmla="*/ 100 w 44772"/>
                <a:gd name="connsiteY20" fmla="*/ 35836 h 54695"/>
                <a:gd name="connsiteX21" fmla="*/ 100 w 44772"/>
                <a:gd name="connsiteY21" fmla="*/ 35836 h 54695"/>
                <a:gd name="connsiteX22" fmla="*/ 100 w 44772"/>
                <a:gd name="connsiteY22" fmla="*/ 35836 h 54695"/>
                <a:gd name="connsiteX23" fmla="*/ 100 w 44772"/>
                <a:gd name="connsiteY23" fmla="*/ 35836 h 54695"/>
                <a:gd name="connsiteX24" fmla="*/ 100 w 44772"/>
                <a:gd name="connsiteY24" fmla="*/ 35836 h 54695"/>
                <a:gd name="connsiteX25" fmla="*/ 100 w 44772"/>
                <a:gd name="connsiteY25" fmla="*/ 35741 h 54695"/>
                <a:gd name="connsiteX26" fmla="*/ 100 w 44772"/>
                <a:gd name="connsiteY26" fmla="*/ 35741 h 54695"/>
                <a:gd name="connsiteX27" fmla="*/ 100 w 44772"/>
                <a:gd name="connsiteY27" fmla="*/ 35646 h 54695"/>
                <a:gd name="connsiteX28" fmla="*/ 100 w 44772"/>
                <a:gd name="connsiteY28" fmla="*/ 35646 h 54695"/>
                <a:gd name="connsiteX29" fmla="*/ 100 w 44772"/>
                <a:gd name="connsiteY29" fmla="*/ 35646 h 54695"/>
                <a:gd name="connsiteX30" fmla="*/ 100 w 44772"/>
                <a:gd name="connsiteY30" fmla="*/ 35646 h 54695"/>
                <a:gd name="connsiteX31" fmla="*/ 100 w 44772"/>
                <a:gd name="connsiteY31" fmla="*/ 35646 h 54695"/>
                <a:gd name="connsiteX32" fmla="*/ 100 w 44772"/>
                <a:gd name="connsiteY32" fmla="*/ 35646 h 54695"/>
                <a:gd name="connsiteX33" fmla="*/ 100 w 44772"/>
                <a:gd name="connsiteY33" fmla="*/ 35646 h 54695"/>
                <a:gd name="connsiteX34" fmla="*/ 100 w 44772"/>
                <a:gd name="connsiteY34" fmla="*/ 35646 h 54695"/>
                <a:gd name="connsiteX35" fmla="*/ 100 w 44772"/>
                <a:gd name="connsiteY35" fmla="*/ 35646 h 54695"/>
                <a:gd name="connsiteX36" fmla="*/ 100 w 44772"/>
                <a:gd name="connsiteY36" fmla="*/ 35646 h 54695"/>
                <a:gd name="connsiteX37" fmla="*/ 100 w 44772"/>
                <a:gd name="connsiteY37" fmla="*/ 35646 h 54695"/>
                <a:gd name="connsiteX38" fmla="*/ 100 w 44772"/>
                <a:gd name="connsiteY38" fmla="*/ 35646 h 54695"/>
                <a:gd name="connsiteX39" fmla="*/ 100 w 44772"/>
                <a:gd name="connsiteY39" fmla="*/ 35646 h 54695"/>
                <a:gd name="connsiteX40" fmla="*/ 100 w 44772"/>
                <a:gd name="connsiteY40" fmla="*/ 35646 h 54695"/>
                <a:gd name="connsiteX41" fmla="*/ 100 w 44772"/>
                <a:gd name="connsiteY41" fmla="*/ 35646 h 54695"/>
                <a:gd name="connsiteX42" fmla="*/ 100 w 44772"/>
                <a:gd name="connsiteY42" fmla="*/ 35646 h 54695"/>
                <a:gd name="connsiteX43" fmla="*/ 100 w 44772"/>
                <a:gd name="connsiteY43" fmla="*/ 35646 h 54695"/>
                <a:gd name="connsiteX44" fmla="*/ 100 w 44772"/>
                <a:gd name="connsiteY44" fmla="*/ 35646 h 54695"/>
                <a:gd name="connsiteX45" fmla="*/ 100 w 44772"/>
                <a:gd name="connsiteY45" fmla="*/ 35646 h 54695"/>
                <a:gd name="connsiteX46" fmla="*/ 100 w 44772"/>
                <a:gd name="connsiteY46" fmla="*/ 35646 h 54695"/>
                <a:gd name="connsiteX47" fmla="*/ 100 w 44772"/>
                <a:gd name="connsiteY47" fmla="*/ 35646 h 54695"/>
                <a:gd name="connsiteX48" fmla="*/ 100 w 44772"/>
                <a:gd name="connsiteY48" fmla="*/ 35646 h 54695"/>
                <a:gd name="connsiteX49" fmla="*/ 100 w 44772"/>
                <a:gd name="connsiteY49" fmla="*/ 35646 h 54695"/>
                <a:gd name="connsiteX50" fmla="*/ 100 w 44772"/>
                <a:gd name="connsiteY50" fmla="*/ 35646 h 54695"/>
                <a:gd name="connsiteX51" fmla="*/ 100 w 44772"/>
                <a:gd name="connsiteY51" fmla="*/ 35646 h 54695"/>
                <a:gd name="connsiteX52" fmla="*/ 100 w 44772"/>
                <a:gd name="connsiteY52" fmla="*/ 35646 h 54695"/>
                <a:gd name="connsiteX53" fmla="*/ 100 w 44772"/>
                <a:gd name="connsiteY53" fmla="*/ 35646 h 54695"/>
                <a:gd name="connsiteX54" fmla="*/ 100 w 44772"/>
                <a:gd name="connsiteY54" fmla="*/ 35646 h 54695"/>
                <a:gd name="connsiteX55" fmla="*/ 100 w 44772"/>
                <a:gd name="connsiteY55" fmla="*/ 35646 h 54695"/>
                <a:gd name="connsiteX56" fmla="*/ 100 w 44772"/>
                <a:gd name="connsiteY56" fmla="*/ 35646 h 54695"/>
                <a:gd name="connsiteX57" fmla="*/ 100 w 44772"/>
                <a:gd name="connsiteY57" fmla="*/ 35646 h 54695"/>
                <a:gd name="connsiteX58" fmla="*/ 100 w 44772"/>
                <a:gd name="connsiteY58" fmla="*/ 35646 h 54695"/>
                <a:gd name="connsiteX59" fmla="*/ 100 w 44772"/>
                <a:gd name="connsiteY59" fmla="*/ 35646 h 54695"/>
                <a:gd name="connsiteX60" fmla="*/ 100 w 44772"/>
                <a:gd name="connsiteY60" fmla="*/ 35646 h 54695"/>
                <a:gd name="connsiteX61" fmla="*/ 100 w 44772"/>
                <a:gd name="connsiteY61" fmla="*/ 35646 h 54695"/>
                <a:gd name="connsiteX62" fmla="*/ 100 w 44772"/>
                <a:gd name="connsiteY62" fmla="*/ 35646 h 54695"/>
                <a:gd name="connsiteX63" fmla="*/ 100 w 44772"/>
                <a:gd name="connsiteY63" fmla="*/ 35646 h 54695"/>
                <a:gd name="connsiteX64" fmla="*/ 100 w 44772"/>
                <a:gd name="connsiteY64" fmla="*/ 35646 h 54695"/>
                <a:gd name="connsiteX65" fmla="*/ 100 w 44772"/>
                <a:gd name="connsiteY65" fmla="*/ 35646 h 54695"/>
                <a:gd name="connsiteX66" fmla="*/ 100 w 44772"/>
                <a:gd name="connsiteY66" fmla="*/ 35646 h 54695"/>
                <a:gd name="connsiteX67" fmla="*/ 100 w 44772"/>
                <a:gd name="connsiteY67" fmla="*/ 35646 h 54695"/>
                <a:gd name="connsiteX68" fmla="*/ 100 w 44772"/>
                <a:gd name="connsiteY68" fmla="*/ 35646 h 54695"/>
                <a:gd name="connsiteX69" fmla="*/ 100 w 44772"/>
                <a:gd name="connsiteY69" fmla="*/ 35646 h 54695"/>
                <a:gd name="connsiteX70" fmla="*/ 100 w 44772"/>
                <a:gd name="connsiteY70" fmla="*/ 35646 h 54695"/>
                <a:gd name="connsiteX71" fmla="*/ 100 w 44772"/>
                <a:gd name="connsiteY71" fmla="*/ 35646 h 54695"/>
                <a:gd name="connsiteX72" fmla="*/ 100 w 44772"/>
                <a:gd name="connsiteY72" fmla="*/ 35646 h 54695"/>
                <a:gd name="connsiteX73" fmla="*/ 100 w 44772"/>
                <a:gd name="connsiteY73" fmla="*/ 35646 h 54695"/>
                <a:gd name="connsiteX74" fmla="*/ 100 w 44772"/>
                <a:gd name="connsiteY74" fmla="*/ 35646 h 54695"/>
                <a:gd name="connsiteX75" fmla="*/ 10387 w 44772"/>
                <a:gd name="connsiteY75" fmla="*/ 4880 h 54695"/>
                <a:gd name="connsiteX76" fmla="*/ 19436 w 44772"/>
                <a:gd name="connsiteY76" fmla="*/ 403 h 54695"/>
                <a:gd name="connsiteX77" fmla="*/ 23913 w 44772"/>
                <a:gd name="connsiteY77" fmla="*/ 9452 h 54695"/>
                <a:gd name="connsiteX78" fmla="*/ 15912 w 44772"/>
                <a:gd name="connsiteY78" fmla="*/ 33360 h 54695"/>
                <a:gd name="connsiteX79" fmla="*/ 39915 w 44772"/>
                <a:gd name="connsiteY79" fmla="*/ 41361 h 54695"/>
                <a:gd name="connsiteX80" fmla="*/ 44773 w 44772"/>
                <a:gd name="connsiteY80" fmla="*/ 48124 h 54695"/>
                <a:gd name="connsiteX81" fmla="*/ 44392 w 44772"/>
                <a:gd name="connsiteY81" fmla="*/ 50410 h 54695"/>
                <a:gd name="connsiteX82" fmla="*/ 37915 w 44772"/>
                <a:gd name="connsiteY82" fmla="*/ 54696 h 5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772" h="54695">
                  <a:moveTo>
                    <a:pt x="37915" y="54696"/>
                  </a:moveTo>
                  <a:cubicBezTo>
                    <a:pt x="37153" y="54696"/>
                    <a:pt x="36391" y="54601"/>
                    <a:pt x="35629" y="54315"/>
                  </a:cubicBezTo>
                  <a:lnTo>
                    <a:pt x="4863" y="44028"/>
                  </a:lnTo>
                  <a:cubicBezTo>
                    <a:pt x="1434" y="42885"/>
                    <a:pt x="-471" y="39456"/>
                    <a:pt x="100" y="36027"/>
                  </a:cubicBezTo>
                  <a:lnTo>
                    <a:pt x="100" y="36027"/>
                  </a:lnTo>
                  <a:cubicBezTo>
                    <a:pt x="100" y="36027"/>
                    <a:pt x="100" y="36027"/>
                    <a:pt x="100" y="35932"/>
                  </a:cubicBezTo>
                  <a:lnTo>
                    <a:pt x="100" y="35932"/>
                  </a:lnTo>
                  <a:cubicBezTo>
                    <a:pt x="100" y="35932"/>
                    <a:pt x="100" y="35932"/>
                    <a:pt x="100" y="35932"/>
                  </a:cubicBezTo>
                  <a:lnTo>
                    <a:pt x="100" y="35932"/>
                  </a:lnTo>
                  <a:cubicBezTo>
                    <a:pt x="100" y="35932"/>
                    <a:pt x="100" y="35932"/>
                    <a:pt x="100" y="35932"/>
                  </a:cubicBezTo>
                  <a:lnTo>
                    <a:pt x="100" y="35932"/>
                  </a:lnTo>
                  <a:cubicBezTo>
                    <a:pt x="100" y="35932"/>
                    <a:pt x="100" y="35932"/>
                    <a:pt x="100" y="35836"/>
                  </a:cubicBezTo>
                  <a:cubicBezTo>
                    <a:pt x="100" y="35836"/>
                    <a:pt x="100" y="35836"/>
                    <a:pt x="100" y="35836"/>
                  </a:cubicBez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cubicBezTo>
                    <a:pt x="100" y="35836"/>
                    <a:pt x="100" y="35836"/>
                    <a:pt x="100" y="35836"/>
                  </a:cubicBezTo>
                  <a:cubicBezTo>
                    <a:pt x="100" y="35836"/>
                    <a:pt x="100" y="35836"/>
                    <a:pt x="100" y="35836"/>
                  </a:cubicBezTo>
                  <a:lnTo>
                    <a:pt x="100" y="35836"/>
                  </a:lnTo>
                  <a:cubicBezTo>
                    <a:pt x="100" y="35836"/>
                    <a:pt x="100" y="35836"/>
                    <a:pt x="100" y="35741"/>
                  </a:cubicBezTo>
                  <a:lnTo>
                    <a:pt x="100" y="35741"/>
                  </a:lnTo>
                  <a:cubicBezTo>
                    <a:pt x="100" y="35741"/>
                    <a:pt x="100" y="35741"/>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lnTo>
                    <a:pt x="100" y="35646"/>
                  </a:lnTo>
                  <a:cubicBezTo>
                    <a:pt x="100" y="35646"/>
                    <a:pt x="100" y="35646"/>
                    <a:pt x="100" y="35646"/>
                  </a:cubicBezTo>
                  <a:lnTo>
                    <a:pt x="100" y="35646"/>
                  </a:lnTo>
                  <a:lnTo>
                    <a:pt x="100" y="35646"/>
                  </a:lnTo>
                  <a:lnTo>
                    <a:pt x="100" y="35646"/>
                  </a:lnTo>
                  <a:cubicBezTo>
                    <a:pt x="100" y="35646"/>
                    <a:pt x="100" y="35646"/>
                    <a:pt x="100" y="35646"/>
                  </a:cubicBezTo>
                  <a:cubicBezTo>
                    <a:pt x="100" y="35646"/>
                    <a:pt x="100" y="35646"/>
                    <a:pt x="100" y="35646"/>
                  </a:cubicBezTo>
                  <a:lnTo>
                    <a:pt x="100" y="35646"/>
                  </a:lnTo>
                  <a:lnTo>
                    <a:pt x="100" y="35646"/>
                  </a:lnTo>
                  <a:lnTo>
                    <a:pt x="10387" y="4880"/>
                  </a:lnTo>
                  <a:cubicBezTo>
                    <a:pt x="11626" y="1165"/>
                    <a:pt x="15626" y="-930"/>
                    <a:pt x="19436" y="403"/>
                  </a:cubicBezTo>
                  <a:cubicBezTo>
                    <a:pt x="23151" y="1642"/>
                    <a:pt x="25151" y="5737"/>
                    <a:pt x="23913" y="9452"/>
                  </a:cubicBezTo>
                  <a:lnTo>
                    <a:pt x="15912" y="33360"/>
                  </a:lnTo>
                  <a:lnTo>
                    <a:pt x="39915" y="41361"/>
                  </a:lnTo>
                  <a:cubicBezTo>
                    <a:pt x="42868" y="42409"/>
                    <a:pt x="44773" y="45171"/>
                    <a:pt x="44773" y="48124"/>
                  </a:cubicBezTo>
                  <a:cubicBezTo>
                    <a:pt x="44773" y="48886"/>
                    <a:pt x="44677" y="49648"/>
                    <a:pt x="44392" y="50410"/>
                  </a:cubicBezTo>
                  <a:cubicBezTo>
                    <a:pt x="43725" y="52791"/>
                    <a:pt x="40963" y="54696"/>
                    <a:pt x="37915" y="54696"/>
                  </a:cubicBezTo>
                  <a:close/>
                </a:path>
              </a:pathLst>
            </a:custGeom>
            <a:grpFill/>
            <a:ln w="9525" cap="flat">
              <a:noFill/>
              <a:prstDash val="solid"/>
              <a:miter/>
            </a:ln>
          </p:spPr>
          <p:txBody>
            <a:bodyPr rtlCol="0" anchor="ctr"/>
            <a:lstStyle/>
            <a:p>
              <a:endParaRPr lang="de-DE"/>
            </a:p>
          </p:txBody>
        </p:sp>
        <p:sp>
          <p:nvSpPr>
            <p:cNvPr id="372" name="Grafik 3878">
              <a:extLst>
                <a:ext uri="{FF2B5EF4-FFF2-40B4-BE49-F238E27FC236}">
                  <a16:creationId xmlns:a16="http://schemas.microsoft.com/office/drawing/2014/main" id="{905E060F-E9CC-62B8-0A93-6C877D48915F}"/>
                </a:ext>
              </a:extLst>
            </p:cNvPr>
            <p:cNvSpPr/>
            <p:nvPr/>
          </p:nvSpPr>
          <p:spPr bwMode="gray">
            <a:xfrm>
              <a:off x="6054258" y="3282286"/>
              <a:ext cx="119902" cy="152428"/>
            </a:xfrm>
            <a:custGeom>
              <a:avLst/>
              <a:gdLst>
                <a:gd name="connsiteX0" fmla="*/ 72316 w 119902"/>
                <a:gd name="connsiteY0" fmla="*/ 152428 h 152428"/>
                <a:gd name="connsiteX1" fmla="*/ 65934 w 119902"/>
                <a:gd name="connsiteY1" fmla="*/ 148523 h 152428"/>
                <a:gd name="connsiteX2" fmla="*/ 69173 w 119902"/>
                <a:gd name="connsiteY2" fmla="*/ 138903 h 152428"/>
                <a:gd name="connsiteX3" fmla="*/ 98605 w 119902"/>
                <a:gd name="connsiteY3" fmla="*/ 50701 h 152428"/>
                <a:gd name="connsiteX4" fmla="*/ 60600 w 119902"/>
                <a:gd name="connsiteY4" fmla="*/ 17745 h 152428"/>
                <a:gd name="connsiteX5" fmla="*/ 10403 w 119902"/>
                <a:gd name="connsiteY5" fmla="*/ 21364 h 152428"/>
                <a:gd name="connsiteX6" fmla="*/ 783 w 119902"/>
                <a:gd name="connsiteY6" fmla="*/ 18126 h 152428"/>
                <a:gd name="connsiteX7" fmla="*/ 4022 w 119902"/>
                <a:gd name="connsiteY7" fmla="*/ 8506 h 152428"/>
                <a:gd name="connsiteX8" fmla="*/ 65172 w 119902"/>
                <a:gd name="connsiteY8" fmla="*/ 4124 h 152428"/>
                <a:gd name="connsiteX9" fmla="*/ 111464 w 119902"/>
                <a:gd name="connsiteY9" fmla="*/ 44224 h 152428"/>
                <a:gd name="connsiteX10" fmla="*/ 75650 w 119902"/>
                <a:gd name="connsiteY10" fmla="*/ 151571 h 152428"/>
                <a:gd name="connsiteX11" fmla="*/ 72316 w 119902"/>
                <a:gd name="connsiteY11" fmla="*/ 152428 h 15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02" h="152428">
                  <a:moveTo>
                    <a:pt x="72316" y="152428"/>
                  </a:moveTo>
                  <a:cubicBezTo>
                    <a:pt x="69744" y="152428"/>
                    <a:pt x="67172" y="151000"/>
                    <a:pt x="65934" y="148523"/>
                  </a:cubicBezTo>
                  <a:cubicBezTo>
                    <a:pt x="64124" y="144999"/>
                    <a:pt x="65553" y="140713"/>
                    <a:pt x="69173" y="138903"/>
                  </a:cubicBezTo>
                  <a:cubicBezTo>
                    <a:pt x="101558" y="122710"/>
                    <a:pt x="114797" y="83086"/>
                    <a:pt x="98605" y="50701"/>
                  </a:cubicBezTo>
                  <a:cubicBezTo>
                    <a:pt x="90794" y="34985"/>
                    <a:pt x="77269" y="23269"/>
                    <a:pt x="60600" y="17745"/>
                  </a:cubicBezTo>
                  <a:cubicBezTo>
                    <a:pt x="43931" y="12220"/>
                    <a:pt x="26120" y="13459"/>
                    <a:pt x="10403" y="21364"/>
                  </a:cubicBezTo>
                  <a:cubicBezTo>
                    <a:pt x="6879" y="23174"/>
                    <a:pt x="2593" y="21745"/>
                    <a:pt x="783" y="18126"/>
                  </a:cubicBezTo>
                  <a:cubicBezTo>
                    <a:pt x="-1027" y="14602"/>
                    <a:pt x="402" y="10315"/>
                    <a:pt x="4022" y="8506"/>
                  </a:cubicBezTo>
                  <a:cubicBezTo>
                    <a:pt x="23167" y="-1019"/>
                    <a:pt x="44884" y="-2639"/>
                    <a:pt x="65172" y="4124"/>
                  </a:cubicBezTo>
                  <a:cubicBezTo>
                    <a:pt x="85460" y="10887"/>
                    <a:pt x="101843" y="25174"/>
                    <a:pt x="111464" y="44224"/>
                  </a:cubicBezTo>
                  <a:cubicBezTo>
                    <a:pt x="131180" y="83658"/>
                    <a:pt x="115178" y="131854"/>
                    <a:pt x="75650" y="151571"/>
                  </a:cubicBezTo>
                  <a:cubicBezTo>
                    <a:pt x="74411" y="152143"/>
                    <a:pt x="73364" y="152428"/>
                    <a:pt x="72316" y="152428"/>
                  </a:cubicBezTo>
                  <a:close/>
                </a:path>
              </a:pathLst>
            </a:custGeom>
            <a:grpFill/>
            <a:ln w="9525" cap="flat">
              <a:noFill/>
              <a:prstDash val="solid"/>
              <a:miter/>
            </a:ln>
          </p:spPr>
          <p:txBody>
            <a:bodyPr rtlCol="0" anchor="ctr"/>
            <a:lstStyle/>
            <a:p>
              <a:endParaRPr lang="de-DE"/>
            </a:p>
          </p:txBody>
        </p:sp>
        <p:sp>
          <p:nvSpPr>
            <p:cNvPr id="373" name="Grafik 3878">
              <a:extLst>
                <a:ext uri="{FF2B5EF4-FFF2-40B4-BE49-F238E27FC236}">
                  <a16:creationId xmlns:a16="http://schemas.microsoft.com/office/drawing/2014/main" id="{DB82F4B5-0942-B602-24E9-B1F5071AAD68}"/>
                </a:ext>
              </a:extLst>
            </p:cNvPr>
            <p:cNvSpPr/>
            <p:nvPr/>
          </p:nvSpPr>
          <p:spPr bwMode="gray">
            <a:xfrm>
              <a:off x="6075880" y="3420352"/>
              <a:ext cx="57858" cy="36078"/>
            </a:xfrm>
            <a:custGeom>
              <a:avLst/>
              <a:gdLst>
                <a:gd name="connsiteX0" fmla="*/ 7165 w 57858"/>
                <a:gd name="connsiteY0" fmla="*/ 36079 h 36078"/>
                <a:gd name="connsiteX1" fmla="*/ 783 w 57858"/>
                <a:gd name="connsiteY1" fmla="*/ 32078 h 36078"/>
                <a:gd name="connsiteX2" fmla="*/ 4022 w 57858"/>
                <a:gd name="connsiteY2" fmla="*/ 22458 h 36078"/>
                <a:gd name="connsiteX3" fmla="*/ 47456 w 57858"/>
                <a:gd name="connsiteY3" fmla="*/ 741 h 36078"/>
                <a:gd name="connsiteX4" fmla="*/ 57076 w 57858"/>
                <a:gd name="connsiteY4" fmla="*/ 3980 h 36078"/>
                <a:gd name="connsiteX5" fmla="*/ 53837 w 57858"/>
                <a:gd name="connsiteY5" fmla="*/ 13600 h 36078"/>
                <a:gd name="connsiteX6" fmla="*/ 10403 w 57858"/>
                <a:gd name="connsiteY6" fmla="*/ 35317 h 36078"/>
                <a:gd name="connsiteX7" fmla="*/ 7165 w 57858"/>
                <a:gd name="connsiteY7" fmla="*/ 36079 h 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58" h="36078">
                  <a:moveTo>
                    <a:pt x="7165" y="36079"/>
                  </a:moveTo>
                  <a:cubicBezTo>
                    <a:pt x="4593" y="36079"/>
                    <a:pt x="2021" y="34650"/>
                    <a:pt x="783" y="32078"/>
                  </a:cubicBezTo>
                  <a:cubicBezTo>
                    <a:pt x="-1027" y="28554"/>
                    <a:pt x="402" y="24268"/>
                    <a:pt x="4022" y="22458"/>
                  </a:cubicBezTo>
                  <a:lnTo>
                    <a:pt x="47456" y="741"/>
                  </a:lnTo>
                  <a:cubicBezTo>
                    <a:pt x="50980" y="-973"/>
                    <a:pt x="55266" y="360"/>
                    <a:pt x="57076" y="3980"/>
                  </a:cubicBezTo>
                  <a:cubicBezTo>
                    <a:pt x="58886" y="7504"/>
                    <a:pt x="57457" y="11790"/>
                    <a:pt x="53837" y="13600"/>
                  </a:cubicBezTo>
                  <a:lnTo>
                    <a:pt x="10403" y="35317"/>
                  </a:lnTo>
                  <a:cubicBezTo>
                    <a:pt x="9356" y="35793"/>
                    <a:pt x="8308" y="36079"/>
                    <a:pt x="7165" y="36079"/>
                  </a:cubicBezTo>
                  <a:close/>
                </a:path>
              </a:pathLst>
            </a:custGeom>
            <a:grpFill/>
            <a:ln w="9525" cap="flat">
              <a:noFill/>
              <a:prstDash val="solid"/>
              <a:miter/>
            </a:ln>
          </p:spPr>
          <p:txBody>
            <a:bodyPr rtlCol="0" anchor="ctr"/>
            <a:lstStyle/>
            <a:p>
              <a:endParaRPr lang="de-DE"/>
            </a:p>
          </p:txBody>
        </p:sp>
        <p:sp>
          <p:nvSpPr>
            <p:cNvPr id="374" name="Grafik 3878">
              <a:extLst>
                <a:ext uri="{FF2B5EF4-FFF2-40B4-BE49-F238E27FC236}">
                  <a16:creationId xmlns:a16="http://schemas.microsoft.com/office/drawing/2014/main" id="{61B290AF-04D2-29D2-749F-F02B4A788349}"/>
                </a:ext>
              </a:extLst>
            </p:cNvPr>
            <p:cNvSpPr/>
            <p:nvPr/>
          </p:nvSpPr>
          <p:spPr bwMode="gray">
            <a:xfrm>
              <a:off x="5969126" y="3476543"/>
              <a:ext cx="44848" cy="55325"/>
            </a:xfrm>
            <a:custGeom>
              <a:avLst/>
              <a:gdLst>
                <a:gd name="connsiteX0" fmla="*/ 7144 w 44848"/>
                <a:gd name="connsiteY0" fmla="*/ 55326 h 55325"/>
                <a:gd name="connsiteX1" fmla="*/ 381 w 44848"/>
                <a:gd name="connsiteY1" fmla="*/ 50468 h 55325"/>
                <a:gd name="connsiteX2" fmla="*/ 0 w 44848"/>
                <a:gd name="connsiteY2" fmla="*/ 48182 h 55325"/>
                <a:gd name="connsiteX3" fmla="*/ 4858 w 44848"/>
                <a:gd name="connsiteY3" fmla="*/ 41419 h 55325"/>
                <a:gd name="connsiteX4" fmla="*/ 28766 w 44848"/>
                <a:gd name="connsiteY4" fmla="*/ 33418 h 55325"/>
                <a:gd name="connsiteX5" fmla="*/ 20764 w 44848"/>
                <a:gd name="connsiteY5" fmla="*/ 9415 h 55325"/>
                <a:gd name="connsiteX6" fmla="*/ 25241 w 44848"/>
                <a:gd name="connsiteY6" fmla="*/ 367 h 55325"/>
                <a:gd name="connsiteX7" fmla="*/ 34290 w 44848"/>
                <a:gd name="connsiteY7" fmla="*/ 4843 h 55325"/>
                <a:gd name="connsiteX8" fmla="*/ 44482 w 44848"/>
                <a:gd name="connsiteY8" fmla="*/ 35514 h 55325"/>
                <a:gd name="connsiteX9" fmla="*/ 44482 w 44848"/>
                <a:gd name="connsiteY9" fmla="*/ 35514 h 55325"/>
                <a:gd name="connsiteX10" fmla="*/ 40005 w 44848"/>
                <a:gd name="connsiteY10" fmla="*/ 44563 h 55325"/>
                <a:gd name="connsiteX11" fmla="*/ 40005 w 44848"/>
                <a:gd name="connsiteY11" fmla="*/ 44563 h 55325"/>
                <a:gd name="connsiteX12" fmla="*/ 40005 w 44848"/>
                <a:gd name="connsiteY12" fmla="*/ 44563 h 55325"/>
                <a:gd name="connsiteX13" fmla="*/ 9239 w 44848"/>
                <a:gd name="connsiteY13" fmla="*/ 54850 h 55325"/>
                <a:gd name="connsiteX14" fmla="*/ 7144 w 44848"/>
                <a:gd name="connsiteY14" fmla="*/ 55326 h 5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8" h="55325">
                  <a:moveTo>
                    <a:pt x="7144" y="55326"/>
                  </a:moveTo>
                  <a:cubicBezTo>
                    <a:pt x="4191" y="55326"/>
                    <a:pt x="1333" y="53421"/>
                    <a:pt x="381" y="50468"/>
                  </a:cubicBezTo>
                  <a:cubicBezTo>
                    <a:pt x="95" y="49706"/>
                    <a:pt x="0" y="48944"/>
                    <a:pt x="0" y="48182"/>
                  </a:cubicBezTo>
                  <a:cubicBezTo>
                    <a:pt x="0" y="45229"/>
                    <a:pt x="1905" y="42372"/>
                    <a:pt x="4858" y="41419"/>
                  </a:cubicBezTo>
                  <a:lnTo>
                    <a:pt x="28766" y="33418"/>
                  </a:lnTo>
                  <a:lnTo>
                    <a:pt x="20764" y="9415"/>
                  </a:lnTo>
                  <a:cubicBezTo>
                    <a:pt x="19526" y="5701"/>
                    <a:pt x="21526" y="1605"/>
                    <a:pt x="25241" y="367"/>
                  </a:cubicBezTo>
                  <a:cubicBezTo>
                    <a:pt x="28956" y="-872"/>
                    <a:pt x="33052" y="1129"/>
                    <a:pt x="34290" y="4843"/>
                  </a:cubicBezTo>
                  <a:lnTo>
                    <a:pt x="44482" y="35514"/>
                  </a:lnTo>
                  <a:cubicBezTo>
                    <a:pt x="44482" y="35514"/>
                    <a:pt x="44482" y="35514"/>
                    <a:pt x="44482" y="35514"/>
                  </a:cubicBezTo>
                  <a:cubicBezTo>
                    <a:pt x="45720" y="39229"/>
                    <a:pt x="43720" y="43229"/>
                    <a:pt x="40005" y="44563"/>
                  </a:cubicBezTo>
                  <a:cubicBezTo>
                    <a:pt x="40005" y="44563"/>
                    <a:pt x="40005" y="44563"/>
                    <a:pt x="40005" y="44563"/>
                  </a:cubicBezTo>
                  <a:cubicBezTo>
                    <a:pt x="40005" y="44563"/>
                    <a:pt x="40005" y="44563"/>
                    <a:pt x="40005" y="44563"/>
                  </a:cubicBezTo>
                  <a:lnTo>
                    <a:pt x="9239" y="54850"/>
                  </a:lnTo>
                  <a:cubicBezTo>
                    <a:pt x="8572" y="55231"/>
                    <a:pt x="7810" y="55326"/>
                    <a:pt x="7144" y="55326"/>
                  </a:cubicBezTo>
                  <a:close/>
                </a:path>
              </a:pathLst>
            </a:custGeom>
            <a:grpFill/>
            <a:ln w="9525" cap="flat">
              <a:noFill/>
              <a:prstDash val="solid"/>
              <a:miter/>
            </a:ln>
          </p:spPr>
          <p:txBody>
            <a:bodyPr rtlCol="0" anchor="ctr"/>
            <a:lstStyle/>
            <a:p>
              <a:endParaRPr lang="de-DE"/>
            </a:p>
          </p:txBody>
        </p:sp>
        <p:sp>
          <p:nvSpPr>
            <p:cNvPr id="375" name="Grafik 3878">
              <a:extLst>
                <a:ext uri="{FF2B5EF4-FFF2-40B4-BE49-F238E27FC236}">
                  <a16:creationId xmlns:a16="http://schemas.microsoft.com/office/drawing/2014/main" id="{758246FC-A22D-4B80-3E7F-65E5BEFB5564}"/>
                </a:ext>
              </a:extLst>
            </p:cNvPr>
            <p:cNvSpPr/>
            <p:nvPr/>
          </p:nvSpPr>
          <p:spPr bwMode="gray">
            <a:xfrm>
              <a:off x="5895961" y="3278375"/>
              <a:ext cx="172568" cy="221490"/>
            </a:xfrm>
            <a:custGeom>
              <a:avLst/>
              <a:gdLst>
                <a:gd name="connsiteX0" fmla="*/ 67545 w 172568"/>
                <a:gd name="connsiteY0" fmla="*/ 221490 h 221490"/>
                <a:gd name="connsiteX1" fmla="*/ 64402 w 172568"/>
                <a:gd name="connsiteY1" fmla="*/ 220728 h 221490"/>
                <a:gd name="connsiteX2" fmla="*/ 12300 w 172568"/>
                <a:gd name="connsiteY2" fmla="*/ 64423 h 221490"/>
                <a:gd name="connsiteX3" fmla="*/ 79642 w 172568"/>
                <a:gd name="connsiteY3" fmla="*/ 6035 h 221490"/>
                <a:gd name="connsiteX4" fmla="*/ 168606 w 172568"/>
                <a:gd name="connsiteY4" fmla="*/ 12321 h 221490"/>
                <a:gd name="connsiteX5" fmla="*/ 171844 w 172568"/>
                <a:gd name="connsiteY5" fmla="*/ 21941 h 221490"/>
                <a:gd name="connsiteX6" fmla="*/ 162224 w 172568"/>
                <a:gd name="connsiteY6" fmla="*/ 25180 h 221490"/>
                <a:gd name="connsiteX7" fmla="*/ 84214 w 172568"/>
                <a:gd name="connsiteY7" fmla="*/ 19655 h 221490"/>
                <a:gd name="connsiteX8" fmla="*/ 25064 w 172568"/>
                <a:gd name="connsiteY8" fmla="*/ 70900 h 221490"/>
                <a:gd name="connsiteX9" fmla="*/ 70784 w 172568"/>
                <a:gd name="connsiteY9" fmla="*/ 208060 h 221490"/>
                <a:gd name="connsiteX10" fmla="*/ 74022 w 172568"/>
                <a:gd name="connsiteY10" fmla="*/ 217680 h 221490"/>
                <a:gd name="connsiteX11" fmla="*/ 67545 w 172568"/>
                <a:gd name="connsiteY11" fmla="*/ 221490 h 2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568" h="221490">
                  <a:moveTo>
                    <a:pt x="67545" y="221490"/>
                  </a:moveTo>
                  <a:cubicBezTo>
                    <a:pt x="66498" y="221490"/>
                    <a:pt x="65355" y="221204"/>
                    <a:pt x="64402" y="220728"/>
                  </a:cubicBezTo>
                  <a:cubicBezTo>
                    <a:pt x="6966" y="191963"/>
                    <a:pt x="-16465" y="121859"/>
                    <a:pt x="12300" y="64423"/>
                  </a:cubicBezTo>
                  <a:cubicBezTo>
                    <a:pt x="26207" y="36610"/>
                    <a:pt x="50115" y="15845"/>
                    <a:pt x="79642" y="6035"/>
                  </a:cubicBezTo>
                  <a:cubicBezTo>
                    <a:pt x="109170" y="-3776"/>
                    <a:pt x="140793" y="-1585"/>
                    <a:pt x="168606" y="12321"/>
                  </a:cubicBezTo>
                  <a:cubicBezTo>
                    <a:pt x="172130" y="14131"/>
                    <a:pt x="173559" y="18417"/>
                    <a:pt x="171844" y="21941"/>
                  </a:cubicBezTo>
                  <a:cubicBezTo>
                    <a:pt x="170034" y="25466"/>
                    <a:pt x="165843" y="26894"/>
                    <a:pt x="162224" y="25180"/>
                  </a:cubicBezTo>
                  <a:cubicBezTo>
                    <a:pt x="137840" y="12988"/>
                    <a:pt x="110122" y="10988"/>
                    <a:pt x="84214" y="19655"/>
                  </a:cubicBezTo>
                  <a:cubicBezTo>
                    <a:pt x="58306" y="28323"/>
                    <a:pt x="37351" y="46516"/>
                    <a:pt x="25064" y="70900"/>
                  </a:cubicBezTo>
                  <a:cubicBezTo>
                    <a:pt x="-177" y="121287"/>
                    <a:pt x="20397" y="182819"/>
                    <a:pt x="70784" y="208060"/>
                  </a:cubicBezTo>
                  <a:cubicBezTo>
                    <a:pt x="74308" y="209870"/>
                    <a:pt x="75737" y="214156"/>
                    <a:pt x="74022" y="217680"/>
                  </a:cubicBezTo>
                  <a:cubicBezTo>
                    <a:pt x="72689" y="220061"/>
                    <a:pt x="70212" y="221490"/>
                    <a:pt x="67545" y="221490"/>
                  </a:cubicBezTo>
                  <a:close/>
                </a:path>
              </a:pathLst>
            </a:custGeom>
            <a:grpFill/>
            <a:ln w="9525" cap="flat">
              <a:noFill/>
              <a:prstDash val="solid"/>
              <a:miter/>
            </a:ln>
          </p:spPr>
          <p:txBody>
            <a:bodyPr rtlCol="0" anchor="ctr"/>
            <a:lstStyle/>
            <a:p>
              <a:endParaRPr lang="de-DE"/>
            </a:p>
          </p:txBody>
        </p:sp>
        <p:sp>
          <p:nvSpPr>
            <p:cNvPr id="376" name="Grafik 3878">
              <a:extLst>
                <a:ext uri="{FF2B5EF4-FFF2-40B4-BE49-F238E27FC236}">
                  <a16:creationId xmlns:a16="http://schemas.microsoft.com/office/drawing/2014/main" id="{56754B0E-6A78-DFF5-5ECA-900C0AA7E57B}"/>
                </a:ext>
              </a:extLst>
            </p:cNvPr>
            <p:cNvSpPr/>
            <p:nvPr/>
          </p:nvSpPr>
          <p:spPr bwMode="gray">
            <a:xfrm>
              <a:off x="5956400" y="3485554"/>
              <a:ext cx="57741" cy="36027"/>
            </a:xfrm>
            <a:custGeom>
              <a:avLst/>
              <a:gdLst>
                <a:gd name="connsiteX0" fmla="*/ 50540 w 57741"/>
                <a:gd name="connsiteY0" fmla="*/ 36028 h 36027"/>
                <a:gd name="connsiteX1" fmla="*/ 47397 w 57741"/>
                <a:gd name="connsiteY1" fmla="*/ 35266 h 36027"/>
                <a:gd name="connsiteX2" fmla="*/ 3963 w 57741"/>
                <a:gd name="connsiteY2" fmla="*/ 13549 h 36027"/>
                <a:gd name="connsiteX3" fmla="*/ 724 w 57741"/>
                <a:gd name="connsiteY3" fmla="*/ 3929 h 36027"/>
                <a:gd name="connsiteX4" fmla="*/ 10344 w 57741"/>
                <a:gd name="connsiteY4" fmla="*/ 785 h 36027"/>
                <a:gd name="connsiteX5" fmla="*/ 53778 w 57741"/>
                <a:gd name="connsiteY5" fmla="*/ 22502 h 36027"/>
                <a:gd name="connsiteX6" fmla="*/ 57017 w 57741"/>
                <a:gd name="connsiteY6" fmla="*/ 32123 h 36027"/>
                <a:gd name="connsiteX7" fmla="*/ 50540 w 57741"/>
                <a:gd name="connsiteY7" fmla="*/ 36028 h 3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741" h="36027">
                  <a:moveTo>
                    <a:pt x="50540" y="36028"/>
                  </a:moveTo>
                  <a:cubicBezTo>
                    <a:pt x="49492" y="36028"/>
                    <a:pt x="48349" y="35742"/>
                    <a:pt x="47397" y="35266"/>
                  </a:cubicBezTo>
                  <a:lnTo>
                    <a:pt x="3963" y="13549"/>
                  </a:lnTo>
                  <a:cubicBezTo>
                    <a:pt x="438" y="11739"/>
                    <a:pt x="-990" y="7453"/>
                    <a:pt x="724" y="3929"/>
                  </a:cubicBezTo>
                  <a:cubicBezTo>
                    <a:pt x="2534" y="404"/>
                    <a:pt x="6820" y="-1024"/>
                    <a:pt x="10344" y="785"/>
                  </a:cubicBezTo>
                  <a:lnTo>
                    <a:pt x="53778" y="22502"/>
                  </a:lnTo>
                  <a:cubicBezTo>
                    <a:pt x="57303" y="24312"/>
                    <a:pt x="58731" y="28598"/>
                    <a:pt x="57017" y="32123"/>
                  </a:cubicBezTo>
                  <a:cubicBezTo>
                    <a:pt x="55683" y="34599"/>
                    <a:pt x="53207" y="36028"/>
                    <a:pt x="50540" y="36028"/>
                  </a:cubicBezTo>
                  <a:close/>
                </a:path>
              </a:pathLst>
            </a:custGeom>
            <a:grpFill/>
            <a:ln w="9525" cap="flat">
              <a:noFill/>
              <a:prstDash val="solid"/>
              <a:miter/>
            </a:ln>
          </p:spPr>
          <p:txBody>
            <a:bodyPr rtlCol="0" anchor="ctr"/>
            <a:lstStyle/>
            <a:p>
              <a:endParaRPr lang="de-DE"/>
            </a:p>
          </p:txBody>
        </p:sp>
      </p:grpSp>
      <p:grpSp>
        <p:nvGrpSpPr>
          <p:cNvPr id="377" name="Grafik 3880">
            <a:extLst>
              <a:ext uri="{FF2B5EF4-FFF2-40B4-BE49-F238E27FC236}">
                <a16:creationId xmlns:a16="http://schemas.microsoft.com/office/drawing/2014/main" id="{04D913A4-FB04-A0A6-0E77-EBC69CBAD9E8}"/>
              </a:ext>
            </a:extLst>
          </p:cNvPr>
          <p:cNvGrpSpPr/>
          <p:nvPr/>
        </p:nvGrpSpPr>
        <p:grpSpPr bwMode="gray">
          <a:xfrm>
            <a:off x="5130236" y="4013984"/>
            <a:ext cx="374400" cy="374400"/>
            <a:chOff x="5843587" y="3176587"/>
            <a:chExt cx="500253" cy="500253"/>
          </a:xfrm>
          <a:solidFill>
            <a:schemeClr val="tx1"/>
          </a:solidFill>
        </p:grpSpPr>
        <p:grpSp>
          <p:nvGrpSpPr>
            <p:cNvPr id="378" name="Grafik 3880">
              <a:extLst>
                <a:ext uri="{FF2B5EF4-FFF2-40B4-BE49-F238E27FC236}">
                  <a16:creationId xmlns:a16="http://schemas.microsoft.com/office/drawing/2014/main" id="{0D4E401F-7EC6-01DC-AED7-513A69A7C385}"/>
                </a:ext>
              </a:extLst>
            </p:cNvPr>
            <p:cNvGrpSpPr/>
            <p:nvPr/>
          </p:nvGrpSpPr>
          <p:grpSpPr bwMode="gray">
            <a:xfrm>
              <a:off x="5892164" y="3290029"/>
              <a:ext cx="338327" cy="338232"/>
              <a:chOff x="5892164" y="3290029"/>
              <a:chExt cx="338327" cy="338232"/>
            </a:xfrm>
            <a:grpFill/>
          </p:grpSpPr>
          <p:grpSp>
            <p:nvGrpSpPr>
              <p:cNvPr id="384" name="Grafik 3880">
                <a:extLst>
                  <a:ext uri="{FF2B5EF4-FFF2-40B4-BE49-F238E27FC236}">
                    <a16:creationId xmlns:a16="http://schemas.microsoft.com/office/drawing/2014/main" id="{6496ECA5-0C24-9967-EB7B-9053ABFCF9D7}"/>
                  </a:ext>
                </a:extLst>
              </p:cNvPr>
              <p:cNvGrpSpPr/>
              <p:nvPr/>
            </p:nvGrpSpPr>
            <p:grpSpPr bwMode="gray">
              <a:xfrm>
                <a:off x="6054184" y="3348822"/>
                <a:ext cx="176307" cy="68175"/>
                <a:chOff x="6054184" y="3348822"/>
                <a:chExt cx="176307" cy="68175"/>
              </a:xfrm>
              <a:grpFill/>
            </p:grpSpPr>
            <p:sp>
              <p:nvSpPr>
                <p:cNvPr id="401" name="Grafik 3880">
                  <a:extLst>
                    <a:ext uri="{FF2B5EF4-FFF2-40B4-BE49-F238E27FC236}">
                      <a16:creationId xmlns:a16="http://schemas.microsoft.com/office/drawing/2014/main" id="{50FF6CBA-7D4E-C449-615A-2D06E13361FE}"/>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402" name="Grafik 3880">
                  <a:extLst>
                    <a:ext uri="{FF2B5EF4-FFF2-40B4-BE49-F238E27FC236}">
                      <a16:creationId xmlns:a16="http://schemas.microsoft.com/office/drawing/2014/main" id="{4776DC96-78EE-B1C1-2350-0A834CFD82F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sp>
              <p:nvSpPr>
                <p:cNvPr id="403" name="Grafik 3880">
                  <a:extLst>
                    <a:ext uri="{FF2B5EF4-FFF2-40B4-BE49-F238E27FC236}">
                      <a16:creationId xmlns:a16="http://schemas.microsoft.com/office/drawing/2014/main" id="{C57EED46-2788-6EF3-CAC3-4F3A6570F205}"/>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grpSp>
          <p:grpSp>
            <p:nvGrpSpPr>
              <p:cNvPr id="385" name="Grafik 3880">
                <a:extLst>
                  <a:ext uri="{FF2B5EF4-FFF2-40B4-BE49-F238E27FC236}">
                    <a16:creationId xmlns:a16="http://schemas.microsoft.com/office/drawing/2014/main" id="{DFB36AF4-B34A-8291-17C7-4661ED287A62}"/>
                  </a:ext>
                </a:extLst>
              </p:cNvPr>
              <p:cNvGrpSpPr/>
              <p:nvPr/>
            </p:nvGrpSpPr>
            <p:grpSpPr bwMode="gray">
              <a:xfrm>
                <a:off x="5892164" y="3501318"/>
                <a:ext cx="176307" cy="68175"/>
                <a:chOff x="5892164" y="3501318"/>
                <a:chExt cx="176307" cy="68175"/>
              </a:xfrm>
              <a:grpFill/>
            </p:grpSpPr>
            <p:sp>
              <p:nvSpPr>
                <p:cNvPr id="398" name="Grafik 3880">
                  <a:extLst>
                    <a:ext uri="{FF2B5EF4-FFF2-40B4-BE49-F238E27FC236}">
                      <a16:creationId xmlns:a16="http://schemas.microsoft.com/office/drawing/2014/main" id="{C44B217B-0CCC-3EB1-1285-158C4A025F7F}"/>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399" name="Grafik 3880">
                  <a:extLst>
                    <a:ext uri="{FF2B5EF4-FFF2-40B4-BE49-F238E27FC236}">
                      <a16:creationId xmlns:a16="http://schemas.microsoft.com/office/drawing/2014/main" id="{A5142D96-9EE2-D7EF-AEF3-1925066C5560}"/>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981" y="41219"/>
                        <a:pt x="34076" y="41219"/>
                      </a:cubicBezTo>
                      <a:close/>
                    </a:path>
                  </a:pathLst>
                </a:custGeom>
                <a:grpFill/>
                <a:ln w="9525" cap="flat">
                  <a:noFill/>
                  <a:prstDash val="solid"/>
                  <a:miter/>
                </a:ln>
              </p:spPr>
              <p:txBody>
                <a:bodyPr rtlCol="0" anchor="ctr"/>
                <a:lstStyle/>
                <a:p>
                  <a:endParaRPr lang="de-DE"/>
                </a:p>
              </p:txBody>
            </p:sp>
            <p:sp>
              <p:nvSpPr>
                <p:cNvPr id="400" name="Grafik 3880">
                  <a:extLst>
                    <a:ext uri="{FF2B5EF4-FFF2-40B4-BE49-F238E27FC236}">
                      <a16:creationId xmlns:a16="http://schemas.microsoft.com/office/drawing/2014/main" id="{E5B64D1A-00C2-1C7E-A2E4-8FA0D75DB3E6}"/>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rtlCol="0" anchor="ctr"/>
                <a:lstStyle/>
                <a:p>
                  <a:endParaRPr lang="de-DE"/>
                </a:p>
              </p:txBody>
            </p:sp>
          </p:grpSp>
          <p:grpSp>
            <p:nvGrpSpPr>
              <p:cNvPr id="386" name="Grafik 3880">
                <a:extLst>
                  <a:ext uri="{FF2B5EF4-FFF2-40B4-BE49-F238E27FC236}">
                    <a16:creationId xmlns:a16="http://schemas.microsoft.com/office/drawing/2014/main" id="{1E288E4D-D15D-4CD5-9DFC-7F7733BDE0F2}"/>
                  </a:ext>
                </a:extLst>
              </p:cNvPr>
              <p:cNvGrpSpPr/>
              <p:nvPr/>
            </p:nvGrpSpPr>
            <p:grpSpPr bwMode="gray">
              <a:xfrm>
                <a:off x="6103548" y="3451954"/>
                <a:ext cx="68151" cy="176307"/>
                <a:chOff x="6103548" y="3451954"/>
                <a:chExt cx="68151" cy="176307"/>
              </a:xfrm>
              <a:grpFill/>
            </p:grpSpPr>
            <p:sp>
              <p:nvSpPr>
                <p:cNvPr id="395" name="Grafik 3880">
                  <a:extLst>
                    <a:ext uri="{FF2B5EF4-FFF2-40B4-BE49-F238E27FC236}">
                      <a16:creationId xmlns:a16="http://schemas.microsoft.com/office/drawing/2014/main" id="{16F8B182-65FA-0527-2A21-081951E67CA9}"/>
                    </a:ext>
                  </a:extLst>
                </p:cNvPr>
                <p:cNvSpPr/>
                <p:nvPr/>
              </p:nvSpPr>
              <p:spPr bwMode="gray">
                <a:xfrm>
                  <a:off x="6130480"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8" y="176308"/>
                        <a:pt x="0" y="173069"/>
                        <a:pt x="0" y="169164"/>
                      </a:cubicBezTo>
                      <a:lnTo>
                        <a:pt x="0" y="7144"/>
                      </a:lnTo>
                      <a:cubicBezTo>
                        <a:pt x="0" y="3239"/>
                        <a:pt x="3238" y="0"/>
                        <a:pt x="7144" y="0"/>
                      </a:cubicBezTo>
                      <a:cubicBezTo>
                        <a:pt x="11049" y="0"/>
                        <a:pt x="14288" y="3239"/>
                        <a:pt x="14288" y="7144"/>
                      </a:cubicBezTo>
                      <a:lnTo>
                        <a:pt x="14288" y="169164"/>
                      </a:lnTo>
                      <a:cubicBezTo>
                        <a:pt x="14288" y="173069"/>
                        <a:pt x="11049" y="176308"/>
                        <a:pt x="7144" y="176308"/>
                      </a:cubicBezTo>
                      <a:close/>
                    </a:path>
                  </a:pathLst>
                </a:custGeom>
                <a:grpFill/>
                <a:ln w="9525" cap="flat">
                  <a:noFill/>
                  <a:prstDash val="solid"/>
                  <a:miter/>
                </a:ln>
              </p:spPr>
              <p:txBody>
                <a:bodyPr rtlCol="0" anchor="ctr"/>
                <a:lstStyle/>
                <a:p>
                  <a:endParaRPr lang="de-DE"/>
                </a:p>
              </p:txBody>
            </p:sp>
            <p:sp>
              <p:nvSpPr>
                <p:cNvPr id="396" name="Grafik 3880">
                  <a:extLst>
                    <a:ext uri="{FF2B5EF4-FFF2-40B4-BE49-F238E27FC236}">
                      <a16:creationId xmlns:a16="http://schemas.microsoft.com/office/drawing/2014/main" id="{84907FCF-E250-8C56-B99C-2AF53E3A584F}"/>
                    </a:ext>
                  </a:extLst>
                </p:cNvPr>
                <p:cNvSpPr/>
                <p:nvPr/>
              </p:nvSpPr>
              <p:spPr bwMode="gray">
                <a:xfrm>
                  <a:off x="6130503"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sp>
              <p:nvSpPr>
                <p:cNvPr id="397" name="Grafik 3880">
                  <a:extLst>
                    <a:ext uri="{FF2B5EF4-FFF2-40B4-BE49-F238E27FC236}">
                      <a16:creationId xmlns:a16="http://schemas.microsoft.com/office/drawing/2014/main" id="{D5EA2CD2-1772-E369-60ED-AEA7BA944D88}"/>
                    </a:ext>
                  </a:extLst>
                </p:cNvPr>
                <p:cNvSpPr/>
                <p:nvPr/>
              </p:nvSpPr>
              <p:spPr bwMode="gray">
                <a:xfrm>
                  <a:off x="6103548"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nvGrpSpPr>
              <p:cNvPr id="387" name="Grafik 3880">
                <a:extLst>
                  <a:ext uri="{FF2B5EF4-FFF2-40B4-BE49-F238E27FC236}">
                    <a16:creationId xmlns:a16="http://schemas.microsoft.com/office/drawing/2014/main" id="{BD3CDF69-3FD7-F7AB-FBD1-151F47CAA45B}"/>
                  </a:ext>
                </a:extLst>
              </p:cNvPr>
              <p:cNvGrpSpPr/>
              <p:nvPr/>
            </p:nvGrpSpPr>
            <p:grpSpPr bwMode="gray">
              <a:xfrm>
                <a:off x="5951052" y="3290029"/>
                <a:ext cx="68151" cy="176212"/>
                <a:chOff x="5951052" y="3290029"/>
                <a:chExt cx="68151" cy="176212"/>
              </a:xfrm>
              <a:grpFill/>
            </p:grpSpPr>
            <p:sp>
              <p:nvSpPr>
                <p:cNvPr id="392" name="Grafik 3880">
                  <a:extLst>
                    <a:ext uri="{FF2B5EF4-FFF2-40B4-BE49-F238E27FC236}">
                      <a16:creationId xmlns:a16="http://schemas.microsoft.com/office/drawing/2014/main" id="{837E6FA4-AC2F-59D2-2393-B24FD8285C7E}"/>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sp>
              <p:nvSpPr>
                <p:cNvPr id="393" name="Grafik 3880">
                  <a:extLst>
                    <a:ext uri="{FF2B5EF4-FFF2-40B4-BE49-F238E27FC236}">
                      <a16:creationId xmlns:a16="http://schemas.microsoft.com/office/drawing/2014/main" id="{D0C96230-00D2-9126-386E-49DABC6EE732}"/>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rtlCol="0" anchor="ctr"/>
                <a:lstStyle/>
                <a:p>
                  <a:endParaRPr lang="de-DE"/>
                </a:p>
              </p:txBody>
            </p:sp>
            <p:sp>
              <p:nvSpPr>
                <p:cNvPr id="394" name="Grafik 3880">
                  <a:extLst>
                    <a:ext uri="{FF2B5EF4-FFF2-40B4-BE49-F238E27FC236}">
                      <a16:creationId xmlns:a16="http://schemas.microsoft.com/office/drawing/2014/main" id="{3CE181AF-0C6B-04C3-6B15-3472C4B8E66B}"/>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rtlCol="0" anchor="ctr"/>
                <a:lstStyle/>
                <a:p>
                  <a:endParaRPr lang="de-DE"/>
                </a:p>
              </p:txBody>
            </p:sp>
          </p:grpSp>
          <p:sp>
            <p:nvSpPr>
              <p:cNvPr id="388" name="Grafik 3880">
                <a:extLst>
                  <a:ext uri="{FF2B5EF4-FFF2-40B4-BE49-F238E27FC236}">
                    <a16:creationId xmlns:a16="http://schemas.microsoft.com/office/drawing/2014/main" id="{B4217D5C-E126-2FB1-B68F-CE17CDAF9C6C}"/>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rtlCol="0" anchor="ctr"/>
              <a:lstStyle/>
              <a:p>
                <a:endParaRPr lang="de-DE"/>
              </a:p>
            </p:txBody>
          </p:sp>
          <p:grpSp>
            <p:nvGrpSpPr>
              <p:cNvPr id="389" name="Grafik 3880">
                <a:extLst>
                  <a:ext uri="{FF2B5EF4-FFF2-40B4-BE49-F238E27FC236}">
                    <a16:creationId xmlns:a16="http://schemas.microsoft.com/office/drawing/2014/main" id="{1054453C-CBB1-01FD-A5C7-79D9BEC99AAE}"/>
                  </a:ext>
                </a:extLst>
              </p:cNvPr>
              <p:cNvGrpSpPr/>
              <p:nvPr/>
            </p:nvGrpSpPr>
            <p:grpSpPr bwMode="gray">
              <a:xfrm>
                <a:off x="6029895" y="3415664"/>
                <a:ext cx="62865" cy="87058"/>
                <a:chOff x="6029895" y="3415664"/>
                <a:chExt cx="62865" cy="87058"/>
              </a:xfrm>
              <a:grpFill/>
            </p:grpSpPr>
            <p:sp>
              <p:nvSpPr>
                <p:cNvPr id="390" name="Grafik 3880">
                  <a:extLst>
                    <a:ext uri="{FF2B5EF4-FFF2-40B4-BE49-F238E27FC236}">
                      <a16:creationId xmlns:a16="http://schemas.microsoft.com/office/drawing/2014/main" id="{C525DADA-6681-97C4-435B-D4EE6306DB7F}"/>
                    </a:ext>
                  </a:extLst>
                </p:cNvPr>
                <p:cNvSpPr/>
                <p:nvPr/>
              </p:nvSpPr>
              <p:spPr bwMode="gray">
                <a:xfrm>
                  <a:off x="6057708" y="3464051"/>
                  <a:ext cx="35052" cy="14287"/>
                </a:xfrm>
                <a:custGeom>
                  <a:avLst/>
                  <a:gdLst>
                    <a:gd name="connsiteX0" fmla="*/ 27908 w 35052"/>
                    <a:gd name="connsiteY0" fmla="*/ 14288 h 14287"/>
                    <a:gd name="connsiteX1" fmla="*/ 7144 w 35052"/>
                    <a:gd name="connsiteY1" fmla="*/ 14288 h 14287"/>
                    <a:gd name="connsiteX2" fmla="*/ 0 w 35052"/>
                    <a:gd name="connsiteY2" fmla="*/ 7144 h 14287"/>
                    <a:gd name="connsiteX3" fmla="*/ 7144 w 35052"/>
                    <a:gd name="connsiteY3" fmla="*/ 0 h 14287"/>
                    <a:gd name="connsiteX4" fmla="*/ 27908 w 35052"/>
                    <a:gd name="connsiteY4" fmla="*/ 0 h 14287"/>
                    <a:gd name="connsiteX5" fmla="*/ 35052 w 35052"/>
                    <a:gd name="connsiteY5" fmla="*/ 7144 h 14287"/>
                    <a:gd name="connsiteX6" fmla="*/ 27908 w 3505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 h="14287">
                      <a:moveTo>
                        <a:pt x="27908" y="14288"/>
                      </a:moveTo>
                      <a:lnTo>
                        <a:pt x="7144" y="14288"/>
                      </a:lnTo>
                      <a:cubicBezTo>
                        <a:pt x="3239" y="14288"/>
                        <a:pt x="0" y="11049"/>
                        <a:pt x="0" y="7144"/>
                      </a:cubicBezTo>
                      <a:cubicBezTo>
                        <a:pt x="0" y="3239"/>
                        <a:pt x="3239" y="0"/>
                        <a:pt x="7144" y="0"/>
                      </a:cubicBezTo>
                      <a:lnTo>
                        <a:pt x="27908" y="0"/>
                      </a:lnTo>
                      <a:cubicBezTo>
                        <a:pt x="31814" y="0"/>
                        <a:pt x="35052" y="3239"/>
                        <a:pt x="35052" y="7144"/>
                      </a:cubicBezTo>
                      <a:cubicBezTo>
                        <a:pt x="35052" y="11049"/>
                        <a:pt x="31909" y="14288"/>
                        <a:pt x="27908" y="14288"/>
                      </a:cubicBezTo>
                      <a:close/>
                    </a:path>
                  </a:pathLst>
                </a:custGeom>
                <a:grpFill/>
                <a:ln w="9525" cap="flat">
                  <a:noFill/>
                  <a:prstDash val="solid"/>
                  <a:miter/>
                </a:ln>
              </p:spPr>
              <p:txBody>
                <a:bodyPr rtlCol="0" anchor="ctr"/>
                <a:lstStyle/>
                <a:p>
                  <a:endParaRPr lang="de-DE"/>
                </a:p>
              </p:txBody>
            </p:sp>
            <p:sp>
              <p:nvSpPr>
                <p:cNvPr id="391" name="Grafik 3880">
                  <a:extLst>
                    <a:ext uri="{FF2B5EF4-FFF2-40B4-BE49-F238E27FC236}">
                      <a16:creationId xmlns:a16="http://schemas.microsoft.com/office/drawing/2014/main" id="{A74C1590-5CF8-34A0-F794-B8A535C57BB2}"/>
                    </a:ext>
                  </a:extLst>
                </p:cNvPr>
                <p:cNvSpPr/>
                <p:nvPr/>
              </p:nvSpPr>
              <p:spPr bwMode="gray">
                <a:xfrm>
                  <a:off x="6029895" y="3415664"/>
                  <a:ext cx="62865" cy="87058"/>
                </a:xfrm>
                <a:custGeom>
                  <a:avLst/>
                  <a:gdLst>
                    <a:gd name="connsiteX0" fmla="*/ 31433 w 62865"/>
                    <a:gd name="connsiteY0" fmla="*/ 87059 h 87058"/>
                    <a:gd name="connsiteX1" fmla="*/ 0 w 62865"/>
                    <a:gd name="connsiteY1" fmla="*/ 55626 h 87058"/>
                    <a:gd name="connsiteX2" fmla="*/ 0 w 62865"/>
                    <a:gd name="connsiteY2" fmla="*/ 31432 h 87058"/>
                    <a:gd name="connsiteX3" fmla="*/ 31433 w 62865"/>
                    <a:gd name="connsiteY3" fmla="*/ 0 h 87058"/>
                    <a:gd name="connsiteX4" fmla="*/ 62865 w 62865"/>
                    <a:gd name="connsiteY4" fmla="*/ 31432 h 87058"/>
                    <a:gd name="connsiteX5" fmla="*/ 55721 w 62865"/>
                    <a:gd name="connsiteY5" fmla="*/ 38576 h 87058"/>
                    <a:gd name="connsiteX6" fmla="*/ 48578 w 62865"/>
                    <a:gd name="connsiteY6" fmla="*/ 31432 h 87058"/>
                    <a:gd name="connsiteX7" fmla="*/ 31433 w 62865"/>
                    <a:gd name="connsiteY7" fmla="*/ 14288 h 87058"/>
                    <a:gd name="connsiteX8" fmla="*/ 14288 w 62865"/>
                    <a:gd name="connsiteY8" fmla="*/ 31432 h 87058"/>
                    <a:gd name="connsiteX9" fmla="*/ 14288 w 62865"/>
                    <a:gd name="connsiteY9" fmla="*/ 55626 h 87058"/>
                    <a:gd name="connsiteX10" fmla="*/ 31433 w 62865"/>
                    <a:gd name="connsiteY10" fmla="*/ 72771 h 87058"/>
                    <a:gd name="connsiteX11" fmla="*/ 48578 w 62865"/>
                    <a:gd name="connsiteY11" fmla="*/ 55626 h 87058"/>
                    <a:gd name="connsiteX12" fmla="*/ 55721 w 62865"/>
                    <a:gd name="connsiteY12" fmla="*/ 48482 h 87058"/>
                    <a:gd name="connsiteX13" fmla="*/ 62865 w 62865"/>
                    <a:gd name="connsiteY13" fmla="*/ 55626 h 87058"/>
                    <a:gd name="connsiteX14" fmla="*/ 31433 w 62865"/>
                    <a:gd name="connsiteY14" fmla="*/ 87059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87058">
                      <a:moveTo>
                        <a:pt x="31433" y="87059"/>
                      </a:moveTo>
                      <a:cubicBezTo>
                        <a:pt x="14097" y="87059"/>
                        <a:pt x="0" y="72961"/>
                        <a:pt x="0" y="55626"/>
                      </a:cubicBezTo>
                      <a:lnTo>
                        <a:pt x="0" y="31432"/>
                      </a:lnTo>
                      <a:cubicBezTo>
                        <a:pt x="0" y="14097"/>
                        <a:pt x="14097" y="0"/>
                        <a:pt x="31433" y="0"/>
                      </a:cubicBezTo>
                      <a:cubicBezTo>
                        <a:pt x="48768" y="0"/>
                        <a:pt x="62865" y="14097"/>
                        <a:pt x="62865" y="31432"/>
                      </a:cubicBezTo>
                      <a:cubicBezTo>
                        <a:pt x="62865" y="35338"/>
                        <a:pt x="59627" y="38576"/>
                        <a:pt x="55721" y="38576"/>
                      </a:cubicBezTo>
                      <a:cubicBezTo>
                        <a:pt x="51816" y="38576"/>
                        <a:pt x="48578" y="35338"/>
                        <a:pt x="48578" y="31432"/>
                      </a:cubicBezTo>
                      <a:cubicBezTo>
                        <a:pt x="48578" y="22003"/>
                        <a:pt x="40862" y="14288"/>
                        <a:pt x="31433" y="14288"/>
                      </a:cubicBezTo>
                      <a:cubicBezTo>
                        <a:pt x="22003" y="14288"/>
                        <a:pt x="14288" y="22003"/>
                        <a:pt x="14288" y="31432"/>
                      </a:cubicBezTo>
                      <a:lnTo>
                        <a:pt x="14288" y="55626"/>
                      </a:lnTo>
                      <a:cubicBezTo>
                        <a:pt x="14288" y="65056"/>
                        <a:pt x="22003" y="72771"/>
                        <a:pt x="31433" y="72771"/>
                      </a:cubicBezTo>
                      <a:cubicBezTo>
                        <a:pt x="40862" y="72771"/>
                        <a:pt x="48578" y="65056"/>
                        <a:pt x="48578" y="55626"/>
                      </a:cubicBezTo>
                      <a:cubicBezTo>
                        <a:pt x="48578" y="51721"/>
                        <a:pt x="51816" y="48482"/>
                        <a:pt x="55721" y="48482"/>
                      </a:cubicBezTo>
                      <a:cubicBezTo>
                        <a:pt x="59627" y="48482"/>
                        <a:pt x="62865" y="51721"/>
                        <a:pt x="62865" y="55626"/>
                      </a:cubicBezTo>
                      <a:cubicBezTo>
                        <a:pt x="62865" y="72866"/>
                        <a:pt x="48768" y="87059"/>
                        <a:pt x="31433" y="87059"/>
                      </a:cubicBezTo>
                      <a:close/>
                    </a:path>
                  </a:pathLst>
                </a:custGeom>
                <a:grpFill/>
                <a:ln w="9525" cap="flat">
                  <a:noFill/>
                  <a:prstDash val="solid"/>
                  <a:miter/>
                </a:ln>
              </p:spPr>
              <p:txBody>
                <a:bodyPr rtlCol="0" anchor="ctr"/>
                <a:lstStyle/>
                <a:p>
                  <a:endParaRPr lang="de-DE"/>
                </a:p>
              </p:txBody>
            </p:sp>
          </p:grpSp>
        </p:grpSp>
        <p:sp>
          <p:nvSpPr>
            <p:cNvPr id="379" name="Grafik 3880">
              <a:extLst>
                <a:ext uri="{FF2B5EF4-FFF2-40B4-BE49-F238E27FC236}">
                  <a16:creationId xmlns:a16="http://schemas.microsoft.com/office/drawing/2014/main" id="{D9EC5DB3-E2A2-84B9-6372-E9AA048A693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80" name="Grafik 3880">
              <a:extLst>
                <a:ext uri="{FF2B5EF4-FFF2-40B4-BE49-F238E27FC236}">
                  <a16:creationId xmlns:a16="http://schemas.microsoft.com/office/drawing/2014/main" id="{C230A895-240C-C012-B854-857327CF999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81" name="Grafik 3880">
              <a:extLst>
                <a:ext uri="{FF2B5EF4-FFF2-40B4-BE49-F238E27FC236}">
                  <a16:creationId xmlns:a16="http://schemas.microsoft.com/office/drawing/2014/main" id="{B4450F2F-F304-EF0D-36CF-B3579AC72B2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2" name="Grafik 3880">
              <a:extLst>
                <a:ext uri="{FF2B5EF4-FFF2-40B4-BE49-F238E27FC236}">
                  <a16:creationId xmlns:a16="http://schemas.microsoft.com/office/drawing/2014/main" id="{D535A510-609A-CC04-F714-2D603482037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3" name="Grafik 3880">
              <a:extLst>
                <a:ext uri="{FF2B5EF4-FFF2-40B4-BE49-F238E27FC236}">
                  <a16:creationId xmlns:a16="http://schemas.microsoft.com/office/drawing/2014/main" id="{1392E175-F484-EDD3-F459-B640C99E8D9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04" name="Grafik 17">
            <a:extLst>
              <a:ext uri="{FF2B5EF4-FFF2-40B4-BE49-F238E27FC236}">
                <a16:creationId xmlns:a16="http://schemas.microsoft.com/office/drawing/2014/main" id="{9C4FCEF9-FC2B-5A0C-D7D8-BA5476FA0C9D}"/>
              </a:ext>
            </a:extLst>
          </p:cNvPr>
          <p:cNvGrpSpPr>
            <a:grpSpLocks noChangeAspect="1"/>
          </p:cNvGrpSpPr>
          <p:nvPr/>
        </p:nvGrpSpPr>
        <p:grpSpPr bwMode="gray">
          <a:xfrm>
            <a:off x="5130236" y="4551232"/>
            <a:ext cx="374400" cy="374400"/>
            <a:chOff x="5843587" y="3176587"/>
            <a:chExt cx="500253" cy="500253"/>
          </a:xfrm>
          <a:solidFill>
            <a:schemeClr val="tx1"/>
          </a:solidFill>
        </p:grpSpPr>
        <p:grpSp>
          <p:nvGrpSpPr>
            <p:cNvPr id="405" name="Grafik 17">
              <a:extLst>
                <a:ext uri="{FF2B5EF4-FFF2-40B4-BE49-F238E27FC236}">
                  <a16:creationId xmlns:a16="http://schemas.microsoft.com/office/drawing/2014/main" id="{9F424E56-57BB-00A1-5556-473A2F4E68FB}"/>
                </a:ext>
              </a:extLst>
            </p:cNvPr>
            <p:cNvGrpSpPr/>
            <p:nvPr/>
          </p:nvGrpSpPr>
          <p:grpSpPr bwMode="gray">
            <a:xfrm>
              <a:off x="5908357" y="3337464"/>
              <a:ext cx="305942" cy="243363"/>
              <a:chOff x="5908357" y="3337464"/>
              <a:chExt cx="305942" cy="243363"/>
            </a:xfrm>
            <a:grpFill/>
          </p:grpSpPr>
          <p:sp>
            <p:nvSpPr>
              <p:cNvPr id="411" name="Grafik 17">
                <a:extLst>
                  <a:ext uri="{FF2B5EF4-FFF2-40B4-BE49-F238E27FC236}">
                    <a16:creationId xmlns:a16="http://schemas.microsoft.com/office/drawing/2014/main" id="{E6035E05-B189-EEAC-A3B4-992A70749087}"/>
                  </a:ext>
                </a:extLst>
              </p:cNvPr>
              <p:cNvSpPr/>
              <p:nvPr/>
            </p:nvSpPr>
            <p:spPr bwMode="gray">
              <a:xfrm>
                <a:off x="5950100" y="3337488"/>
                <a:ext cx="243316" cy="243339"/>
              </a:xfrm>
              <a:custGeom>
                <a:avLst/>
                <a:gdLst>
                  <a:gd name="connsiteX0" fmla="*/ 236196 w 243316"/>
                  <a:gd name="connsiteY0" fmla="*/ 243340 h 243339"/>
                  <a:gd name="connsiteX1" fmla="*/ 231148 w 243316"/>
                  <a:gd name="connsiteY1" fmla="*/ 241244 h 243339"/>
                  <a:gd name="connsiteX2" fmla="*/ 2072 w 243316"/>
                  <a:gd name="connsiteY2" fmla="*/ 12168 h 243339"/>
                  <a:gd name="connsiteX3" fmla="*/ 2072 w 243316"/>
                  <a:gd name="connsiteY3" fmla="*/ 2072 h 243339"/>
                  <a:gd name="connsiteX4" fmla="*/ 12168 w 243316"/>
                  <a:gd name="connsiteY4" fmla="*/ 2072 h 243339"/>
                  <a:gd name="connsiteX5" fmla="*/ 241244 w 243316"/>
                  <a:gd name="connsiteY5" fmla="*/ 231148 h 243339"/>
                  <a:gd name="connsiteX6" fmla="*/ 241244 w 243316"/>
                  <a:gd name="connsiteY6" fmla="*/ 241244 h 243339"/>
                  <a:gd name="connsiteX7" fmla="*/ 236196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236196" y="243340"/>
                    </a:moveTo>
                    <a:cubicBezTo>
                      <a:pt x="234386" y="243340"/>
                      <a:pt x="232577" y="242673"/>
                      <a:pt x="231148" y="241244"/>
                    </a:cubicBezTo>
                    <a:lnTo>
                      <a:pt x="2072" y="12168"/>
                    </a:lnTo>
                    <a:cubicBezTo>
                      <a:pt x="-691" y="9406"/>
                      <a:pt x="-691" y="4834"/>
                      <a:pt x="2072" y="2072"/>
                    </a:cubicBezTo>
                    <a:cubicBezTo>
                      <a:pt x="4834" y="-691"/>
                      <a:pt x="9406" y="-691"/>
                      <a:pt x="12168" y="2072"/>
                    </a:cubicBezTo>
                    <a:lnTo>
                      <a:pt x="241244" y="231148"/>
                    </a:lnTo>
                    <a:cubicBezTo>
                      <a:pt x="244007" y="233910"/>
                      <a:pt x="244007" y="238482"/>
                      <a:pt x="241244" y="241244"/>
                    </a:cubicBezTo>
                    <a:cubicBezTo>
                      <a:pt x="239911" y="242673"/>
                      <a:pt x="238006" y="243340"/>
                      <a:pt x="236196" y="243340"/>
                    </a:cubicBezTo>
                    <a:close/>
                  </a:path>
                </a:pathLst>
              </a:custGeom>
              <a:grpFill/>
              <a:ln w="9525" cap="flat">
                <a:noFill/>
                <a:prstDash val="solid"/>
                <a:miter/>
              </a:ln>
            </p:spPr>
            <p:txBody>
              <a:bodyPr lIns="0" tIns="0" rIns="0" bIns="0" rtlCol="0" anchor="ctr"/>
              <a:lstStyle/>
              <a:p>
                <a:endParaRPr lang="en-US"/>
              </a:p>
            </p:txBody>
          </p:sp>
          <p:sp>
            <p:nvSpPr>
              <p:cNvPr id="412" name="Grafik 17">
                <a:extLst>
                  <a:ext uri="{FF2B5EF4-FFF2-40B4-BE49-F238E27FC236}">
                    <a16:creationId xmlns:a16="http://schemas.microsoft.com/office/drawing/2014/main" id="{CC006042-09DC-E1FB-ACE0-2A31D16497E0}"/>
                  </a:ext>
                </a:extLst>
              </p:cNvPr>
              <p:cNvSpPr/>
              <p:nvPr/>
            </p:nvSpPr>
            <p:spPr bwMode="gray">
              <a:xfrm>
                <a:off x="5929240" y="3337488"/>
                <a:ext cx="243316" cy="243339"/>
              </a:xfrm>
              <a:custGeom>
                <a:avLst/>
                <a:gdLst>
                  <a:gd name="connsiteX0" fmla="*/ 7120 w 243316"/>
                  <a:gd name="connsiteY0" fmla="*/ 243340 h 243339"/>
                  <a:gd name="connsiteX1" fmla="*/ 2072 w 243316"/>
                  <a:gd name="connsiteY1" fmla="*/ 241244 h 243339"/>
                  <a:gd name="connsiteX2" fmla="*/ 2072 w 243316"/>
                  <a:gd name="connsiteY2" fmla="*/ 231148 h 243339"/>
                  <a:gd name="connsiteX3" fmla="*/ 231148 w 243316"/>
                  <a:gd name="connsiteY3" fmla="*/ 2072 h 243339"/>
                  <a:gd name="connsiteX4" fmla="*/ 241244 w 243316"/>
                  <a:gd name="connsiteY4" fmla="*/ 2072 h 243339"/>
                  <a:gd name="connsiteX5" fmla="*/ 241244 w 243316"/>
                  <a:gd name="connsiteY5" fmla="*/ 12168 h 243339"/>
                  <a:gd name="connsiteX6" fmla="*/ 12168 w 243316"/>
                  <a:gd name="connsiteY6" fmla="*/ 241244 h 243339"/>
                  <a:gd name="connsiteX7" fmla="*/ 7120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7120" y="243340"/>
                    </a:moveTo>
                    <a:cubicBezTo>
                      <a:pt x="5310" y="243340"/>
                      <a:pt x="3500" y="242673"/>
                      <a:pt x="2072" y="241244"/>
                    </a:cubicBezTo>
                    <a:cubicBezTo>
                      <a:pt x="-691" y="238482"/>
                      <a:pt x="-691" y="233910"/>
                      <a:pt x="2072" y="231148"/>
                    </a:cubicBezTo>
                    <a:lnTo>
                      <a:pt x="231148" y="2072"/>
                    </a:lnTo>
                    <a:cubicBezTo>
                      <a:pt x="233910" y="-691"/>
                      <a:pt x="238482" y="-691"/>
                      <a:pt x="241244" y="2072"/>
                    </a:cubicBezTo>
                    <a:cubicBezTo>
                      <a:pt x="244007" y="4834"/>
                      <a:pt x="244007" y="9406"/>
                      <a:pt x="241244" y="12168"/>
                    </a:cubicBezTo>
                    <a:lnTo>
                      <a:pt x="12168" y="241244"/>
                    </a:lnTo>
                    <a:cubicBezTo>
                      <a:pt x="10739" y="242673"/>
                      <a:pt x="8930" y="243340"/>
                      <a:pt x="7120" y="243340"/>
                    </a:cubicBezTo>
                    <a:close/>
                  </a:path>
                </a:pathLst>
              </a:custGeom>
              <a:grpFill/>
              <a:ln w="9525" cap="flat">
                <a:noFill/>
                <a:prstDash val="solid"/>
                <a:miter/>
              </a:ln>
            </p:spPr>
            <p:txBody>
              <a:bodyPr lIns="0" tIns="0" rIns="0" bIns="0" rtlCol="0" anchor="ctr"/>
              <a:lstStyle/>
              <a:p>
                <a:endParaRPr lang="en-US"/>
              </a:p>
            </p:txBody>
          </p:sp>
          <p:sp>
            <p:nvSpPr>
              <p:cNvPr id="413" name="Grafik 17">
                <a:extLst>
                  <a:ext uri="{FF2B5EF4-FFF2-40B4-BE49-F238E27FC236}">
                    <a16:creationId xmlns:a16="http://schemas.microsoft.com/office/drawing/2014/main" id="{3FA89924-9441-C193-620A-7B5A3F77232B}"/>
                  </a:ext>
                </a:extLst>
              </p:cNvPr>
              <p:cNvSpPr/>
              <p:nvPr/>
            </p:nvSpPr>
            <p:spPr bwMode="gray">
              <a:xfrm>
                <a:off x="6158388" y="3337464"/>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lIns="0" tIns="0" rIns="0" bIns="0" rtlCol="0" anchor="ctr"/>
              <a:lstStyle/>
              <a:p>
                <a:endParaRPr lang="en-US"/>
              </a:p>
            </p:txBody>
          </p:sp>
          <p:sp>
            <p:nvSpPr>
              <p:cNvPr id="414" name="Grafik 17">
                <a:extLst>
                  <a:ext uri="{FF2B5EF4-FFF2-40B4-BE49-F238E27FC236}">
                    <a16:creationId xmlns:a16="http://schemas.microsoft.com/office/drawing/2014/main" id="{BBC392EB-AA49-E24B-FCEF-0CC403470C2D}"/>
                  </a:ext>
                </a:extLst>
              </p:cNvPr>
              <p:cNvSpPr/>
              <p:nvPr/>
            </p:nvSpPr>
            <p:spPr bwMode="gray">
              <a:xfrm>
                <a:off x="5908357" y="3337464"/>
                <a:ext cx="55911" cy="14287"/>
              </a:xfrm>
              <a:custGeom>
                <a:avLst/>
                <a:gdLst>
                  <a:gd name="connsiteX0" fmla="*/ 48863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863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863" y="14288"/>
                    </a:moveTo>
                    <a:lnTo>
                      <a:pt x="7144" y="14288"/>
                    </a:lnTo>
                    <a:cubicBezTo>
                      <a:pt x="3238" y="14288"/>
                      <a:pt x="0" y="11049"/>
                      <a:pt x="0" y="7144"/>
                    </a:cubicBezTo>
                    <a:cubicBezTo>
                      <a:pt x="0" y="3239"/>
                      <a:pt x="3238" y="0"/>
                      <a:pt x="7144" y="0"/>
                    </a:cubicBezTo>
                    <a:lnTo>
                      <a:pt x="48768" y="0"/>
                    </a:lnTo>
                    <a:cubicBezTo>
                      <a:pt x="52673" y="0"/>
                      <a:pt x="55912" y="3239"/>
                      <a:pt x="55912" y="7144"/>
                    </a:cubicBezTo>
                    <a:cubicBezTo>
                      <a:pt x="55912" y="11049"/>
                      <a:pt x="52769" y="14288"/>
                      <a:pt x="48863" y="14288"/>
                    </a:cubicBezTo>
                    <a:close/>
                  </a:path>
                </a:pathLst>
              </a:custGeom>
              <a:grpFill/>
              <a:ln w="9525" cap="flat">
                <a:noFill/>
                <a:prstDash val="solid"/>
                <a:miter/>
              </a:ln>
            </p:spPr>
            <p:txBody>
              <a:bodyPr lIns="0" tIns="0" rIns="0" bIns="0" rtlCol="0" anchor="ctr"/>
              <a:lstStyle/>
              <a:p>
                <a:endParaRPr lang="en-US"/>
              </a:p>
            </p:txBody>
          </p:sp>
        </p:grpSp>
        <p:sp>
          <p:nvSpPr>
            <p:cNvPr id="406" name="Grafik 17">
              <a:extLst>
                <a:ext uri="{FF2B5EF4-FFF2-40B4-BE49-F238E27FC236}">
                  <a16:creationId xmlns:a16="http://schemas.microsoft.com/office/drawing/2014/main" id="{F621E3DE-CD05-22E4-F251-BEEDBC234D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07" name="Grafik 17">
              <a:extLst>
                <a:ext uri="{FF2B5EF4-FFF2-40B4-BE49-F238E27FC236}">
                  <a16:creationId xmlns:a16="http://schemas.microsoft.com/office/drawing/2014/main" id="{F00D6681-098C-59B8-CBA4-850BE42AFFE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08" name="Grafik 17">
              <a:extLst>
                <a:ext uri="{FF2B5EF4-FFF2-40B4-BE49-F238E27FC236}">
                  <a16:creationId xmlns:a16="http://schemas.microsoft.com/office/drawing/2014/main" id="{F8EF8353-CEEB-BDF9-47D4-63EB9B31998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09" name="Grafik 17">
              <a:extLst>
                <a:ext uri="{FF2B5EF4-FFF2-40B4-BE49-F238E27FC236}">
                  <a16:creationId xmlns:a16="http://schemas.microsoft.com/office/drawing/2014/main" id="{B0DE0A16-767F-8378-090B-1385237825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10" name="Grafik 17">
              <a:extLst>
                <a:ext uri="{FF2B5EF4-FFF2-40B4-BE49-F238E27FC236}">
                  <a16:creationId xmlns:a16="http://schemas.microsoft.com/office/drawing/2014/main" id="{54B6BEE1-8548-560C-1162-05EB61A4ADE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sp>
        <p:nvSpPr>
          <p:cNvPr id="415" name="Text Box 59">
            <a:extLst>
              <a:ext uri="{FF2B5EF4-FFF2-40B4-BE49-F238E27FC236}">
                <a16:creationId xmlns:a16="http://schemas.microsoft.com/office/drawing/2014/main" id="{B4559C10-EBE2-DA27-5370-9F4858CDB515}"/>
              </a:ext>
            </a:extLst>
          </p:cNvPr>
          <p:cNvSpPr txBox="1">
            <a:spLocks noChangeArrowheads="1"/>
          </p:cNvSpPr>
          <p:nvPr/>
        </p:nvSpPr>
        <p:spPr bwMode="auto">
          <a:xfrm>
            <a:off x="8074255" y="3551238"/>
            <a:ext cx="2997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TP</a:t>
            </a:r>
          </a:p>
        </p:txBody>
      </p:sp>
      <p:grpSp>
        <p:nvGrpSpPr>
          <p:cNvPr id="416" name="Grafik 220">
            <a:extLst>
              <a:ext uri="{FF2B5EF4-FFF2-40B4-BE49-F238E27FC236}">
                <a16:creationId xmlns:a16="http://schemas.microsoft.com/office/drawing/2014/main" id="{069707C6-ACD0-2078-8725-3C14FE951131}"/>
              </a:ext>
            </a:extLst>
          </p:cNvPr>
          <p:cNvGrpSpPr/>
          <p:nvPr/>
        </p:nvGrpSpPr>
        <p:grpSpPr bwMode="gray">
          <a:xfrm>
            <a:off x="7536202" y="1327754"/>
            <a:ext cx="374400" cy="374400"/>
            <a:chOff x="5843587" y="3176587"/>
            <a:chExt cx="500253" cy="500253"/>
          </a:xfrm>
          <a:solidFill>
            <a:schemeClr val="tx1"/>
          </a:solidFill>
        </p:grpSpPr>
        <p:sp>
          <p:nvSpPr>
            <p:cNvPr id="417" name="Grafik 220">
              <a:extLst>
                <a:ext uri="{FF2B5EF4-FFF2-40B4-BE49-F238E27FC236}">
                  <a16:creationId xmlns:a16="http://schemas.microsoft.com/office/drawing/2014/main" id="{997A2CDC-925E-EFBC-BDE7-4DB102D9A03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8" name="Grafik 220">
              <a:extLst>
                <a:ext uri="{FF2B5EF4-FFF2-40B4-BE49-F238E27FC236}">
                  <a16:creationId xmlns:a16="http://schemas.microsoft.com/office/drawing/2014/main" id="{31145CC8-84B1-E26E-A754-C3B6E47BD4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19" name="Grafik 220">
              <a:extLst>
                <a:ext uri="{FF2B5EF4-FFF2-40B4-BE49-F238E27FC236}">
                  <a16:creationId xmlns:a16="http://schemas.microsoft.com/office/drawing/2014/main" id="{DB1278D5-A283-11E8-37D9-A4A53940666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0" name="Grafik 220">
              <a:extLst>
                <a:ext uri="{FF2B5EF4-FFF2-40B4-BE49-F238E27FC236}">
                  <a16:creationId xmlns:a16="http://schemas.microsoft.com/office/drawing/2014/main" id="{AC2CDF7A-2870-822D-CA80-355118570E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1" name="Grafik 220">
              <a:extLst>
                <a:ext uri="{FF2B5EF4-FFF2-40B4-BE49-F238E27FC236}">
                  <a16:creationId xmlns:a16="http://schemas.microsoft.com/office/drawing/2014/main" id="{8AC9B1CF-F3AB-2C3F-90A2-C22BAF92983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22" name="Grafik 220">
              <a:extLst>
                <a:ext uri="{FF2B5EF4-FFF2-40B4-BE49-F238E27FC236}">
                  <a16:creationId xmlns:a16="http://schemas.microsoft.com/office/drawing/2014/main" id="{A36DCE85-94D4-C72A-FC9D-042656B591AE}"/>
                </a:ext>
              </a:extLst>
            </p:cNvPr>
            <p:cNvGrpSpPr/>
            <p:nvPr/>
          </p:nvGrpSpPr>
          <p:grpSpPr bwMode="gray">
            <a:xfrm>
              <a:off x="5913595" y="3311365"/>
              <a:ext cx="295467" cy="295560"/>
              <a:chOff x="5913595" y="3311365"/>
              <a:chExt cx="295467" cy="295560"/>
            </a:xfrm>
            <a:grpFill/>
          </p:grpSpPr>
          <p:grpSp>
            <p:nvGrpSpPr>
              <p:cNvPr id="423" name="Grafik 220">
                <a:extLst>
                  <a:ext uri="{FF2B5EF4-FFF2-40B4-BE49-F238E27FC236}">
                    <a16:creationId xmlns:a16="http://schemas.microsoft.com/office/drawing/2014/main" id="{B641E120-ACB1-5E41-49A5-911EDA53FE06}"/>
                  </a:ext>
                </a:extLst>
              </p:cNvPr>
              <p:cNvGrpSpPr/>
              <p:nvPr/>
            </p:nvGrpSpPr>
            <p:grpSpPr bwMode="gray">
              <a:xfrm>
                <a:off x="5913595" y="3311365"/>
                <a:ext cx="79057" cy="79057"/>
                <a:chOff x="5913595" y="3311365"/>
                <a:chExt cx="79057" cy="79057"/>
              </a:xfrm>
              <a:grpFill/>
            </p:grpSpPr>
            <p:sp>
              <p:nvSpPr>
                <p:cNvPr id="449" name="Grafik 220">
                  <a:extLst>
                    <a:ext uri="{FF2B5EF4-FFF2-40B4-BE49-F238E27FC236}">
                      <a16:creationId xmlns:a16="http://schemas.microsoft.com/office/drawing/2014/main" id="{94E4C677-BD80-A138-EB62-09E13BA24DD1}"/>
                    </a:ext>
                  </a:extLst>
                </p:cNvPr>
                <p:cNvSpPr/>
                <p:nvPr/>
              </p:nvSpPr>
              <p:spPr bwMode="gray">
                <a:xfrm>
                  <a:off x="5913595" y="3311365"/>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450" name="Grafik 220">
                  <a:extLst>
                    <a:ext uri="{FF2B5EF4-FFF2-40B4-BE49-F238E27FC236}">
                      <a16:creationId xmlns:a16="http://schemas.microsoft.com/office/drawing/2014/main" id="{01FC5D47-B878-7DF2-E263-D7E74DC57908}"/>
                    </a:ext>
                  </a:extLst>
                </p:cNvPr>
                <p:cNvSpPr/>
                <p:nvPr/>
              </p:nvSpPr>
              <p:spPr bwMode="gray">
                <a:xfrm>
                  <a:off x="5913595"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424" name="Grafik 220">
                <a:extLst>
                  <a:ext uri="{FF2B5EF4-FFF2-40B4-BE49-F238E27FC236}">
                    <a16:creationId xmlns:a16="http://schemas.microsoft.com/office/drawing/2014/main" id="{7D5E5652-09DF-1F68-D567-D51B75D07790}"/>
                  </a:ext>
                </a:extLst>
              </p:cNvPr>
              <p:cNvSpPr/>
              <p:nvPr/>
            </p:nvSpPr>
            <p:spPr bwMode="gray">
              <a:xfrm>
                <a:off x="5935622" y="33334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217" y="30456"/>
                      <a:pt x="23312" y="30456"/>
                    </a:cubicBezTo>
                    <a:close/>
                  </a:path>
                </a:pathLst>
              </a:custGeom>
              <a:grpFill/>
              <a:ln w="9525" cap="flat">
                <a:noFill/>
                <a:prstDash val="solid"/>
                <a:miter/>
              </a:ln>
            </p:spPr>
            <p:txBody>
              <a:bodyPr rtlCol="0" anchor="ctr"/>
              <a:lstStyle/>
              <a:p>
                <a:endParaRPr lang="de-DE"/>
              </a:p>
            </p:txBody>
          </p:sp>
          <p:sp>
            <p:nvSpPr>
              <p:cNvPr id="425" name="Grafik 220">
                <a:extLst>
                  <a:ext uri="{FF2B5EF4-FFF2-40B4-BE49-F238E27FC236}">
                    <a16:creationId xmlns:a16="http://schemas.microsoft.com/office/drawing/2014/main" id="{E684A159-C4EB-FB80-022E-0ACFFF8130E4}"/>
                  </a:ext>
                </a:extLst>
              </p:cNvPr>
              <p:cNvSpPr/>
              <p:nvPr/>
            </p:nvSpPr>
            <p:spPr bwMode="gray">
              <a:xfrm>
                <a:off x="5968007" y="33658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26" name="Grafik 220">
                <a:extLst>
                  <a:ext uri="{FF2B5EF4-FFF2-40B4-BE49-F238E27FC236}">
                    <a16:creationId xmlns:a16="http://schemas.microsoft.com/office/drawing/2014/main" id="{EDEACB5D-4BA4-3C05-5369-EDC6B70ACE94}"/>
                  </a:ext>
                </a:extLst>
              </p:cNvPr>
              <p:cNvSpPr/>
              <p:nvPr/>
            </p:nvSpPr>
            <p:spPr bwMode="gray">
              <a:xfrm>
                <a:off x="6000487" y="339825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27" name="Grafik 220">
                <a:extLst>
                  <a:ext uri="{FF2B5EF4-FFF2-40B4-BE49-F238E27FC236}">
                    <a16:creationId xmlns:a16="http://schemas.microsoft.com/office/drawing/2014/main" id="{C829A96A-F2D9-20B7-365E-6C884E2ACFBB}"/>
                  </a:ext>
                </a:extLst>
              </p:cNvPr>
              <p:cNvSpPr/>
              <p:nvPr/>
            </p:nvSpPr>
            <p:spPr bwMode="gray">
              <a:xfrm>
                <a:off x="6032872" y="3430642"/>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075" y="34933"/>
                      <a:pt x="30266" y="35600"/>
                      <a:pt x="28456" y="35600"/>
                    </a:cubicBezTo>
                    <a:close/>
                  </a:path>
                </a:pathLst>
              </a:custGeom>
              <a:grpFill/>
              <a:ln w="9525" cap="flat">
                <a:noFill/>
                <a:prstDash val="solid"/>
                <a:miter/>
              </a:ln>
            </p:spPr>
            <p:txBody>
              <a:bodyPr rtlCol="0" anchor="ctr"/>
              <a:lstStyle/>
              <a:p>
                <a:endParaRPr lang="de-DE"/>
              </a:p>
            </p:txBody>
          </p:sp>
          <p:grpSp>
            <p:nvGrpSpPr>
              <p:cNvPr id="428" name="Grafik 220">
                <a:extLst>
                  <a:ext uri="{FF2B5EF4-FFF2-40B4-BE49-F238E27FC236}">
                    <a16:creationId xmlns:a16="http://schemas.microsoft.com/office/drawing/2014/main" id="{D9025F9A-B694-FBC2-B0DB-E318E606DE03}"/>
                  </a:ext>
                </a:extLst>
              </p:cNvPr>
              <p:cNvGrpSpPr/>
              <p:nvPr/>
            </p:nvGrpSpPr>
            <p:grpSpPr bwMode="gray">
              <a:xfrm>
                <a:off x="6130003" y="3527869"/>
                <a:ext cx="79059" cy="79057"/>
                <a:chOff x="6130003" y="3527869"/>
                <a:chExt cx="79059" cy="79057"/>
              </a:xfrm>
              <a:grpFill/>
            </p:grpSpPr>
            <p:sp>
              <p:nvSpPr>
                <p:cNvPr id="447" name="Grafik 220">
                  <a:extLst>
                    <a:ext uri="{FF2B5EF4-FFF2-40B4-BE49-F238E27FC236}">
                      <a16:creationId xmlns:a16="http://schemas.microsoft.com/office/drawing/2014/main" id="{D088C4E1-84C2-BE05-92A9-564C01E7E388}"/>
                    </a:ext>
                  </a:extLst>
                </p:cNvPr>
                <p:cNvSpPr/>
                <p:nvPr/>
              </p:nvSpPr>
              <p:spPr bwMode="gray">
                <a:xfrm>
                  <a:off x="6194773" y="3527869"/>
                  <a:ext cx="14289" cy="79057"/>
                </a:xfrm>
                <a:custGeom>
                  <a:avLst/>
                  <a:gdLst>
                    <a:gd name="connsiteX0" fmla="*/ 7144 w 14289"/>
                    <a:gd name="connsiteY0" fmla="*/ 79057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383" y="75819"/>
                        <a:pt x="11144" y="79057"/>
                        <a:pt x="7144" y="79057"/>
                      </a:cubicBezTo>
                      <a:close/>
                    </a:path>
                  </a:pathLst>
                </a:custGeom>
                <a:grpFill/>
                <a:ln w="9525" cap="flat">
                  <a:noFill/>
                  <a:prstDash val="solid"/>
                  <a:miter/>
                </a:ln>
              </p:spPr>
              <p:txBody>
                <a:bodyPr rtlCol="0" anchor="ctr"/>
                <a:lstStyle/>
                <a:p>
                  <a:endParaRPr lang="de-DE"/>
                </a:p>
              </p:txBody>
            </p:sp>
            <p:sp>
              <p:nvSpPr>
                <p:cNvPr id="448" name="Grafik 220">
                  <a:extLst>
                    <a:ext uri="{FF2B5EF4-FFF2-40B4-BE49-F238E27FC236}">
                      <a16:creationId xmlns:a16="http://schemas.microsoft.com/office/drawing/2014/main" id="{F3610633-E2EE-A2E1-C679-E930BAEAD80A}"/>
                    </a:ext>
                  </a:extLst>
                </p:cNvPr>
                <p:cNvSpPr/>
                <p:nvPr/>
              </p:nvSpPr>
              <p:spPr bwMode="gray">
                <a:xfrm>
                  <a:off x="6130003"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sp>
            <p:nvSpPr>
              <p:cNvPr id="429" name="Grafik 220">
                <a:extLst>
                  <a:ext uri="{FF2B5EF4-FFF2-40B4-BE49-F238E27FC236}">
                    <a16:creationId xmlns:a16="http://schemas.microsoft.com/office/drawing/2014/main" id="{A79D79F5-ABE3-791C-D481-3453920810FD}"/>
                  </a:ext>
                </a:extLst>
              </p:cNvPr>
              <p:cNvSpPr/>
              <p:nvPr/>
            </p:nvSpPr>
            <p:spPr bwMode="gray">
              <a:xfrm>
                <a:off x="6156602" y="35543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0" name="Grafik 220">
                <a:extLst>
                  <a:ext uri="{FF2B5EF4-FFF2-40B4-BE49-F238E27FC236}">
                    <a16:creationId xmlns:a16="http://schemas.microsoft.com/office/drawing/2014/main" id="{1B5F7830-D27B-1ECE-ADE2-3531AF7C6E4F}"/>
                  </a:ext>
                </a:extLst>
              </p:cNvPr>
              <p:cNvSpPr/>
              <p:nvPr/>
            </p:nvSpPr>
            <p:spPr bwMode="gray">
              <a:xfrm>
                <a:off x="6124217" y="35219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1" name="Grafik 220">
                <a:extLst>
                  <a:ext uri="{FF2B5EF4-FFF2-40B4-BE49-F238E27FC236}">
                    <a16:creationId xmlns:a16="http://schemas.microsoft.com/office/drawing/2014/main" id="{54AE97FB-BB95-6BAE-2800-7A7AA1892691}"/>
                  </a:ext>
                </a:extLst>
              </p:cNvPr>
              <p:cNvSpPr/>
              <p:nvPr/>
            </p:nvSpPr>
            <p:spPr bwMode="gray">
              <a:xfrm>
                <a:off x="6091737" y="348960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32" name="Grafik 220">
                <a:extLst>
                  <a:ext uri="{FF2B5EF4-FFF2-40B4-BE49-F238E27FC236}">
                    <a16:creationId xmlns:a16="http://schemas.microsoft.com/office/drawing/2014/main" id="{AF736FBC-CE81-EF06-5306-19BA573A9814}"/>
                  </a:ext>
                </a:extLst>
              </p:cNvPr>
              <p:cNvSpPr/>
              <p:nvPr/>
            </p:nvSpPr>
            <p:spPr bwMode="gray">
              <a:xfrm>
                <a:off x="6054208" y="3452073"/>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171" y="34838"/>
                      <a:pt x="30361" y="35600"/>
                      <a:pt x="28456" y="35600"/>
                    </a:cubicBezTo>
                    <a:close/>
                  </a:path>
                </a:pathLst>
              </a:custGeom>
              <a:grpFill/>
              <a:ln w="9525" cap="flat">
                <a:noFill/>
                <a:prstDash val="solid"/>
                <a:miter/>
              </a:ln>
            </p:spPr>
            <p:txBody>
              <a:bodyPr rtlCol="0" anchor="ctr"/>
              <a:lstStyle/>
              <a:p>
                <a:endParaRPr lang="de-DE"/>
              </a:p>
            </p:txBody>
          </p:sp>
          <p:grpSp>
            <p:nvGrpSpPr>
              <p:cNvPr id="433" name="Grafik 220">
                <a:extLst>
                  <a:ext uri="{FF2B5EF4-FFF2-40B4-BE49-F238E27FC236}">
                    <a16:creationId xmlns:a16="http://schemas.microsoft.com/office/drawing/2014/main" id="{64D46BE6-5069-C138-1ED6-EDA893C5E8B9}"/>
                  </a:ext>
                </a:extLst>
              </p:cNvPr>
              <p:cNvGrpSpPr/>
              <p:nvPr/>
            </p:nvGrpSpPr>
            <p:grpSpPr bwMode="gray">
              <a:xfrm>
                <a:off x="5913595" y="3527869"/>
                <a:ext cx="79057" cy="79057"/>
                <a:chOff x="5913595" y="3527869"/>
                <a:chExt cx="79057" cy="79057"/>
              </a:xfrm>
              <a:grpFill/>
            </p:grpSpPr>
            <p:sp>
              <p:nvSpPr>
                <p:cNvPr id="445" name="Grafik 220">
                  <a:extLst>
                    <a:ext uri="{FF2B5EF4-FFF2-40B4-BE49-F238E27FC236}">
                      <a16:creationId xmlns:a16="http://schemas.microsoft.com/office/drawing/2014/main" id="{2B6541E4-7EB6-0159-D1BC-74E767A51F89}"/>
                    </a:ext>
                  </a:extLst>
                </p:cNvPr>
                <p:cNvSpPr/>
                <p:nvPr/>
              </p:nvSpPr>
              <p:spPr bwMode="gray">
                <a:xfrm>
                  <a:off x="5913595"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446" name="Grafik 220">
                  <a:extLst>
                    <a:ext uri="{FF2B5EF4-FFF2-40B4-BE49-F238E27FC236}">
                      <a16:creationId xmlns:a16="http://schemas.microsoft.com/office/drawing/2014/main" id="{0F48CF85-D7C2-61F7-DE85-17641193CD40}"/>
                    </a:ext>
                  </a:extLst>
                </p:cNvPr>
                <p:cNvSpPr/>
                <p:nvPr/>
              </p:nvSpPr>
              <p:spPr bwMode="gray">
                <a:xfrm>
                  <a:off x="5913595" y="352786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434" name="Grafik 220">
                <a:extLst>
                  <a:ext uri="{FF2B5EF4-FFF2-40B4-BE49-F238E27FC236}">
                    <a16:creationId xmlns:a16="http://schemas.microsoft.com/office/drawing/2014/main" id="{E8FD0DD9-4EF4-F4A2-A800-8FBA1497CAFC}"/>
                  </a:ext>
                </a:extLst>
              </p:cNvPr>
              <p:cNvSpPr/>
              <p:nvPr/>
            </p:nvSpPr>
            <p:spPr bwMode="gray">
              <a:xfrm>
                <a:off x="5935622" y="35543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5" name="Grafik 220">
                <a:extLst>
                  <a:ext uri="{FF2B5EF4-FFF2-40B4-BE49-F238E27FC236}">
                    <a16:creationId xmlns:a16="http://schemas.microsoft.com/office/drawing/2014/main" id="{FDC7EB7A-8C6B-6DCF-78AC-4DE41C95C0A0}"/>
                  </a:ext>
                </a:extLst>
              </p:cNvPr>
              <p:cNvSpPr/>
              <p:nvPr/>
            </p:nvSpPr>
            <p:spPr bwMode="gray">
              <a:xfrm>
                <a:off x="5968007" y="35219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6" name="Grafik 220">
                <a:extLst>
                  <a:ext uri="{FF2B5EF4-FFF2-40B4-BE49-F238E27FC236}">
                    <a16:creationId xmlns:a16="http://schemas.microsoft.com/office/drawing/2014/main" id="{6FA79F03-9394-03AD-4303-D0A5FE9203B5}"/>
                  </a:ext>
                </a:extLst>
              </p:cNvPr>
              <p:cNvSpPr/>
              <p:nvPr/>
            </p:nvSpPr>
            <p:spPr bwMode="gray">
              <a:xfrm>
                <a:off x="6000487" y="348960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37" name="Grafik 220">
                <a:extLst>
                  <a:ext uri="{FF2B5EF4-FFF2-40B4-BE49-F238E27FC236}">
                    <a16:creationId xmlns:a16="http://schemas.microsoft.com/office/drawing/2014/main" id="{62143F9A-6575-787C-A668-16C43CCF625E}"/>
                  </a:ext>
                </a:extLst>
              </p:cNvPr>
              <p:cNvSpPr/>
              <p:nvPr/>
            </p:nvSpPr>
            <p:spPr bwMode="gray">
              <a:xfrm>
                <a:off x="6032872" y="3452073"/>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838"/>
                      <a:pt x="8930" y="35600"/>
                      <a:pt x="7120" y="35600"/>
                    </a:cubicBezTo>
                    <a:close/>
                  </a:path>
                </a:pathLst>
              </a:custGeom>
              <a:grpFill/>
              <a:ln w="9525" cap="flat">
                <a:noFill/>
                <a:prstDash val="solid"/>
                <a:miter/>
              </a:ln>
            </p:spPr>
            <p:txBody>
              <a:bodyPr rtlCol="0" anchor="ctr"/>
              <a:lstStyle/>
              <a:p>
                <a:endParaRPr lang="de-DE"/>
              </a:p>
            </p:txBody>
          </p:sp>
          <p:grpSp>
            <p:nvGrpSpPr>
              <p:cNvPr id="438" name="Grafik 220">
                <a:extLst>
                  <a:ext uri="{FF2B5EF4-FFF2-40B4-BE49-F238E27FC236}">
                    <a16:creationId xmlns:a16="http://schemas.microsoft.com/office/drawing/2014/main" id="{6C3B7C2D-AF4B-BDA5-5748-35A6A24E07AC}"/>
                  </a:ext>
                </a:extLst>
              </p:cNvPr>
              <p:cNvGrpSpPr/>
              <p:nvPr/>
            </p:nvGrpSpPr>
            <p:grpSpPr bwMode="gray">
              <a:xfrm>
                <a:off x="6130003" y="3311365"/>
                <a:ext cx="79059" cy="79057"/>
                <a:chOff x="6130003" y="3311365"/>
                <a:chExt cx="79059" cy="79057"/>
              </a:xfrm>
              <a:grpFill/>
            </p:grpSpPr>
            <p:sp>
              <p:nvSpPr>
                <p:cNvPr id="443" name="Grafik 220">
                  <a:extLst>
                    <a:ext uri="{FF2B5EF4-FFF2-40B4-BE49-F238E27FC236}">
                      <a16:creationId xmlns:a16="http://schemas.microsoft.com/office/drawing/2014/main" id="{E810DE3C-FF0B-715C-2194-ECCE87FDADE5}"/>
                    </a:ext>
                  </a:extLst>
                </p:cNvPr>
                <p:cNvSpPr/>
                <p:nvPr/>
              </p:nvSpPr>
              <p:spPr bwMode="gray">
                <a:xfrm>
                  <a:off x="6130003"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444" name="Grafik 220">
                  <a:extLst>
                    <a:ext uri="{FF2B5EF4-FFF2-40B4-BE49-F238E27FC236}">
                      <a16:creationId xmlns:a16="http://schemas.microsoft.com/office/drawing/2014/main" id="{72063B58-4406-C3E8-F0D7-013950AE638C}"/>
                    </a:ext>
                  </a:extLst>
                </p:cNvPr>
                <p:cNvSpPr/>
                <p:nvPr/>
              </p:nvSpPr>
              <p:spPr bwMode="gray">
                <a:xfrm>
                  <a:off x="6194773" y="3311365"/>
                  <a:ext cx="14289" cy="79057"/>
                </a:xfrm>
                <a:custGeom>
                  <a:avLst/>
                  <a:gdLst>
                    <a:gd name="connsiteX0" fmla="*/ 7144 w 14289"/>
                    <a:gd name="connsiteY0" fmla="*/ 79058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383" y="75914"/>
                        <a:pt x="11144" y="79058"/>
                        <a:pt x="7144" y="79058"/>
                      </a:cubicBezTo>
                      <a:close/>
                    </a:path>
                  </a:pathLst>
                </a:custGeom>
                <a:grpFill/>
                <a:ln w="9525" cap="flat">
                  <a:noFill/>
                  <a:prstDash val="solid"/>
                  <a:miter/>
                </a:ln>
              </p:spPr>
              <p:txBody>
                <a:bodyPr rtlCol="0" anchor="ctr"/>
                <a:lstStyle/>
                <a:p>
                  <a:endParaRPr lang="de-DE"/>
                </a:p>
              </p:txBody>
            </p:sp>
          </p:grpSp>
          <p:sp>
            <p:nvSpPr>
              <p:cNvPr id="439" name="Grafik 220">
                <a:extLst>
                  <a:ext uri="{FF2B5EF4-FFF2-40B4-BE49-F238E27FC236}">
                    <a16:creationId xmlns:a16="http://schemas.microsoft.com/office/drawing/2014/main" id="{5EBDEC83-2FAB-DF0F-4894-F051B1A209E1}"/>
                  </a:ext>
                </a:extLst>
              </p:cNvPr>
              <p:cNvSpPr/>
              <p:nvPr/>
            </p:nvSpPr>
            <p:spPr bwMode="gray">
              <a:xfrm>
                <a:off x="6156602" y="33334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440" name="Grafik 220">
                <a:extLst>
                  <a:ext uri="{FF2B5EF4-FFF2-40B4-BE49-F238E27FC236}">
                    <a16:creationId xmlns:a16="http://schemas.microsoft.com/office/drawing/2014/main" id="{4BD88532-307E-8214-4775-59617CC29D69}"/>
                  </a:ext>
                </a:extLst>
              </p:cNvPr>
              <p:cNvSpPr/>
              <p:nvPr/>
            </p:nvSpPr>
            <p:spPr bwMode="gray">
              <a:xfrm>
                <a:off x="6124217" y="33658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41" name="Grafik 220">
                <a:extLst>
                  <a:ext uri="{FF2B5EF4-FFF2-40B4-BE49-F238E27FC236}">
                    <a16:creationId xmlns:a16="http://schemas.microsoft.com/office/drawing/2014/main" id="{9FA8995C-751B-540E-6F2C-6A1E6FDACE1B}"/>
                  </a:ext>
                </a:extLst>
              </p:cNvPr>
              <p:cNvSpPr/>
              <p:nvPr/>
            </p:nvSpPr>
            <p:spPr bwMode="gray">
              <a:xfrm>
                <a:off x="6091737" y="339825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9025" y="30456"/>
                      <a:pt x="7120" y="30456"/>
                    </a:cubicBezTo>
                    <a:close/>
                  </a:path>
                </a:pathLst>
              </a:custGeom>
              <a:grpFill/>
              <a:ln w="9525" cap="flat">
                <a:noFill/>
                <a:prstDash val="solid"/>
                <a:miter/>
              </a:ln>
            </p:spPr>
            <p:txBody>
              <a:bodyPr rtlCol="0" anchor="ctr"/>
              <a:lstStyle/>
              <a:p>
                <a:endParaRPr lang="de-DE"/>
              </a:p>
            </p:txBody>
          </p:sp>
          <p:sp>
            <p:nvSpPr>
              <p:cNvPr id="442" name="Grafik 220">
                <a:extLst>
                  <a:ext uri="{FF2B5EF4-FFF2-40B4-BE49-F238E27FC236}">
                    <a16:creationId xmlns:a16="http://schemas.microsoft.com/office/drawing/2014/main" id="{ECA5F861-3C22-2732-ED56-3E1386BD52A2}"/>
                  </a:ext>
                </a:extLst>
              </p:cNvPr>
              <p:cNvSpPr/>
              <p:nvPr/>
            </p:nvSpPr>
            <p:spPr bwMode="gray">
              <a:xfrm>
                <a:off x="6054208" y="3430642"/>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933"/>
                      <a:pt x="8930" y="35600"/>
                      <a:pt x="7120" y="35600"/>
                    </a:cubicBezTo>
                    <a:close/>
                  </a:path>
                </a:pathLst>
              </a:custGeom>
              <a:grpFill/>
              <a:ln w="9525" cap="flat">
                <a:noFill/>
                <a:prstDash val="solid"/>
                <a:miter/>
              </a:ln>
            </p:spPr>
            <p:txBody>
              <a:bodyPr rtlCol="0" anchor="ctr"/>
              <a:lstStyle/>
              <a:p>
                <a:endParaRPr lang="de-DE"/>
              </a:p>
            </p:txBody>
          </p:sp>
        </p:grpSp>
      </p:grpSp>
      <p:grpSp>
        <p:nvGrpSpPr>
          <p:cNvPr id="451" name="Grafik 222">
            <a:extLst>
              <a:ext uri="{FF2B5EF4-FFF2-40B4-BE49-F238E27FC236}">
                <a16:creationId xmlns:a16="http://schemas.microsoft.com/office/drawing/2014/main" id="{53CA1053-C60A-F030-0F99-C5A8F272C933}"/>
              </a:ext>
            </a:extLst>
          </p:cNvPr>
          <p:cNvGrpSpPr/>
          <p:nvPr/>
        </p:nvGrpSpPr>
        <p:grpSpPr bwMode="gray">
          <a:xfrm>
            <a:off x="7536202" y="2402246"/>
            <a:ext cx="374400" cy="374400"/>
            <a:chOff x="5843587" y="3176587"/>
            <a:chExt cx="500253" cy="500253"/>
          </a:xfrm>
          <a:solidFill>
            <a:schemeClr val="tx1"/>
          </a:solidFill>
        </p:grpSpPr>
        <p:sp>
          <p:nvSpPr>
            <p:cNvPr id="452" name="Grafik 222">
              <a:extLst>
                <a:ext uri="{FF2B5EF4-FFF2-40B4-BE49-F238E27FC236}">
                  <a16:creationId xmlns:a16="http://schemas.microsoft.com/office/drawing/2014/main" id="{74E0B16C-9ACA-F58A-9FEB-08D614618B8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3" name="Grafik 222">
              <a:extLst>
                <a:ext uri="{FF2B5EF4-FFF2-40B4-BE49-F238E27FC236}">
                  <a16:creationId xmlns:a16="http://schemas.microsoft.com/office/drawing/2014/main" id="{18DA05A8-CBE9-619C-E266-9600F79F5B3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4" name="Grafik 222">
              <a:extLst>
                <a:ext uri="{FF2B5EF4-FFF2-40B4-BE49-F238E27FC236}">
                  <a16:creationId xmlns:a16="http://schemas.microsoft.com/office/drawing/2014/main" id="{8D825471-7895-63E7-8157-6CD8532F9B4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22">
              <a:extLst>
                <a:ext uri="{FF2B5EF4-FFF2-40B4-BE49-F238E27FC236}">
                  <a16:creationId xmlns:a16="http://schemas.microsoft.com/office/drawing/2014/main" id="{101F9646-1672-919C-4F72-B569EAD938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6" name="Grafik 222">
              <a:extLst>
                <a:ext uri="{FF2B5EF4-FFF2-40B4-BE49-F238E27FC236}">
                  <a16:creationId xmlns:a16="http://schemas.microsoft.com/office/drawing/2014/main" id="{2AA4C812-B698-FBAF-D573-C5ECEF88FD2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57" name="Grafik 222">
              <a:extLst>
                <a:ext uri="{FF2B5EF4-FFF2-40B4-BE49-F238E27FC236}">
                  <a16:creationId xmlns:a16="http://schemas.microsoft.com/office/drawing/2014/main" id="{6C9E7FED-3707-9F5B-0482-E9EB93D7AD29}"/>
                </a:ext>
              </a:extLst>
            </p:cNvPr>
            <p:cNvGrpSpPr/>
            <p:nvPr/>
          </p:nvGrpSpPr>
          <p:grpSpPr bwMode="gray">
            <a:xfrm>
              <a:off x="5931074" y="3321486"/>
              <a:ext cx="260556" cy="275343"/>
              <a:chOff x="5931074" y="3321486"/>
              <a:chExt cx="260556" cy="275343"/>
            </a:xfrm>
            <a:grpFill/>
          </p:grpSpPr>
          <p:grpSp>
            <p:nvGrpSpPr>
              <p:cNvPr id="458" name="Grafik 222">
                <a:extLst>
                  <a:ext uri="{FF2B5EF4-FFF2-40B4-BE49-F238E27FC236}">
                    <a16:creationId xmlns:a16="http://schemas.microsoft.com/office/drawing/2014/main" id="{1CF510AE-C80F-384E-D4DF-D0747FE5AE2D}"/>
                  </a:ext>
                </a:extLst>
              </p:cNvPr>
              <p:cNvGrpSpPr/>
              <p:nvPr/>
            </p:nvGrpSpPr>
            <p:grpSpPr bwMode="gray">
              <a:xfrm>
                <a:off x="6014394" y="3321486"/>
                <a:ext cx="76080" cy="76080"/>
                <a:chOff x="6014394" y="3321486"/>
                <a:chExt cx="76080" cy="76080"/>
              </a:xfrm>
              <a:grpFill/>
            </p:grpSpPr>
            <p:sp>
              <p:nvSpPr>
                <p:cNvPr id="465" name="Grafik 222">
                  <a:extLst>
                    <a:ext uri="{FF2B5EF4-FFF2-40B4-BE49-F238E27FC236}">
                      <a16:creationId xmlns:a16="http://schemas.microsoft.com/office/drawing/2014/main" id="{55509AD4-1361-2BC1-084D-1713F6E0DC70}"/>
                    </a:ext>
                  </a:extLst>
                </p:cNvPr>
                <p:cNvSpPr/>
                <p:nvPr/>
              </p:nvSpPr>
              <p:spPr bwMode="gray">
                <a:xfrm>
                  <a:off x="601439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rtlCol="0" anchor="ctr"/>
                <a:lstStyle/>
                <a:p>
                  <a:endParaRPr lang="de-DE"/>
                </a:p>
              </p:txBody>
            </p:sp>
            <p:sp>
              <p:nvSpPr>
                <p:cNvPr id="466" name="Grafik 222">
                  <a:extLst>
                    <a:ext uri="{FF2B5EF4-FFF2-40B4-BE49-F238E27FC236}">
                      <a16:creationId xmlns:a16="http://schemas.microsoft.com/office/drawing/2014/main" id="{269129F4-E1A3-1C98-8D46-1BA0BA32CF33}"/>
                    </a:ext>
                  </a:extLst>
                </p:cNvPr>
                <p:cNvSpPr/>
                <p:nvPr/>
              </p:nvSpPr>
              <p:spPr bwMode="gray">
                <a:xfrm>
                  <a:off x="6037325" y="3383279"/>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sp>
              <p:nvSpPr>
                <p:cNvPr id="467" name="Grafik 222">
                  <a:extLst>
                    <a:ext uri="{FF2B5EF4-FFF2-40B4-BE49-F238E27FC236}">
                      <a16:creationId xmlns:a16="http://schemas.microsoft.com/office/drawing/2014/main" id="{5D20B27D-F112-39BF-50B2-61020AB0EDB9}"/>
                    </a:ext>
                  </a:extLst>
                </p:cNvPr>
                <p:cNvSpPr/>
                <p:nvPr/>
              </p:nvSpPr>
              <p:spPr bwMode="gray">
                <a:xfrm>
                  <a:off x="6076187"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8"/>
                        <a:pt x="3239"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rtlCol="0" anchor="ctr"/>
                <a:lstStyle/>
                <a:p>
                  <a:endParaRPr lang="de-DE"/>
                </a:p>
              </p:txBody>
            </p:sp>
          </p:grpSp>
          <p:grpSp>
            <p:nvGrpSpPr>
              <p:cNvPr id="459" name="Grafik 222">
                <a:extLst>
                  <a:ext uri="{FF2B5EF4-FFF2-40B4-BE49-F238E27FC236}">
                    <a16:creationId xmlns:a16="http://schemas.microsoft.com/office/drawing/2014/main" id="{19236C33-5B12-682C-55AF-A422BC505229}"/>
                  </a:ext>
                </a:extLst>
              </p:cNvPr>
              <p:cNvGrpSpPr/>
              <p:nvPr/>
            </p:nvGrpSpPr>
            <p:grpSpPr bwMode="gray">
              <a:xfrm>
                <a:off x="6014394" y="3520725"/>
                <a:ext cx="76080" cy="76104"/>
                <a:chOff x="6014394" y="3520725"/>
                <a:chExt cx="76080" cy="76104"/>
              </a:xfrm>
              <a:grpFill/>
            </p:grpSpPr>
            <p:sp>
              <p:nvSpPr>
                <p:cNvPr id="462" name="Grafik 222">
                  <a:extLst>
                    <a:ext uri="{FF2B5EF4-FFF2-40B4-BE49-F238E27FC236}">
                      <a16:creationId xmlns:a16="http://schemas.microsoft.com/office/drawing/2014/main" id="{486A2AAF-782A-CC6B-F205-B663099BC25D}"/>
                    </a:ext>
                  </a:extLst>
                </p:cNvPr>
                <p:cNvSpPr/>
                <p:nvPr/>
              </p:nvSpPr>
              <p:spPr bwMode="gray">
                <a:xfrm>
                  <a:off x="6014394"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rtlCol="0" anchor="ctr"/>
                <a:lstStyle/>
                <a:p>
                  <a:endParaRPr lang="de-DE"/>
                </a:p>
              </p:txBody>
            </p:sp>
            <p:sp>
              <p:nvSpPr>
                <p:cNvPr id="463" name="Grafik 222">
                  <a:extLst>
                    <a:ext uri="{FF2B5EF4-FFF2-40B4-BE49-F238E27FC236}">
                      <a16:creationId xmlns:a16="http://schemas.microsoft.com/office/drawing/2014/main" id="{C0A7F099-913F-7722-D2D6-59D39E8D46C2}"/>
                    </a:ext>
                  </a:extLst>
                </p:cNvPr>
                <p:cNvSpPr/>
                <p:nvPr/>
              </p:nvSpPr>
              <p:spPr bwMode="gray">
                <a:xfrm>
                  <a:off x="6076187"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9" y="53149"/>
                        <a:pt x="0" y="49911"/>
                        <a:pt x="0" y="46006"/>
                      </a:cubicBezTo>
                      <a:lnTo>
                        <a:pt x="0" y="7144"/>
                      </a:lnTo>
                      <a:cubicBezTo>
                        <a:pt x="0" y="3239"/>
                        <a:pt x="3239"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rtlCol="0" anchor="ctr"/>
                <a:lstStyle/>
                <a:p>
                  <a:endParaRPr lang="de-DE"/>
                </a:p>
              </p:txBody>
            </p:sp>
            <p:sp>
              <p:nvSpPr>
                <p:cNvPr id="464" name="Grafik 222">
                  <a:extLst>
                    <a:ext uri="{FF2B5EF4-FFF2-40B4-BE49-F238E27FC236}">
                      <a16:creationId xmlns:a16="http://schemas.microsoft.com/office/drawing/2014/main" id="{A31BEF4D-19C5-99AC-711F-14DA1A7922A2}"/>
                    </a:ext>
                  </a:extLst>
                </p:cNvPr>
                <p:cNvSpPr/>
                <p:nvPr/>
              </p:nvSpPr>
              <p:spPr bwMode="gray">
                <a:xfrm>
                  <a:off x="6037325" y="3520725"/>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grpSp>
          <p:sp>
            <p:nvSpPr>
              <p:cNvPr id="460" name="Grafik 222">
                <a:extLst>
                  <a:ext uri="{FF2B5EF4-FFF2-40B4-BE49-F238E27FC236}">
                    <a16:creationId xmlns:a16="http://schemas.microsoft.com/office/drawing/2014/main" id="{BE47CC08-4440-7166-A07F-8FE2D2F6174C}"/>
                  </a:ext>
                </a:extLst>
              </p:cNvPr>
              <p:cNvSpPr/>
              <p:nvPr/>
            </p:nvSpPr>
            <p:spPr bwMode="gray">
              <a:xfrm>
                <a:off x="5931074" y="3376040"/>
                <a:ext cx="62912" cy="165925"/>
              </a:xfrm>
              <a:custGeom>
                <a:avLst/>
                <a:gdLst>
                  <a:gd name="connsiteX0" fmla="*/ 48720 w 62912"/>
                  <a:gd name="connsiteY0" fmla="*/ 165926 h 165925"/>
                  <a:gd name="connsiteX1" fmla="*/ 48435 w 62912"/>
                  <a:gd name="connsiteY1" fmla="*/ 165926 h 165925"/>
                  <a:gd name="connsiteX2" fmla="*/ 31480 w 62912"/>
                  <a:gd name="connsiteY2" fmla="*/ 165830 h 165925"/>
                  <a:gd name="connsiteX3" fmla="*/ 31194 w 62912"/>
                  <a:gd name="connsiteY3" fmla="*/ 165830 h 165925"/>
                  <a:gd name="connsiteX4" fmla="*/ 16145 w 62912"/>
                  <a:gd name="connsiteY4" fmla="*/ 156019 h 165925"/>
                  <a:gd name="connsiteX5" fmla="*/ 16145 w 62912"/>
                  <a:gd name="connsiteY5" fmla="*/ 9715 h 165925"/>
                  <a:gd name="connsiteX6" fmla="*/ 31480 w 62912"/>
                  <a:gd name="connsiteY6" fmla="*/ 0 h 165925"/>
                  <a:gd name="connsiteX7" fmla="*/ 48435 w 62912"/>
                  <a:gd name="connsiteY7" fmla="*/ 0 h 165925"/>
                  <a:gd name="connsiteX8" fmla="*/ 62817 w 62912"/>
                  <a:gd name="connsiteY8" fmla="*/ 14383 h 165925"/>
                  <a:gd name="connsiteX9" fmla="*/ 62817 w 62912"/>
                  <a:gd name="connsiteY9" fmla="*/ 43148 h 165925"/>
                  <a:gd name="connsiteX10" fmla="*/ 48435 w 62912"/>
                  <a:gd name="connsiteY10" fmla="*/ 57531 h 165925"/>
                  <a:gd name="connsiteX11" fmla="*/ 33957 w 62912"/>
                  <a:gd name="connsiteY11" fmla="*/ 57531 h 165925"/>
                  <a:gd name="connsiteX12" fmla="*/ 33385 w 62912"/>
                  <a:gd name="connsiteY12" fmla="*/ 107918 h 165925"/>
                  <a:gd name="connsiteX13" fmla="*/ 48530 w 62912"/>
                  <a:gd name="connsiteY13" fmla="*/ 108394 h 165925"/>
                  <a:gd name="connsiteX14" fmla="*/ 62913 w 62912"/>
                  <a:gd name="connsiteY14" fmla="*/ 122777 h 165925"/>
                  <a:gd name="connsiteX15" fmla="*/ 62913 w 62912"/>
                  <a:gd name="connsiteY15" fmla="*/ 151543 h 165925"/>
                  <a:gd name="connsiteX16" fmla="*/ 58626 w 62912"/>
                  <a:gd name="connsiteY16" fmla="*/ 161830 h 165925"/>
                  <a:gd name="connsiteX17" fmla="*/ 48720 w 62912"/>
                  <a:gd name="connsiteY17" fmla="*/ 165926 h 165925"/>
                  <a:gd name="connsiteX18" fmla="*/ 31290 w 62912"/>
                  <a:gd name="connsiteY18" fmla="*/ 151638 h 165925"/>
                  <a:gd name="connsiteX19" fmla="*/ 48530 w 62912"/>
                  <a:gd name="connsiteY19" fmla="*/ 151733 h 165925"/>
                  <a:gd name="connsiteX20" fmla="*/ 48625 w 62912"/>
                  <a:gd name="connsiteY20" fmla="*/ 151638 h 165925"/>
                  <a:gd name="connsiteX21" fmla="*/ 48625 w 62912"/>
                  <a:gd name="connsiteY21" fmla="*/ 122873 h 165925"/>
                  <a:gd name="connsiteX22" fmla="*/ 34052 w 62912"/>
                  <a:gd name="connsiteY22" fmla="*/ 122777 h 165925"/>
                  <a:gd name="connsiteX23" fmla="*/ 19479 w 62912"/>
                  <a:gd name="connsiteY23" fmla="*/ 111252 h 165925"/>
                  <a:gd name="connsiteX24" fmla="*/ 19479 w 62912"/>
                  <a:gd name="connsiteY24" fmla="*/ 54864 h 165925"/>
                  <a:gd name="connsiteX25" fmla="*/ 33957 w 62912"/>
                  <a:gd name="connsiteY25" fmla="*/ 43339 h 165925"/>
                  <a:gd name="connsiteX26" fmla="*/ 48435 w 62912"/>
                  <a:gd name="connsiteY26" fmla="*/ 43339 h 165925"/>
                  <a:gd name="connsiteX27" fmla="*/ 48530 w 62912"/>
                  <a:gd name="connsiteY27" fmla="*/ 14478 h 165925"/>
                  <a:gd name="connsiteX28" fmla="*/ 31480 w 62912"/>
                  <a:gd name="connsiteY28" fmla="*/ 14383 h 165925"/>
                  <a:gd name="connsiteX29" fmla="*/ 29004 w 62912"/>
                  <a:gd name="connsiteY29" fmla="*/ 15907 h 165925"/>
                  <a:gd name="connsiteX30" fmla="*/ 29099 w 62912"/>
                  <a:gd name="connsiteY30" fmla="*/ 150114 h 165925"/>
                  <a:gd name="connsiteX31" fmla="*/ 31290 w 62912"/>
                  <a:gd name="connsiteY31" fmla="*/ 151638 h 1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12" h="165925">
                    <a:moveTo>
                      <a:pt x="48720" y="165926"/>
                    </a:moveTo>
                    <a:cubicBezTo>
                      <a:pt x="48625" y="165926"/>
                      <a:pt x="48530" y="165926"/>
                      <a:pt x="48435" y="165926"/>
                    </a:cubicBezTo>
                    <a:lnTo>
                      <a:pt x="31480" y="165830"/>
                    </a:lnTo>
                    <a:cubicBezTo>
                      <a:pt x="31385" y="165830"/>
                      <a:pt x="31290" y="165830"/>
                      <a:pt x="31194" y="165830"/>
                    </a:cubicBezTo>
                    <a:cubicBezTo>
                      <a:pt x="24813" y="165830"/>
                      <a:pt x="18907" y="162020"/>
                      <a:pt x="16145" y="156019"/>
                    </a:cubicBezTo>
                    <a:cubicBezTo>
                      <a:pt x="-5382" y="109537"/>
                      <a:pt x="-5382" y="56197"/>
                      <a:pt x="16145" y="9715"/>
                    </a:cubicBezTo>
                    <a:cubicBezTo>
                      <a:pt x="19002" y="3810"/>
                      <a:pt x="25003" y="0"/>
                      <a:pt x="31480" y="0"/>
                    </a:cubicBezTo>
                    <a:lnTo>
                      <a:pt x="48435" y="0"/>
                    </a:lnTo>
                    <a:cubicBezTo>
                      <a:pt x="56340" y="0"/>
                      <a:pt x="62817" y="6477"/>
                      <a:pt x="62817" y="14383"/>
                    </a:cubicBezTo>
                    <a:lnTo>
                      <a:pt x="62817" y="43148"/>
                    </a:lnTo>
                    <a:cubicBezTo>
                      <a:pt x="62817" y="51054"/>
                      <a:pt x="56340" y="57531"/>
                      <a:pt x="48435" y="57531"/>
                    </a:cubicBezTo>
                    <a:lnTo>
                      <a:pt x="33957" y="57531"/>
                    </a:lnTo>
                    <a:cubicBezTo>
                      <a:pt x="29670" y="74009"/>
                      <a:pt x="29670" y="91250"/>
                      <a:pt x="33385" y="107918"/>
                    </a:cubicBezTo>
                    <a:lnTo>
                      <a:pt x="48530" y="108394"/>
                    </a:lnTo>
                    <a:cubicBezTo>
                      <a:pt x="56436" y="108394"/>
                      <a:pt x="62913" y="114871"/>
                      <a:pt x="62913" y="122777"/>
                    </a:cubicBezTo>
                    <a:lnTo>
                      <a:pt x="62913" y="151543"/>
                    </a:lnTo>
                    <a:cubicBezTo>
                      <a:pt x="62913" y="155448"/>
                      <a:pt x="61389" y="159163"/>
                      <a:pt x="58626" y="161830"/>
                    </a:cubicBezTo>
                    <a:cubicBezTo>
                      <a:pt x="55959" y="164497"/>
                      <a:pt x="52435" y="165926"/>
                      <a:pt x="48720" y="165926"/>
                    </a:cubicBezTo>
                    <a:close/>
                    <a:moveTo>
                      <a:pt x="31290" y="151638"/>
                    </a:moveTo>
                    <a:lnTo>
                      <a:pt x="48530" y="151733"/>
                    </a:lnTo>
                    <a:lnTo>
                      <a:pt x="48625" y="151638"/>
                    </a:lnTo>
                    <a:lnTo>
                      <a:pt x="48625" y="122873"/>
                    </a:lnTo>
                    <a:lnTo>
                      <a:pt x="34052" y="122777"/>
                    </a:lnTo>
                    <a:cubicBezTo>
                      <a:pt x="27099" y="122777"/>
                      <a:pt x="21193" y="118015"/>
                      <a:pt x="19479" y="111252"/>
                    </a:cubicBezTo>
                    <a:cubicBezTo>
                      <a:pt x="15288" y="92392"/>
                      <a:pt x="15288" y="72962"/>
                      <a:pt x="19479" y="54864"/>
                    </a:cubicBezTo>
                    <a:cubicBezTo>
                      <a:pt x="21003" y="48196"/>
                      <a:pt x="27099" y="43339"/>
                      <a:pt x="33957" y="43339"/>
                    </a:cubicBezTo>
                    <a:lnTo>
                      <a:pt x="48435" y="43339"/>
                    </a:lnTo>
                    <a:lnTo>
                      <a:pt x="48530" y="14478"/>
                    </a:lnTo>
                    <a:lnTo>
                      <a:pt x="31480" y="14383"/>
                    </a:lnTo>
                    <a:cubicBezTo>
                      <a:pt x="30432" y="14383"/>
                      <a:pt x="29480" y="14954"/>
                      <a:pt x="29004" y="15907"/>
                    </a:cubicBezTo>
                    <a:cubicBezTo>
                      <a:pt x="9287" y="58483"/>
                      <a:pt x="9287" y="107442"/>
                      <a:pt x="29099" y="150114"/>
                    </a:cubicBezTo>
                    <a:cubicBezTo>
                      <a:pt x="29480" y="151066"/>
                      <a:pt x="30147" y="151352"/>
                      <a:pt x="31290" y="151638"/>
                    </a:cubicBezTo>
                    <a:close/>
                  </a:path>
                </a:pathLst>
              </a:custGeom>
              <a:grpFill/>
              <a:ln w="9525" cap="flat">
                <a:noFill/>
                <a:prstDash val="solid"/>
                <a:miter/>
              </a:ln>
            </p:spPr>
            <p:txBody>
              <a:bodyPr rtlCol="0" anchor="ctr"/>
              <a:lstStyle/>
              <a:p>
                <a:endParaRPr lang="de-DE"/>
              </a:p>
            </p:txBody>
          </p:sp>
          <p:sp>
            <p:nvSpPr>
              <p:cNvPr id="461" name="Grafik 222">
                <a:extLst>
                  <a:ext uri="{FF2B5EF4-FFF2-40B4-BE49-F238E27FC236}">
                    <a16:creationId xmlns:a16="http://schemas.microsoft.com/office/drawing/2014/main" id="{67FB6561-7219-DBCD-0699-4CC5ED5B2F4A}"/>
                  </a:ext>
                </a:extLst>
              </p:cNvPr>
              <p:cNvSpPr/>
              <p:nvPr/>
            </p:nvSpPr>
            <p:spPr bwMode="gray">
              <a:xfrm>
                <a:off x="6112430" y="3419569"/>
                <a:ext cx="79200" cy="79057"/>
              </a:xfrm>
              <a:custGeom>
                <a:avLst/>
                <a:gdLst>
                  <a:gd name="connsiteX0" fmla="*/ 39576 w 79200"/>
                  <a:gd name="connsiteY0" fmla="*/ 79058 h 79057"/>
                  <a:gd name="connsiteX1" fmla="*/ 11573 w 79200"/>
                  <a:gd name="connsiteY1" fmla="*/ 67532 h 79057"/>
                  <a:gd name="connsiteX2" fmla="*/ 11573 w 79200"/>
                  <a:gd name="connsiteY2" fmla="*/ 11620 h 79057"/>
                  <a:gd name="connsiteX3" fmla="*/ 39576 w 79200"/>
                  <a:gd name="connsiteY3" fmla="*/ 0 h 79057"/>
                  <a:gd name="connsiteX4" fmla="*/ 67580 w 79200"/>
                  <a:gd name="connsiteY4" fmla="*/ 11620 h 79057"/>
                  <a:gd name="connsiteX5" fmla="*/ 79200 w 79200"/>
                  <a:gd name="connsiteY5" fmla="*/ 39624 h 79057"/>
                  <a:gd name="connsiteX6" fmla="*/ 67580 w 79200"/>
                  <a:gd name="connsiteY6" fmla="*/ 67628 h 79057"/>
                  <a:gd name="connsiteX7" fmla="*/ 39576 w 79200"/>
                  <a:gd name="connsiteY7" fmla="*/ 79058 h 79057"/>
                  <a:gd name="connsiteX8" fmla="*/ 39576 w 79200"/>
                  <a:gd name="connsiteY8" fmla="*/ 14288 h 79057"/>
                  <a:gd name="connsiteX9" fmla="*/ 21669 w 79200"/>
                  <a:gd name="connsiteY9" fmla="*/ 21717 h 79057"/>
                  <a:gd name="connsiteX10" fmla="*/ 21669 w 79200"/>
                  <a:gd name="connsiteY10" fmla="*/ 57436 h 79057"/>
                  <a:gd name="connsiteX11" fmla="*/ 57388 w 79200"/>
                  <a:gd name="connsiteY11" fmla="*/ 57436 h 79057"/>
                  <a:gd name="connsiteX12" fmla="*/ 64818 w 79200"/>
                  <a:gd name="connsiteY12" fmla="*/ 39529 h 79057"/>
                  <a:gd name="connsiteX13" fmla="*/ 57388 w 79200"/>
                  <a:gd name="connsiteY13" fmla="*/ 21622 h 79057"/>
                  <a:gd name="connsiteX14" fmla="*/ 39576 w 79200"/>
                  <a:gd name="connsiteY14"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200" h="79057">
                    <a:moveTo>
                      <a:pt x="39576" y="79058"/>
                    </a:moveTo>
                    <a:cubicBezTo>
                      <a:pt x="29480" y="79058"/>
                      <a:pt x="19288" y="75248"/>
                      <a:pt x="11573" y="67532"/>
                    </a:cubicBezTo>
                    <a:cubicBezTo>
                      <a:pt x="-3858" y="52102"/>
                      <a:pt x="-3858" y="27051"/>
                      <a:pt x="11573" y="11620"/>
                    </a:cubicBezTo>
                    <a:cubicBezTo>
                      <a:pt x="19002" y="4191"/>
                      <a:pt x="29004" y="0"/>
                      <a:pt x="39576" y="0"/>
                    </a:cubicBezTo>
                    <a:cubicBezTo>
                      <a:pt x="50149" y="0"/>
                      <a:pt x="60055" y="4096"/>
                      <a:pt x="67580" y="11620"/>
                    </a:cubicBezTo>
                    <a:cubicBezTo>
                      <a:pt x="75105" y="19145"/>
                      <a:pt x="79200" y="29051"/>
                      <a:pt x="79200" y="39624"/>
                    </a:cubicBezTo>
                    <a:cubicBezTo>
                      <a:pt x="79200" y="50197"/>
                      <a:pt x="75105" y="60103"/>
                      <a:pt x="67580" y="67628"/>
                    </a:cubicBezTo>
                    <a:cubicBezTo>
                      <a:pt x="59865" y="75248"/>
                      <a:pt x="49768" y="79058"/>
                      <a:pt x="39576" y="79058"/>
                    </a:cubicBezTo>
                    <a:close/>
                    <a:moveTo>
                      <a:pt x="39576" y="14288"/>
                    </a:moveTo>
                    <a:cubicBezTo>
                      <a:pt x="32814" y="14288"/>
                      <a:pt x="26527" y="16955"/>
                      <a:pt x="21669" y="21717"/>
                    </a:cubicBezTo>
                    <a:cubicBezTo>
                      <a:pt x="11859" y="31528"/>
                      <a:pt x="11859" y="47625"/>
                      <a:pt x="21669" y="57436"/>
                    </a:cubicBezTo>
                    <a:cubicBezTo>
                      <a:pt x="31575" y="67246"/>
                      <a:pt x="47577" y="67246"/>
                      <a:pt x="57388" y="57436"/>
                    </a:cubicBezTo>
                    <a:cubicBezTo>
                      <a:pt x="62151" y="52673"/>
                      <a:pt x="64818" y="46292"/>
                      <a:pt x="64818" y="39529"/>
                    </a:cubicBezTo>
                    <a:cubicBezTo>
                      <a:pt x="64818" y="32766"/>
                      <a:pt x="62151" y="26480"/>
                      <a:pt x="57388" y="21622"/>
                    </a:cubicBezTo>
                    <a:cubicBezTo>
                      <a:pt x="52626" y="16764"/>
                      <a:pt x="46339" y="14288"/>
                      <a:pt x="39576" y="14288"/>
                    </a:cubicBezTo>
                    <a:close/>
                  </a:path>
                </a:pathLst>
              </a:custGeom>
              <a:grpFill/>
              <a:ln w="9525" cap="flat">
                <a:noFill/>
                <a:prstDash val="solid"/>
                <a:miter/>
              </a:ln>
            </p:spPr>
            <p:txBody>
              <a:bodyPr rtlCol="0" anchor="ctr"/>
              <a:lstStyle/>
              <a:p>
                <a:endParaRPr lang="de-DE"/>
              </a:p>
            </p:txBody>
          </p:sp>
        </p:grpSp>
      </p:grpSp>
      <p:grpSp>
        <p:nvGrpSpPr>
          <p:cNvPr id="468" name="Grafik 36">
            <a:extLst>
              <a:ext uri="{FF2B5EF4-FFF2-40B4-BE49-F238E27FC236}">
                <a16:creationId xmlns:a16="http://schemas.microsoft.com/office/drawing/2014/main" id="{EE04F123-DC2A-DF20-EC64-7A60F5B35B15}"/>
              </a:ext>
            </a:extLst>
          </p:cNvPr>
          <p:cNvGrpSpPr>
            <a:grpSpLocks noChangeAspect="1"/>
          </p:cNvGrpSpPr>
          <p:nvPr/>
        </p:nvGrpSpPr>
        <p:grpSpPr bwMode="gray">
          <a:xfrm>
            <a:off x="7536202" y="1865000"/>
            <a:ext cx="374400" cy="374400"/>
            <a:chOff x="5843587" y="3176587"/>
            <a:chExt cx="500253" cy="500253"/>
          </a:xfrm>
          <a:solidFill>
            <a:schemeClr val="tx1"/>
          </a:solidFill>
        </p:grpSpPr>
        <p:sp>
          <p:nvSpPr>
            <p:cNvPr id="469" name="Grafik 36">
              <a:extLst>
                <a:ext uri="{FF2B5EF4-FFF2-40B4-BE49-F238E27FC236}">
                  <a16:creationId xmlns:a16="http://schemas.microsoft.com/office/drawing/2014/main" id="{A6BF9E1B-0F35-B508-C9F4-E7C3C2349E9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70" name="Grafik 36">
              <a:extLst>
                <a:ext uri="{FF2B5EF4-FFF2-40B4-BE49-F238E27FC236}">
                  <a16:creationId xmlns:a16="http://schemas.microsoft.com/office/drawing/2014/main" id="{ED047E3C-E839-72EE-F3C8-6AD3A88268D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71" name="Grafik 36">
              <a:extLst>
                <a:ext uri="{FF2B5EF4-FFF2-40B4-BE49-F238E27FC236}">
                  <a16:creationId xmlns:a16="http://schemas.microsoft.com/office/drawing/2014/main" id="{B63A65D4-84F9-BEEE-53AA-44EC0D68A29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2" name="Grafik 36">
              <a:extLst>
                <a:ext uri="{FF2B5EF4-FFF2-40B4-BE49-F238E27FC236}">
                  <a16:creationId xmlns:a16="http://schemas.microsoft.com/office/drawing/2014/main" id="{FD713B15-0EAF-BA0E-D923-E0BE2C91FB6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3" name="Grafik 36">
              <a:extLst>
                <a:ext uri="{FF2B5EF4-FFF2-40B4-BE49-F238E27FC236}">
                  <a16:creationId xmlns:a16="http://schemas.microsoft.com/office/drawing/2014/main" id="{B767EBA2-1E3E-CBD7-C097-7CB7D64AF9F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474" name="Grafik 36">
              <a:extLst>
                <a:ext uri="{FF2B5EF4-FFF2-40B4-BE49-F238E27FC236}">
                  <a16:creationId xmlns:a16="http://schemas.microsoft.com/office/drawing/2014/main" id="{49DDFE5F-D427-8C95-94E7-6659D98B7C8B}"/>
                </a:ext>
              </a:extLst>
            </p:cNvPr>
            <p:cNvGrpSpPr/>
            <p:nvPr/>
          </p:nvGrpSpPr>
          <p:grpSpPr bwMode="gray">
            <a:xfrm>
              <a:off x="5991724" y="3321486"/>
              <a:ext cx="76080" cy="76080"/>
              <a:chOff x="5991724" y="3321486"/>
              <a:chExt cx="76080" cy="76080"/>
            </a:xfrm>
            <a:grpFill/>
          </p:grpSpPr>
          <p:sp>
            <p:nvSpPr>
              <p:cNvPr id="484" name="Grafik 36">
                <a:extLst>
                  <a:ext uri="{FF2B5EF4-FFF2-40B4-BE49-F238E27FC236}">
                    <a16:creationId xmlns:a16="http://schemas.microsoft.com/office/drawing/2014/main" id="{EB7CF7CA-1523-0A06-2620-6CDB7ED01F08}"/>
                  </a:ext>
                </a:extLst>
              </p:cNvPr>
              <p:cNvSpPr/>
              <p:nvPr/>
            </p:nvSpPr>
            <p:spPr bwMode="gray">
              <a:xfrm>
                <a:off x="599172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85" name="Grafik 36">
                <a:extLst>
                  <a:ext uri="{FF2B5EF4-FFF2-40B4-BE49-F238E27FC236}">
                    <a16:creationId xmlns:a16="http://schemas.microsoft.com/office/drawing/2014/main" id="{C13FB8E8-E5DE-BDDB-3D75-7CE951ED961E}"/>
                  </a:ext>
                </a:extLst>
              </p:cNvPr>
              <p:cNvSpPr/>
              <p:nvPr/>
            </p:nvSpPr>
            <p:spPr bwMode="gray">
              <a:xfrm>
                <a:off x="6014560" y="3383279"/>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sp>
            <p:nvSpPr>
              <p:cNvPr id="486" name="Grafik 36">
                <a:extLst>
                  <a:ext uri="{FF2B5EF4-FFF2-40B4-BE49-F238E27FC236}">
                    <a16:creationId xmlns:a16="http://schemas.microsoft.com/office/drawing/2014/main" id="{A4C72D02-7D07-E5B1-E030-8B8255C7B40D}"/>
                  </a:ext>
                </a:extLst>
              </p:cNvPr>
              <p:cNvSpPr/>
              <p:nvPr/>
            </p:nvSpPr>
            <p:spPr bwMode="gray">
              <a:xfrm>
                <a:off x="6053518"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8" y="53150"/>
                      <a:pt x="0" y="49911"/>
                      <a:pt x="0" y="46006"/>
                    </a:cubicBezTo>
                    <a:lnTo>
                      <a:pt x="0" y="7144"/>
                    </a:lnTo>
                    <a:cubicBezTo>
                      <a:pt x="0" y="3238"/>
                      <a:pt x="3238"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75" name="Grafik 36">
              <a:extLst>
                <a:ext uri="{FF2B5EF4-FFF2-40B4-BE49-F238E27FC236}">
                  <a16:creationId xmlns:a16="http://schemas.microsoft.com/office/drawing/2014/main" id="{EE1C0CE3-38CB-D8A1-9DF1-C1BB4A3C4B86}"/>
                </a:ext>
              </a:extLst>
            </p:cNvPr>
            <p:cNvGrpSpPr/>
            <p:nvPr/>
          </p:nvGrpSpPr>
          <p:grpSpPr bwMode="gray">
            <a:xfrm>
              <a:off x="5991629" y="3520725"/>
              <a:ext cx="76176" cy="76104"/>
              <a:chOff x="5991629" y="3520725"/>
              <a:chExt cx="76176" cy="76104"/>
            </a:xfrm>
            <a:grpFill/>
          </p:grpSpPr>
          <p:sp>
            <p:nvSpPr>
              <p:cNvPr id="481" name="Grafik 36">
                <a:extLst>
                  <a:ext uri="{FF2B5EF4-FFF2-40B4-BE49-F238E27FC236}">
                    <a16:creationId xmlns:a16="http://schemas.microsoft.com/office/drawing/2014/main" id="{55956364-0112-C5DD-7463-E259F838B812}"/>
                  </a:ext>
                </a:extLst>
              </p:cNvPr>
              <p:cNvSpPr/>
              <p:nvPr/>
            </p:nvSpPr>
            <p:spPr bwMode="gray">
              <a:xfrm>
                <a:off x="5991629"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835" y="75414"/>
                      <a:pt x="9025" y="76081"/>
                      <a:pt x="7120" y="76081"/>
                    </a:cubicBezTo>
                    <a:close/>
                  </a:path>
                </a:pathLst>
              </a:custGeom>
              <a:grpFill/>
              <a:ln w="9525" cap="flat">
                <a:noFill/>
                <a:prstDash val="solid"/>
                <a:miter/>
              </a:ln>
            </p:spPr>
            <p:txBody>
              <a:bodyPr lIns="0" tIns="0" rIns="0" bIns="0" rtlCol="0" anchor="ctr"/>
              <a:lstStyle/>
              <a:p>
                <a:endParaRPr lang="en-US"/>
              </a:p>
            </p:txBody>
          </p:sp>
          <p:sp>
            <p:nvSpPr>
              <p:cNvPr id="482" name="Grafik 36">
                <a:extLst>
                  <a:ext uri="{FF2B5EF4-FFF2-40B4-BE49-F238E27FC236}">
                    <a16:creationId xmlns:a16="http://schemas.microsoft.com/office/drawing/2014/main" id="{C5C507CB-0693-45C8-21C4-F02E1DCF4914}"/>
                  </a:ext>
                </a:extLst>
              </p:cNvPr>
              <p:cNvSpPr/>
              <p:nvPr/>
            </p:nvSpPr>
            <p:spPr bwMode="gray">
              <a:xfrm>
                <a:off x="6053518"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8" y="53149"/>
                      <a:pt x="0" y="49911"/>
                      <a:pt x="0" y="46006"/>
                    </a:cubicBezTo>
                    <a:lnTo>
                      <a:pt x="0" y="7144"/>
                    </a:lnTo>
                    <a:cubicBezTo>
                      <a:pt x="0" y="3239"/>
                      <a:pt x="3238"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lIns="0" tIns="0" rIns="0" bIns="0" rtlCol="0" anchor="ctr"/>
              <a:lstStyle/>
              <a:p>
                <a:endParaRPr lang="en-US"/>
              </a:p>
            </p:txBody>
          </p:sp>
          <p:sp>
            <p:nvSpPr>
              <p:cNvPr id="483" name="Grafik 36">
                <a:extLst>
                  <a:ext uri="{FF2B5EF4-FFF2-40B4-BE49-F238E27FC236}">
                    <a16:creationId xmlns:a16="http://schemas.microsoft.com/office/drawing/2014/main" id="{FFCC3EE4-5F9C-E0C9-7C32-16C80DBA9B12}"/>
                  </a:ext>
                </a:extLst>
              </p:cNvPr>
              <p:cNvSpPr/>
              <p:nvPr/>
            </p:nvSpPr>
            <p:spPr bwMode="gray">
              <a:xfrm>
                <a:off x="6014560" y="3520725"/>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grpSp>
        <p:grpSp>
          <p:nvGrpSpPr>
            <p:cNvPr id="476" name="Grafik 36">
              <a:extLst>
                <a:ext uri="{FF2B5EF4-FFF2-40B4-BE49-F238E27FC236}">
                  <a16:creationId xmlns:a16="http://schemas.microsoft.com/office/drawing/2014/main" id="{267F94F7-62D6-A5E5-90B2-BC10B8C1CA9B}"/>
                </a:ext>
              </a:extLst>
            </p:cNvPr>
            <p:cNvGrpSpPr/>
            <p:nvPr/>
          </p:nvGrpSpPr>
          <p:grpSpPr bwMode="gray">
            <a:xfrm>
              <a:off x="5937598" y="3424451"/>
              <a:ext cx="101798" cy="69318"/>
              <a:chOff x="5937598" y="3424451"/>
              <a:chExt cx="101798" cy="69318"/>
            </a:xfrm>
            <a:grpFill/>
          </p:grpSpPr>
          <p:sp>
            <p:nvSpPr>
              <p:cNvPr id="478" name="Grafik 36">
                <a:extLst>
                  <a:ext uri="{FF2B5EF4-FFF2-40B4-BE49-F238E27FC236}">
                    <a16:creationId xmlns:a16="http://schemas.microsoft.com/office/drawing/2014/main" id="{9A545795-CC31-2E00-AA80-2A186329A3AE}"/>
                  </a:ext>
                </a:extLst>
              </p:cNvPr>
              <p:cNvSpPr/>
              <p:nvPr/>
            </p:nvSpPr>
            <p:spPr bwMode="gray">
              <a:xfrm>
                <a:off x="5937598"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9" y="14288"/>
                      <a:pt x="0" y="11049"/>
                      <a:pt x="0" y="7144"/>
                    </a:cubicBezTo>
                    <a:cubicBezTo>
                      <a:pt x="0" y="3239"/>
                      <a:pt x="3239" y="0"/>
                      <a:pt x="7144" y="0"/>
                    </a:cubicBezTo>
                    <a:lnTo>
                      <a:pt x="94583" y="0"/>
                    </a:lnTo>
                    <a:cubicBezTo>
                      <a:pt x="98488" y="0"/>
                      <a:pt x="101727" y="3239"/>
                      <a:pt x="101727" y="7144"/>
                    </a:cubicBezTo>
                    <a:cubicBezTo>
                      <a:pt x="101727" y="11049"/>
                      <a:pt x="98488" y="14288"/>
                      <a:pt x="94583" y="14288"/>
                    </a:cubicBezTo>
                    <a:close/>
                  </a:path>
                </a:pathLst>
              </a:custGeom>
              <a:grpFill/>
              <a:ln w="9525" cap="flat">
                <a:noFill/>
                <a:prstDash val="solid"/>
                <a:miter/>
              </a:ln>
            </p:spPr>
            <p:txBody>
              <a:bodyPr lIns="0" tIns="0" rIns="0" bIns="0" rtlCol="0" anchor="ctr"/>
              <a:lstStyle/>
              <a:p>
                <a:endParaRPr lang="en-US"/>
              </a:p>
            </p:txBody>
          </p:sp>
          <p:sp>
            <p:nvSpPr>
              <p:cNvPr id="479" name="Grafik 36">
                <a:extLst>
                  <a:ext uri="{FF2B5EF4-FFF2-40B4-BE49-F238E27FC236}">
                    <a16:creationId xmlns:a16="http://schemas.microsoft.com/office/drawing/2014/main" id="{80252159-9782-8516-CCC7-AE29F23EC57D}"/>
                  </a:ext>
                </a:extLst>
              </p:cNvPr>
              <p:cNvSpPr/>
              <p:nvPr/>
            </p:nvSpPr>
            <p:spPr bwMode="gray">
              <a:xfrm>
                <a:off x="5997630"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480" name="Grafik 36">
                <a:extLst>
                  <a:ext uri="{FF2B5EF4-FFF2-40B4-BE49-F238E27FC236}">
                    <a16:creationId xmlns:a16="http://schemas.microsoft.com/office/drawing/2014/main" id="{9BBB9F5B-33FC-6F49-E7B2-8A71F9179091}"/>
                  </a:ext>
                </a:extLst>
              </p:cNvPr>
              <p:cNvSpPr/>
              <p:nvPr/>
            </p:nvSpPr>
            <p:spPr bwMode="gray">
              <a:xfrm>
                <a:off x="599753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sp>
          <p:nvSpPr>
            <p:cNvPr id="477" name="Grafik 36">
              <a:extLst>
                <a:ext uri="{FF2B5EF4-FFF2-40B4-BE49-F238E27FC236}">
                  <a16:creationId xmlns:a16="http://schemas.microsoft.com/office/drawing/2014/main" id="{D1971976-0FD8-3D2D-B501-7FEC04178391}"/>
                </a:ext>
              </a:extLst>
            </p:cNvPr>
            <p:cNvSpPr/>
            <p:nvPr/>
          </p:nvSpPr>
          <p:spPr bwMode="gray">
            <a:xfrm>
              <a:off x="6089760" y="3419617"/>
              <a:ext cx="79105" cy="79009"/>
            </a:xfrm>
            <a:custGeom>
              <a:avLst/>
              <a:gdLst>
                <a:gd name="connsiteX0" fmla="*/ 39576 w 79105"/>
                <a:gd name="connsiteY0" fmla="*/ 79010 h 79009"/>
                <a:gd name="connsiteX1" fmla="*/ 11573 w 79105"/>
                <a:gd name="connsiteY1" fmla="*/ 67485 h 79009"/>
                <a:gd name="connsiteX2" fmla="*/ 11573 w 79105"/>
                <a:gd name="connsiteY2" fmla="*/ 11573 h 79009"/>
                <a:gd name="connsiteX3" fmla="*/ 11573 w 79105"/>
                <a:gd name="connsiteY3" fmla="*/ 11573 h 79009"/>
                <a:gd name="connsiteX4" fmla="*/ 67485 w 79105"/>
                <a:gd name="connsiteY4" fmla="*/ 11573 h 79009"/>
                <a:gd name="connsiteX5" fmla="*/ 79105 w 79105"/>
                <a:gd name="connsiteY5" fmla="*/ 39576 h 79009"/>
                <a:gd name="connsiteX6" fmla="*/ 67485 w 79105"/>
                <a:gd name="connsiteY6" fmla="*/ 67580 h 79009"/>
                <a:gd name="connsiteX7" fmla="*/ 39576 w 79105"/>
                <a:gd name="connsiteY7" fmla="*/ 79010 h 79009"/>
                <a:gd name="connsiteX8" fmla="*/ 21765 w 79105"/>
                <a:gd name="connsiteY8" fmla="*/ 21669 h 79009"/>
                <a:gd name="connsiteX9" fmla="*/ 21765 w 79105"/>
                <a:gd name="connsiteY9" fmla="*/ 57388 h 79009"/>
                <a:gd name="connsiteX10" fmla="*/ 57483 w 79105"/>
                <a:gd name="connsiteY10" fmla="*/ 57388 h 79009"/>
                <a:gd name="connsiteX11" fmla="*/ 64913 w 79105"/>
                <a:gd name="connsiteY11" fmla="*/ 39481 h 79009"/>
                <a:gd name="connsiteX12" fmla="*/ 57483 w 79105"/>
                <a:gd name="connsiteY12" fmla="*/ 21574 h 79009"/>
                <a:gd name="connsiteX13" fmla="*/ 21765 w 79105"/>
                <a:gd name="connsiteY13" fmla="*/ 21669 h 79009"/>
                <a:gd name="connsiteX14" fmla="*/ 21765 w 79105"/>
                <a:gd name="connsiteY14" fmla="*/ 21669 h 7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5" h="79009">
                  <a:moveTo>
                    <a:pt x="39576" y="79010"/>
                  </a:moveTo>
                  <a:cubicBezTo>
                    <a:pt x="29480" y="79010"/>
                    <a:pt x="19288" y="75200"/>
                    <a:pt x="11573" y="67485"/>
                  </a:cubicBezTo>
                  <a:cubicBezTo>
                    <a:pt x="-3858" y="52054"/>
                    <a:pt x="-3858" y="27003"/>
                    <a:pt x="11573" y="11573"/>
                  </a:cubicBezTo>
                  <a:lnTo>
                    <a:pt x="11573" y="11573"/>
                  </a:lnTo>
                  <a:cubicBezTo>
                    <a:pt x="27003" y="-3858"/>
                    <a:pt x="52054" y="-3858"/>
                    <a:pt x="67485" y="11573"/>
                  </a:cubicBezTo>
                  <a:cubicBezTo>
                    <a:pt x="74914" y="19002"/>
                    <a:pt x="79105" y="29004"/>
                    <a:pt x="79105" y="39576"/>
                  </a:cubicBezTo>
                  <a:cubicBezTo>
                    <a:pt x="79105" y="50149"/>
                    <a:pt x="75009" y="60055"/>
                    <a:pt x="67485" y="67580"/>
                  </a:cubicBezTo>
                  <a:cubicBezTo>
                    <a:pt x="59865" y="75200"/>
                    <a:pt x="49673" y="79010"/>
                    <a:pt x="39576" y="79010"/>
                  </a:cubicBezTo>
                  <a:close/>
                  <a:moveTo>
                    <a:pt x="21765" y="21669"/>
                  </a:moveTo>
                  <a:cubicBezTo>
                    <a:pt x="11954" y="31480"/>
                    <a:pt x="11954" y="47577"/>
                    <a:pt x="21765" y="57388"/>
                  </a:cubicBezTo>
                  <a:cubicBezTo>
                    <a:pt x="31671" y="67199"/>
                    <a:pt x="47673" y="67199"/>
                    <a:pt x="57483" y="57388"/>
                  </a:cubicBezTo>
                  <a:cubicBezTo>
                    <a:pt x="62246" y="52626"/>
                    <a:pt x="64913" y="46244"/>
                    <a:pt x="64913" y="39481"/>
                  </a:cubicBezTo>
                  <a:cubicBezTo>
                    <a:pt x="64913" y="32718"/>
                    <a:pt x="62246" y="26432"/>
                    <a:pt x="57483" y="21574"/>
                  </a:cubicBezTo>
                  <a:cubicBezTo>
                    <a:pt x="47577" y="11859"/>
                    <a:pt x="31575" y="11763"/>
                    <a:pt x="21765" y="21669"/>
                  </a:cubicBezTo>
                  <a:lnTo>
                    <a:pt x="21765" y="21669"/>
                  </a:lnTo>
                  <a:close/>
                </a:path>
              </a:pathLst>
            </a:custGeom>
            <a:grpFill/>
            <a:ln w="9525" cap="flat">
              <a:noFill/>
              <a:prstDash val="solid"/>
              <a:miter/>
            </a:ln>
          </p:spPr>
          <p:txBody>
            <a:bodyPr lIns="0" tIns="0" rIns="0" bIns="0" rtlCol="0" anchor="ctr"/>
            <a:lstStyle/>
            <a:p>
              <a:endParaRPr lang="en-US"/>
            </a:p>
          </p:txBody>
        </p:sp>
      </p:grpSp>
      <p:grpSp>
        <p:nvGrpSpPr>
          <p:cNvPr id="487" name="Grafik 224">
            <a:extLst>
              <a:ext uri="{FF2B5EF4-FFF2-40B4-BE49-F238E27FC236}">
                <a16:creationId xmlns:a16="http://schemas.microsoft.com/office/drawing/2014/main" id="{E09E630F-23AB-2E08-F07D-016A49CC0D78}"/>
              </a:ext>
            </a:extLst>
          </p:cNvPr>
          <p:cNvGrpSpPr/>
          <p:nvPr/>
        </p:nvGrpSpPr>
        <p:grpSpPr bwMode="gray">
          <a:xfrm>
            <a:off x="7536202" y="2939492"/>
            <a:ext cx="374400" cy="374400"/>
            <a:chOff x="5843587" y="3176587"/>
            <a:chExt cx="500253" cy="500253"/>
          </a:xfrm>
          <a:solidFill>
            <a:schemeClr val="tx1"/>
          </a:solidFill>
        </p:grpSpPr>
        <p:grpSp>
          <p:nvGrpSpPr>
            <p:cNvPr id="488" name="Grafik 224">
              <a:extLst>
                <a:ext uri="{FF2B5EF4-FFF2-40B4-BE49-F238E27FC236}">
                  <a16:creationId xmlns:a16="http://schemas.microsoft.com/office/drawing/2014/main" id="{9DE56A7A-303C-FB64-3425-4C3F5C5651CA}"/>
                </a:ext>
              </a:extLst>
            </p:cNvPr>
            <p:cNvGrpSpPr/>
            <p:nvPr/>
          </p:nvGrpSpPr>
          <p:grpSpPr bwMode="gray">
            <a:xfrm>
              <a:off x="5843587" y="3176587"/>
              <a:ext cx="500253" cy="500253"/>
              <a:chOff x="5843587" y="3176587"/>
              <a:chExt cx="500253" cy="500253"/>
            </a:xfrm>
            <a:grpFill/>
          </p:grpSpPr>
          <p:grpSp>
            <p:nvGrpSpPr>
              <p:cNvPr id="494" name="Grafik 224">
                <a:extLst>
                  <a:ext uri="{FF2B5EF4-FFF2-40B4-BE49-F238E27FC236}">
                    <a16:creationId xmlns:a16="http://schemas.microsoft.com/office/drawing/2014/main" id="{17DF1946-D8A9-D5EE-2901-FC8E9C9FC84D}"/>
                  </a:ext>
                </a:extLst>
              </p:cNvPr>
              <p:cNvGrpSpPr/>
              <p:nvPr/>
            </p:nvGrpSpPr>
            <p:grpSpPr bwMode="gray">
              <a:xfrm>
                <a:off x="5951066" y="3230286"/>
                <a:ext cx="285352" cy="149849"/>
                <a:chOff x="5951066" y="3230286"/>
                <a:chExt cx="285352" cy="149849"/>
              </a:xfrm>
              <a:grpFill/>
            </p:grpSpPr>
            <p:grpSp>
              <p:nvGrpSpPr>
                <p:cNvPr id="497" name="Grafik 224">
                  <a:extLst>
                    <a:ext uri="{FF2B5EF4-FFF2-40B4-BE49-F238E27FC236}">
                      <a16:creationId xmlns:a16="http://schemas.microsoft.com/office/drawing/2014/main" id="{5E924525-4BE3-CCEC-1B46-111B8005D8EE}"/>
                    </a:ext>
                  </a:extLst>
                </p:cNvPr>
                <p:cNvGrpSpPr/>
                <p:nvPr/>
              </p:nvGrpSpPr>
              <p:grpSpPr bwMode="gray">
                <a:xfrm>
                  <a:off x="6118933" y="3230286"/>
                  <a:ext cx="117485" cy="65934"/>
                  <a:chOff x="6118933" y="3230286"/>
                  <a:chExt cx="117485" cy="65934"/>
                </a:xfrm>
                <a:grpFill/>
              </p:grpSpPr>
              <p:sp>
                <p:nvSpPr>
                  <p:cNvPr id="510" name="Grafik 224">
                    <a:extLst>
                      <a:ext uri="{FF2B5EF4-FFF2-40B4-BE49-F238E27FC236}">
                        <a16:creationId xmlns:a16="http://schemas.microsoft.com/office/drawing/2014/main" id="{C036B4A8-6F9F-B7C7-64CD-7F06FC83787C}"/>
                      </a:ext>
                    </a:extLst>
                  </p:cNvPr>
                  <p:cNvSpPr/>
                  <p:nvPr/>
                </p:nvSpPr>
                <p:spPr bwMode="gray">
                  <a:xfrm>
                    <a:off x="6118933" y="3230286"/>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308" y="65934"/>
                          <a:pt x="7165" y="65934"/>
                        </a:cubicBezTo>
                        <a:close/>
                      </a:path>
                    </a:pathLst>
                  </a:custGeom>
                  <a:grpFill/>
                  <a:ln w="9525" cap="flat">
                    <a:noFill/>
                    <a:prstDash val="solid"/>
                    <a:miter/>
                  </a:ln>
                </p:spPr>
                <p:txBody>
                  <a:bodyPr rtlCol="0" anchor="ctr"/>
                  <a:lstStyle/>
                  <a:p>
                    <a:endParaRPr lang="de-DE"/>
                  </a:p>
                </p:txBody>
              </p:sp>
              <p:sp>
                <p:nvSpPr>
                  <p:cNvPr id="511" name="Grafik 224">
                    <a:extLst>
                      <a:ext uri="{FF2B5EF4-FFF2-40B4-BE49-F238E27FC236}">
                        <a16:creationId xmlns:a16="http://schemas.microsoft.com/office/drawing/2014/main" id="{C760FF5F-64D0-DC49-8D71-A38F1F6FB440}"/>
                      </a:ext>
                    </a:extLst>
                  </p:cNvPr>
                  <p:cNvSpPr/>
                  <p:nvPr/>
                </p:nvSpPr>
                <p:spPr bwMode="gray">
                  <a:xfrm>
                    <a:off x="6157245" y="323040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7" y="3238"/>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12" name="Grafik 224">
                    <a:extLst>
                      <a:ext uri="{FF2B5EF4-FFF2-40B4-BE49-F238E27FC236}">
                        <a16:creationId xmlns:a16="http://schemas.microsoft.com/office/drawing/2014/main" id="{333E3963-2A23-0B06-3DC1-526E2654F2B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98" name="Grafik 224">
                  <a:extLst>
                    <a:ext uri="{FF2B5EF4-FFF2-40B4-BE49-F238E27FC236}">
                      <a16:creationId xmlns:a16="http://schemas.microsoft.com/office/drawing/2014/main" id="{5441840B-524F-498A-DD75-C7FD55965065}"/>
                    </a:ext>
                  </a:extLst>
                </p:cNvPr>
                <p:cNvGrpSpPr/>
                <p:nvPr/>
              </p:nvGrpSpPr>
              <p:grpSpPr bwMode="gray">
                <a:xfrm>
                  <a:off x="5951103" y="3314244"/>
                  <a:ext cx="117485" cy="65892"/>
                  <a:chOff x="5951103" y="3314244"/>
                  <a:chExt cx="117485" cy="65892"/>
                </a:xfrm>
                <a:grpFill/>
              </p:grpSpPr>
              <p:sp>
                <p:nvSpPr>
                  <p:cNvPr id="507" name="Grafik 224">
                    <a:extLst>
                      <a:ext uri="{FF2B5EF4-FFF2-40B4-BE49-F238E27FC236}">
                        <a16:creationId xmlns:a16="http://schemas.microsoft.com/office/drawing/2014/main" id="{5A8B7DDD-F5C0-F3BB-664D-B8716AA88F7F}"/>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498"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08" name="Grafik 224">
                    <a:extLst>
                      <a:ext uri="{FF2B5EF4-FFF2-40B4-BE49-F238E27FC236}">
                        <a16:creationId xmlns:a16="http://schemas.microsoft.com/office/drawing/2014/main" id="{66D12E3E-2949-844A-D07F-D30AD21A2F1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09" name="Grafik 224">
                    <a:extLst>
                      <a:ext uri="{FF2B5EF4-FFF2-40B4-BE49-F238E27FC236}">
                        <a16:creationId xmlns:a16="http://schemas.microsoft.com/office/drawing/2014/main" id="{B027D20B-7A7D-DEDA-DE84-310B348D7EA1}"/>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99" name="Grafik 224">
                  <a:extLst>
                    <a:ext uri="{FF2B5EF4-FFF2-40B4-BE49-F238E27FC236}">
                      <a16:creationId xmlns:a16="http://schemas.microsoft.com/office/drawing/2014/main" id="{0643DB60-943F-0084-7118-FDAA76F35FF7}"/>
                    </a:ext>
                  </a:extLst>
                </p:cNvPr>
                <p:cNvGrpSpPr/>
                <p:nvPr/>
              </p:nvGrpSpPr>
              <p:grpSpPr bwMode="gray">
                <a:xfrm>
                  <a:off x="6118954" y="3314261"/>
                  <a:ext cx="117405" cy="65875"/>
                  <a:chOff x="6118954" y="3314261"/>
                  <a:chExt cx="117405" cy="65875"/>
                </a:xfrm>
                <a:grpFill/>
              </p:grpSpPr>
              <p:sp>
                <p:nvSpPr>
                  <p:cNvPr id="504" name="Grafik 224">
                    <a:extLst>
                      <a:ext uri="{FF2B5EF4-FFF2-40B4-BE49-F238E27FC236}">
                        <a16:creationId xmlns:a16="http://schemas.microsoft.com/office/drawing/2014/main" id="{6979E937-7222-8955-E3A5-DAC79A03CE1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05" name="Grafik 224">
                    <a:extLst>
                      <a:ext uri="{FF2B5EF4-FFF2-40B4-BE49-F238E27FC236}">
                        <a16:creationId xmlns:a16="http://schemas.microsoft.com/office/drawing/2014/main" id="{7D399B43-F735-AC0A-B4D9-E2ED195610F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06" name="Grafik 224">
                    <a:extLst>
                      <a:ext uri="{FF2B5EF4-FFF2-40B4-BE49-F238E27FC236}">
                        <a16:creationId xmlns:a16="http://schemas.microsoft.com/office/drawing/2014/main" id="{ECBC11B4-E801-636C-C785-683BF5E33D9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500" name="Grafik 224">
                  <a:extLst>
                    <a:ext uri="{FF2B5EF4-FFF2-40B4-BE49-F238E27FC236}">
                      <a16:creationId xmlns:a16="http://schemas.microsoft.com/office/drawing/2014/main" id="{DFE9D7EE-AABD-493C-8BBE-AB042146F1FF}"/>
                    </a:ext>
                  </a:extLst>
                </p:cNvPr>
                <p:cNvGrpSpPr/>
                <p:nvPr/>
              </p:nvGrpSpPr>
              <p:grpSpPr bwMode="gray">
                <a:xfrm>
                  <a:off x="5951066" y="3230345"/>
                  <a:ext cx="117405" cy="65875"/>
                  <a:chOff x="5951066" y="3230345"/>
                  <a:chExt cx="117405" cy="65875"/>
                </a:xfrm>
                <a:grpFill/>
              </p:grpSpPr>
              <p:sp>
                <p:nvSpPr>
                  <p:cNvPr id="501" name="Grafik 224">
                    <a:extLst>
                      <a:ext uri="{FF2B5EF4-FFF2-40B4-BE49-F238E27FC236}">
                        <a16:creationId xmlns:a16="http://schemas.microsoft.com/office/drawing/2014/main" id="{6E256884-4A0D-A7DC-BD72-E88B4508DF88}"/>
                      </a:ext>
                    </a:extLst>
                  </p:cNvPr>
                  <p:cNvSpPr/>
                  <p:nvPr/>
                </p:nvSpPr>
                <p:spPr bwMode="gray">
                  <a:xfrm>
                    <a:off x="5951066" y="3230345"/>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875"/>
                          <a:pt x="110262" y="65875"/>
                        </a:cubicBezTo>
                        <a:close/>
                      </a:path>
                    </a:pathLst>
                  </a:custGeom>
                  <a:grpFill/>
                  <a:ln w="9525" cap="flat">
                    <a:noFill/>
                    <a:prstDash val="solid"/>
                    <a:miter/>
                  </a:ln>
                </p:spPr>
                <p:txBody>
                  <a:bodyPr rtlCol="0" anchor="ctr"/>
                  <a:lstStyle/>
                  <a:p>
                    <a:endParaRPr lang="de-DE"/>
                  </a:p>
                </p:txBody>
              </p:sp>
              <p:sp>
                <p:nvSpPr>
                  <p:cNvPr id="502" name="Grafik 224">
                    <a:extLst>
                      <a:ext uri="{FF2B5EF4-FFF2-40B4-BE49-F238E27FC236}">
                        <a16:creationId xmlns:a16="http://schemas.microsoft.com/office/drawing/2014/main" id="{A84B6B99-75FC-F03D-E466-793AC67E82FD}"/>
                      </a:ext>
                    </a:extLst>
                  </p:cNvPr>
                  <p:cNvSpPr/>
                  <p:nvPr/>
                </p:nvSpPr>
                <p:spPr bwMode="gray">
                  <a:xfrm>
                    <a:off x="6054184" y="3249453"/>
                    <a:ext cx="14287" cy="46767"/>
                  </a:xfrm>
                  <a:custGeom>
                    <a:avLst/>
                    <a:gdLst>
                      <a:gd name="connsiteX0" fmla="*/ 7144 w 14287"/>
                      <a:gd name="connsiteY0" fmla="*/ 46768 h 46767"/>
                      <a:gd name="connsiteX1" fmla="*/ 0 w 14287"/>
                      <a:gd name="connsiteY1" fmla="*/ 39624 h 46767"/>
                      <a:gd name="connsiteX2" fmla="*/ 0 w 14287"/>
                      <a:gd name="connsiteY2" fmla="*/ 7144 h 46767"/>
                      <a:gd name="connsiteX3" fmla="*/ 7144 w 14287"/>
                      <a:gd name="connsiteY3" fmla="*/ 0 h 46767"/>
                      <a:gd name="connsiteX4" fmla="*/ 14288 w 14287"/>
                      <a:gd name="connsiteY4" fmla="*/ 7144 h 46767"/>
                      <a:gd name="connsiteX5" fmla="*/ 14288 w 14287"/>
                      <a:gd name="connsiteY5" fmla="*/ 39529 h 46767"/>
                      <a:gd name="connsiteX6" fmla="*/ 7144 w 14287"/>
                      <a:gd name="connsiteY6" fmla="*/ 4676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767">
                        <a:moveTo>
                          <a:pt x="7144" y="46768"/>
                        </a:moveTo>
                        <a:cubicBezTo>
                          <a:pt x="3239" y="46768"/>
                          <a:pt x="0" y="43529"/>
                          <a:pt x="0" y="39624"/>
                        </a:cubicBezTo>
                        <a:lnTo>
                          <a:pt x="0" y="7144"/>
                        </a:lnTo>
                        <a:cubicBezTo>
                          <a:pt x="0" y="3238"/>
                          <a:pt x="3239" y="0"/>
                          <a:pt x="7144" y="0"/>
                        </a:cubicBezTo>
                        <a:cubicBezTo>
                          <a:pt x="11049" y="0"/>
                          <a:pt x="14288" y="3238"/>
                          <a:pt x="14288" y="7144"/>
                        </a:cubicBezTo>
                        <a:lnTo>
                          <a:pt x="14288" y="39529"/>
                        </a:lnTo>
                        <a:cubicBezTo>
                          <a:pt x="14288" y="43529"/>
                          <a:pt x="11049" y="46768"/>
                          <a:pt x="7144" y="46768"/>
                        </a:cubicBezTo>
                        <a:close/>
                      </a:path>
                    </a:pathLst>
                  </a:custGeom>
                  <a:grpFill/>
                  <a:ln w="9525" cap="flat">
                    <a:noFill/>
                    <a:prstDash val="solid"/>
                    <a:miter/>
                  </a:ln>
                </p:spPr>
                <p:txBody>
                  <a:bodyPr rtlCol="0" anchor="ctr"/>
                  <a:lstStyle/>
                  <a:p>
                    <a:endParaRPr lang="de-DE"/>
                  </a:p>
                </p:txBody>
              </p:sp>
              <p:sp>
                <p:nvSpPr>
                  <p:cNvPr id="503" name="Grafik 224">
                    <a:extLst>
                      <a:ext uri="{FF2B5EF4-FFF2-40B4-BE49-F238E27FC236}">
                        <a16:creationId xmlns:a16="http://schemas.microsoft.com/office/drawing/2014/main" id="{79BA467A-C622-CDF8-2AEF-5755B0024D08}"/>
                      </a:ext>
                    </a:extLst>
                  </p:cNvPr>
                  <p:cNvSpPr/>
                  <p:nvPr/>
                </p:nvSpPr>
                <p:spPr bwMode="gray">
                  <a:xfrm>
                    <a:off x="5989414" y="328193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8"/>
                          <a:pt x="3238" y="0"/>
                          <a:pt x="7144" y="0"/>
                        </a:cubicBezTo>
                        <a:lnTo>
                          <a:pt x="71914" y="0"/>
                        </a:lnTo>
                        <a:cubicBezTo>
                          <a:pt x="75819" y="0"/>
                          <a:pt x="79058" y="3238"/>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495" name="Grafik 224">
                <a:extLst>
                  <a:ext uri="{FF2B5EF4-FFF2-40B4-BE49-F238E27FC236}">
                    <a16:creationId xmlns:a16="http://schemas.microsoft.com/office/drawing/2014/main" id="{DBA5B430-D14F-6E92-731D-65BBC0E2620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496" name="Grafik 224">
                <a:extLst>
                  <a:ext uri="{FF2B5EF4-FFF2-40B4-BE49-F238E27FC236}">
                    <a16:creationId xmlns:a16="http://schemas.microsoft.com/office/drawing/2014/main" id="{47659952-C5EF-6E06-FC32-6AD7C850A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489" name="Grafik 224">
              <a:extLst>
                <a:ext uri="{FF2B5EF4-FFF2-40B4-BE49-F238E27FC236}">
                  <a16:creationId xmlns:a16="http://schemas.microsoft.com/office/drawing/2014/main" id="{FF5DCABF-B676-46A4-6E61-D4904D108714}"/>
                </a:ext>
              </a:extLst>
            </p:cNvPr>
            <p:cNvGrpSpPr/>
            <p:nvPr/>
          </p:nvGrpSpPr>
          <p:grpSpPr bwMode="gray">
            <a:xfrm>
              <a:off x="5965400" y="3460051"/>
              <a:ext cx="256480" cy="176307"/>
              <a:chOff x="5965400" y="3460051"/>
              <a:chExt cx="256480" cy="176307"/>
            </a:xfrm>
            <a:grpFill/>
          </p:grpSpPr>
          <p:sp>
            <p:nvSpPr>
              <p:cNvPr id="490" name="Grafik 224">
                <a:extLst>
                  <a:ext uri="{FF2B5EF4-FFF2-40B4-BE49-F238E27FC236}">
                    <a16:creationId xmlns:a16="http://schemas.microsoft.com/office/drawing/2014/main" id="{65B1DFAF-8C71-A778-6EA1-E3623F949457}"/>
                  </a:ext>
                </a:extLst>
              </p:cNvPr>
              <p:cNvSpPr/>
              <p:nvPr/>
            </p:nvSpPr>
            <p:spPr bwMode="gray">
              <a:xfrm>
                <a:off x="5965400" y="3492626"/>
                <a:ext cx="143838" cy="143732"/>
              </a:xfrm>
              <a:custGeom>
                <a:avLst/>
                <a:gdLst>
                  <a:gd name="connsiteX0" fmla="*/ 114692 w 143838"/>
                  <a:gd name="connsiteY0" fmla="*/ 143732 h 143732"/>
                  <a:gd name="connsiteX1" fmla="*/ 108691 w 143838"/>
                  <a:gd name="connsiteY1" fmla="*/ 142685 h 143732"/>
                  <a:gd name="connsiteX2" fmla="*/ 964 w 143838"/>
                  <a:gd name="connsiteY2" fmla="*/ 34957 h 143732"/>
                  <a:gd name="connsiteX3" fmla="*/ 5059 w 143838"/>
                  <a:gd name="connsiteY3" fmla="*/ 16764 h 143732"/>
                  <a:gd name="connsiteX4" fmla="*/ 17537 w 143838"/>
                  <a:gd name="connsiteY4" fmla="*/ 4286 h 143732"/>
                  <a:gd name="connsiteX5" fmla="*/ 27919 w 143838"/>
                  <a:gd name="connsiteY5" fmla="*/ 0 h 143732"/>
                  <a:gd name="connsiteX6" fmla="*/ 27919 w 143838"/>
                  <a:gd name="connsiteY6" fmla="*/ 0 h 143732"/>
                  <a:gd name="connsiteX7" fmla="*/ 38302 w 143838"/>
                  <a:gd name="connsiteY7" fmla="*/ 4286 h 143732"/>
                  <a:gd name="connsiteX8" fmla="*/ 59542 w 143838"/>
                  <a:gd name="connsiteY8" fmla="*/ 25527 h 143732"/>
                  <a:gd name="connsiteX9" fmla="*/ 59542 w 143838"/>
                  <a:gd name="connsiteY9" fmla="*/ 46292 h 143732"/>
                  <a:gd name="connsiteX10" fmla="*/ 48874 w 143838"/>
                  <a:gd name="connsiteY10" fmla="*/ 56959 h 143732"/>
                  <a:gd name="connsiteX11" fmla="*/ 48684 w 143838"/>
                  <a:gd name="connsiteY11" fmla="*/ 58102 h 143732"/>
                  <a:gd name="connsiteX12" fmla="*/ 85641 w 143838"/>
                  <a:gd name="connsiteY12" fmla="*/ 95059 h 143732"/>
                  <a:gd name="connsiteX13" fmla="*/ 86879 w 143838"/>
                  <a:gd name="connsiteY13" fmla="*/ 94869 h 143732"/>
                  <a:gd name="connsiteX14" fmla="*/ 97547 w 143838"/>
                  <a:gd name="connsiteY14" fmla="*/ 84011 h 143732"/>
                  <a:gd name="connsiteX15" fmla="*/ 107929 w 143838"/>
                  <a:gd name="connsiteY15" fmla="*/ 79724 h 143732"/>
                  <a:gd name="connsiteX16" fmla="*/ 107929 w 143838"/>
                  <a:gd name="connsiteY16" fmla="*/ 79724 h 143732"/>
                  <a:gd name="connsiteX17" fmla="*/ 118312 w 143838"/>
                  <a:gd name="connsiteY17" fmla="*/ 84011 h 143732"/>
                  <a:gd name="connsiteX18" fmla="*/ 139457 w 143838"/>
                  <a:gd name="connsiteY18" fmla="*/ 105156 h 143732"/>
                  <a:gd name="connsiteX19" fmla="*/ 143839 w 143838"/>
                  <a:gd name="connsiteY19" fmla="*/ 115729 h 143732"/>
                  <a:gd name="connsiteX20" fmla="*/ 139362 w 143838"/>
                  <a:gd name="connsiteY20" fmla="*/ 126016 h 143732"/>
                  <a:gd name="connsiteX21" fmla="*/ 126789 w 143838"/>
                  <a:gd name="connsiteY21" fmla="*/ 138494 h 143732"/>
                  <a:gd name="connsiteX22" fmla="*/ 114692 w 143838"/>
                  <a:gd name="connsiteY22" fmla="*/ 143732 h 143732"/>
                  <a:gd name="connsiteX23" fmla="*/ 28300 w 143838"/>
                  <a:gd name="connsiteY23" fmla="*/ 14288 h 143732"/>
                  <a:gd name="connsiteX24" fmla="*/ 15156 w 143838"/>
                  <a:gd name="connsiteY24" fmla="*/ 26860 h 143732"/>
                  <a:gd name="connsiteX25" fmla="*/ 14394 w 143838"/>
                  <a:gd name="connsiteY25" fmla="*/ 30099 h 143732"/>
                  <a:gd name="connsiteX26" fmla="*/ 113549 w 143838"/>
                  <a:gd name="connsiteY26" fmla="*/ 129254 h 143732"/>
                  <a:gd name="connsiteX27" fmla="*/ 116597 w 143838"/>
                  <a:gd name="connsiteY27" fmla="*/ 128588 h 143732"/>
                  <a:gd name="connsiteX28" fmla="*/ 129361 w 143838"/>
                  <a:gd name="connsiteY28" fmla="*/ 115919 h 143732"/>
                  <a:gd name="connsiteX29" fmla="*/ 129361 w 143838"/>
                  <a:gd name="connsiteY29" fmla="*/ 115348 h 143732"/>
                  <a:gd name="connsiteX30" fmla="*/ 108120 w 143838"/>
                  <a:gd name="connsiteY30" fmla="*/ 94107 h 143732"/>
                  <a:gd name="connsiteX31" fmla="*/ 96880 w 143838"/>
                  <a:gd name="connsiteY31" fmla="*/ 104775 h 143732"/>
                  <a:gd name="connsiteX32" fmla="*/ 78021 w 143838"/>
                  <a:gd name="connsiteY32" fmla="*/ 106966 h 143732"/>
                  <a:gd name="connsiteX33" fmla="*/ 36492 w 143838"/>
                  <a:gd name="connsiteY33" fmla="*/ 65437 h 143732"/>
                  <a:gd name="connsiteX34" fmla="*/ 38683 w 143838"/>
                  <a:gd name="connsiteY34" fmla="*/ 46673 h 143732"/>
                  <a:gd name="connsiteX35" fmla="*/ 49351 w 143838"/>
                  <a:gd name="connsiteY35" fmla="*/ 36004 h 143732"/>
                  <a:gd name="connsiteX36" fmla="*/ 28300 w 143838"/>
                  <a:gd name="connsiteY36" fmla="*/ 14288 h 14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3838" h="143732">
                    <a:moveTo>
                      <a:pt x="114692" y="143732"/>
                    </a:moveTo>
                    <a:cubicBezTo>
                      <a:pt x="112692" y="143732"/>
                      <a:pt x="110692" y="143351"/>
                      <a:pt x="108691" y="142685"/>
                    </a:cubicBezTo>
                    <a:cubicBezTo>
                      <a:pt x="58685" y="124301"/>
                      <a:pt x="19347" y="85058"/>
                      <a:pt x="964" y="34957"/>
                    </a:cubicBezTo>
                    <a:cubicBezTo>
                      <a:pt x="-1227" y="28575"/>
                      <a:pt x="392" y="21431"/>
                      <a:pt x="5059" y="16764"/>
                    </a:cubicBezTo>
                    <a:lnTo>
                      <a:pt x="17537" y="4286"/>
                    </a:lnTo>
                    <a:cubicBezTo>
                      <a:pt x="20299" y="1524"/>
                      <a:pt x="23919" y="0"/>
                      <a:pt x="27919" y="0"/>
                    </a:cubicBezTo>
                    <a:cubicBezTo>
                      <a:pt x="27919" y="0"/>
                      <a:pt x="27919" y="0"/>
                      <a:pt x="27919" y="0"/>
                    </a:cubicBezTo>
                    <a:cubicBezTo>
                      <a:pt x="31825" y="0"/>
                      <a:pt x="35539" y="1524"/>
                      <a:pt x="38302" y="4286"/>
                    </a:cubicBezTo>
                    <a:lnTo>
                      <a:pt x="59542" y="25527"/>
                    </a:lnTo>
                    <a:cubicBezTo>
                      <a:pt x="65257" y="31242"/>
                      <a:pt x="65257" y="40576"/>
                      <a:pt x="59542" y="46292"/>
                    </a:cubicBezTo>
                    <a:lnTo>
                      <a:pt x="48874" y="56959"/>
                    </a:lnTo>
                    <a:cubicBezTo>
                      <a:pt x="48493" y="57341"/>
                      <a:pt x="48493" y="57817"/>
                      <a:pt x="48684" y="58102"/>
                    </a:cubicBezTo>
                    <a:cubicBezTo>
                      <a:pt x="57828" y="72771"/>
                      <a:pt x="70591" y="85534"/>
                      <a:pt x="85641" y="95059"/>
                    </a:cubicBezTo>
                    <a:cubicBezTo>
                      <a:pt x="85927" y="95250"/>
                      <a:pt x="86498" y="95250"/>
                      <a:pt x="86879" y="94869"/>
                    </a:cubicBezTo>
                    <a:lnTo>
                      <a:pt x="97547" y="84011"/>
                    </a:lnTo>
                    <a:cubicBezTo>
                      <a:pt x="100309" y="81248"/>
                      <a:pt x="104024" y="79724"/>
                      <a:pt x="107929" y="79724"/>
                    </a:cubicBezTo>
                    <a:cubicBezTo>
                      <a:pt x="107929" y="79724"/>
                      <a:pt x="107929" y="79724"/>
                      <a:pt x="107929" y="79724"/>
                    </a:cubicBezTo>
                    <a:cubicBezTo>
                      <a:pt x="111835" y="79724"/>
                      <a:pt x="115549" y="81248"/>
                      <a:pt x="118312" y="84011"/>
                    </a:cubicBezTo>
                    <a:lnTo>
                      <a:pt x="139457" y="105156"/>
                    </a:lnTo>
                    <a:cubicBezTo>
                      <a:pt x="142315" y="108014"/>
                      <a:pt x="143839" y="111728"/>
                      <a:pt x="143839" y="115729"/>
                    </a:cubicBezTo>
                    <a:cubicBezTo>
                      <a:pt x="143839" y="119634"/>
                      <a:pt x="142219" y="123349"/>
                      <a:pt x="139362" y="126016"/>
                    </a:cubicBezTo>
                    <a:lnTo>
                      <a:pt x="126789" y="138494"/>
                    </a:lnTo>
                    <a:cubicBezTo>
                      <a:pt x="123741" y="141923"/>
                      <a:pt x="119264" y="143732"/>
                      <a:pt x="114692" y="143732"/>
                    </a:cubicBezTo>
                    <a:close/>
                    <a:moveTo>
                      <a:pt x="28300" y="14288"/>
                    </a:moveTo>
                    <a:lnTo>
                      <a:pt x="15156" y="26860"/>
                    </a:lnTo>
                    <a:cubicBezTo>
                      <a:pt x="14299" y="27718"/>
                      <a:pt x="14013" y="29051"/>
                      <a:pt x="14394" y="30099"/>
                    </a:cubicBezTo>
                    <a:cubicBezTo>
                      <a:pt x="31253" y="76105"/>
                      <a:pt x="67448" y="112300"/>
                      <a:pt x="113549" y="129254"/>
                    </a:cubicBezTo>
                    <a:cubicBezTo>
                      <a:pt x="114597" y="129635"/>
                      <a:pt x="115835" y="129349"/>
                      <a:pt x="116597" y="128588"/>
                    </a:cubicBezTo>
                    <a:lnTo>
                      <a:pt x="129361" y="115919"/>
                    </a:lnTo>
                    <a:cubicBezTo>
                      <a:pt x="129361" y="115919"/>
                      <a:pt x="129361" y="115348"/>
                      <a:pt x="129361" y="115348"/>
                    </a:cubicBezTo>
                    <a:lnTo>
                      <a:pt x="108120" y="94107"/>
                    </a:lnTo>
                    <a:lnTo>
                      <a:pt x="96880" y="104775"/>
                    </a:lnTo>
                    <a:cubicBezTo>
                      <a:pt x="91832" y="109823"/>
                      <a:pt x="84117" y="110680"/>
                      <a:pt x="78021" y="106966"/>
                    </a:cubicBezTo>
                    <a:cubicBezTo>
                      <a:pt x="61066" y="96202"/>
                      <a:pt x="46779" y="81915"/>
                      <a:pt x="36492" y="65437"/>
                    </a:cubicBezTo>
                    <a:cubicBezTo>
                      <a:pt x="32777" y="59531"/>
                      <a:pt x="33634" y="51625"/>
                      <a:pt x="38683" y="46673"/>
                    </a:cubicBezTo>
                    <a:lnTo>
                      <a:pt x="49351" y="36004"/>
                    </a:lnTo>
                    <a:lnTo>
                      <a:pt x="28300" y="14288"/>
                    </a:lnTo>
                    <a:close/>
                  </a:path>
                </a:pathLst>
              </a:custGeom>
              <a:grpFill/>
              <a:ln w="9525" cap="flat">
                <a:noFill/>
                <a:prstDash val="solid"/>
                <a:miter/>
              </a:ln>
            </p:spPr>
            <p:txBody>
              <a:bodyPr rtlCol="0" anchor="ctr"/>
              <a:lstStyle/>
              <a:p>
                <a:endParaRPr lang="de-DE"/>
              </a:p>
            </p:txBody>
          </p:sp>
          <p:grpSp>
            <p:nvGrpSpPr>
              <p:cNvPr id="491" name="Grafik 224">
                <a:extLst>
                  <a:ext uri="{FF2B5EF4-FFF2-40B4-BE49-F238E27FC236}">
                    <a16:creationId xmlns:a16="http://schemas.microsoft.com/office/drawing/2014/main" id="{4B7B2387-64D6-B7FA-76D8-10B610818C17}"/>
                  </a:ext>
                </a:extLst>
              </p:cNvPr>
              <p:cNvGrpSpPr/>
              <p:nvPr/>
            </p:nvGrpSpPr>
            <p:grpSpPr bwMode="gray">
              <a:xfrm>
                <a:off x="6109587" y="3460051"/>
                <a:ext cx="112293" cy="111442"/>
                <a:chOff x="6109587" y="3460051"/>
                <a:chExt cx="112293" cy="111442"/>
              </a:xfrm>
              <a:grpFill/>
            </p:grpSpPr>
            <p:sp>
              <p:nvSpPr>
                <p:cNvPr id="492" name="Grafik 224">
                  <a:extLst>
                    <a:ext uri="{FF2B5EF4-FFF2-40B4-BE49-F238E27FC236}">
                      <a16:creationId xmlns:a16="http://schemas.microsoft.com/office/drawing/2014/main" id="{A595F6FE-EE82-8E9D-AFB3-7AF6B5845AEC}"/>
                    </a:ext>
                  </a:extLst>
                </p:cNvPr>
                <p:cNvSpPr/>
                <p:nvPr/>
              </p:nvSpPr>
              <p:spPr bwMode="gray">
                <a:xfrm>
                  <a:off x="6136183" y="3486530"/>
                  <a:ext cx="54502" cy="58483"/>
                </a:xfrm>
                <a:custGeom>
                  <a:avLst/>
                  <a:gdLst>
                    <a:gd name="connsiteX0" fmla="*/ 24872 w 54502"/>
                    <a:gd name="connsiteY0" fmla="*/ 58483 h 58483"/>
                    <a:gd name="connsiteX1" fmla="*/ 7060 w 54502"/>
                    <a:gd name="connsiteY1" fmla="*/ 50673 h 58483"/>
                    <a:gd name="connsiteX2" fmla="*/ 107 w 54502"/>
                    <a:gd name="connsiteY2" fmla="*/ 28575 h 58483"/>
                    <a:gd name="connsiteX3" fmla="*/ 28777 w 54502"/>
                    <a:gd name="connsiteY3" fmla="*/ 0 h 58483"/>
                    <a:gd name="connsiteX4" fmla="*/ 47351 w 54502"/>
                    <a:gd name="connsiteY4" fmla="*/ 8192 h 58483"/>
                    <a:gd name="connsiteX5" fmla="*/ 54399 w 54502"/>
                    <a:gd name="connsiteY5" fmla="*/ 29908 h 58483"/>
                    <a:gd name="connsiteX6" fmla="*/ 54399 w 54502"/>
                    <a:gd name="connsiteY6" fmla="*/ 29908 h 58483"/>
                    <a:gd name="connsiteX7" fmla="*/ 24872 w 54502"/>
                    <a:gd name="connsiteY7" fmla="*/ 58483 h 58483"/>
                    <a:gd name="connsiteX8" fmla="*/ 28777 w 54502"/>
                    <a:gd name="connsiteY8" fmla="*/ 14288 h 58483"/>
                    <a:gd name="connsiteX9" fmla="*/ 14394 w 54502"/>
                    <a:gd name="connsiteY9" fmla="*/ 29908 h 58483"/>
                    <a:gd name="connsiteX10" fmla="*/ 17633 w 54502"/>
                    <a:gd name="connsiteY10" fmla="*/ 41053 h 58483"/>
                    <a:gd name="connsiteX11" fmla="*/ 24967 w 54502"/>
                    <a:gd name="connsiteY11" fmla="*/ 44196 h 58483"/>
                    <a:gd name="connsiteX12" fmla="*/ 40207 w 54502"/>
                    <a:gd name="connsiteY12" fmla="*/ 28575 h 58483"/>
                    <a:gd name="connsiteX13" fmla="*/ 36873 w 54502"/>
                    <a:gd name="connsiteY13" fmla="*/ 17812 h 58483"/>
                    <a:gd name="connsiteX14" fmla="*/ 28777 w 54502"/>
                    <a:gd name="connsiteY14" fmla="*/ 14288 h 58483"/>
                    <a:gd name="connsiteX15" fmla="*/ 47255 w 54502"/>
                    <a:gd name="connsiteY15" fmla="*/ 29242 h 58483"/>
                    <a:gd name="connsiteX16" fmla="*/ 47255 w 54502"/>
                    <a:gd name="connsiteY16" fmla="*/ 29242 h 58483"/>
                    <a:gd name="connsiteX17" fmla="*/ 47255 w 54502"/>
                    <a:gd name="connsiteY17" fmla="*/ 29242 h 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502" h="58483">
                      <a:moveTo>
                        <a:pt x="24872" y="58483"/>
                      </a:moveTo>
                      <a:cubicBezTo>
                        <a:pt x="17918" y="58483"/>
                        <a:pt x="11632" y="55721"/>
                        <a:pt x="7060" y="50673"/>
                      </a:cubicBezTo>
                      <a:cubicBezTo>
                        <a:pt x="1916" y="45053"/>
                        <a:pt x="-560" y="37052"/>
                        <a:pt x="107" y="28575"/>
                      </a:cubicBezTo>
                      <a:cubicBezTo>
                        <a:pt x="1535" y="12573"/>
                        <a:pt x="14108" y="0"/>
                        <a:pt x="28777" y="0"/>
                      </a:cubicBezTo>
                      <a:cubicBezTo>
                        <a:pt x="35921" y="0"/>
                        <a:pt x="42493" y="2857"/>
                        <a:pt x="47351" y="8192"/>
                      </a:cubicBezTo>
                      <a:cubicBezTo>
                        <a:pt x="52494" y="13811"/>
                        <a:pt x="55066" y="21717"/>
                        <a:pt x="54399" y="29908"/>
                      </a:cubicBezTo>
                      <a:lnTo>
                        <a:pt x="54399" y="29908"/>
                      </a:lnTo>
                      <a:cubicBezTo>
                        <a:pt x="52875" y="46768"/>
                        <a:pt x="40778" y="58483"/>
                        <a:pt x="24872" y="58483"/>
                      </a:cubicBezTo>
                      <a:close/>
                      <a:moveTo>
                        <a:pt x="28777" y="14288"/>
                      </a:moveTo>
                      <a:cubicBezTo>
                        <a:pt x="21443" y="14288"/>
                        <a:pt x="15156" y="21145"/>
                        <a:pt x="14394" y="29908"/>
                      </a:cubicBezTo>
                      <a:cubicBezTo>
                        <a:pt x="14013" y="34385"/>
                        <a:pt x="15156" y="38481"/>
                        <a:pt x="17633" y="41053"/>
                      </a:cubicBezTo>
                      <a:cubicBezTo>
                        <a:pt x="19538" y="43053"/>
                        <a:pt x="22014" y="44196"/>
                        <a:pt x="24967" y="44196"/>
                      </a:cubicBezTo>
                      <a:cubicBezTo>
                        <a:pt x="33349" y="44196"/>
                        <a:pt x="39350" y="38100"/>
                        <a:pt x="40207" y="28575"/>
                      </a:cubicBezTo>
                      <a:cubicBezTo>
                        <a:pt x="40588" y="24479"/>
                        <a:pt x="39350" y="20479"/>
                        <a:pt x="36873" y="17812"/>
                      </a:cubicBezTo>
                      <a:cubicBezTo>
                        <a:pt x="35349" y="16193"/>
                        <a:pt x="32777" y="14288"/>
                        <a:pt x="28777" y="14288"/>
                      </a:cubicBezTo>
                      <a:close/>
                      <a:moveTo>
                        <a:pt x="47255" y="29242"/>
                      </a:moveTo>
                      <a:lnTo>
                        <a:pt x="47255" y="29242"/>
                      </a:lnTo>
                      <a:lnTo>
                        <a:pt x="47255" y="29242"/>
                      </a:lnTo>
                      <a:close/>
                    </a:path>
                  </a:pathLst>
                </a:custGeom>
                <a:grpFill/>
                <a:ln w="9525" cap="flat">
                  <a:noFill/>
                  <a:prstDash val="solid"/>
                  <a:miter/>
                </a:ln>
              </p:spPr>
              <p:txBody>
                <a:bodyPr rtlCol="0" anchor="ctr"/>
                <a:lstStyle/>
                <a:p>
                  <a:endParaRPr lang="de-DE"/>
                </a:p>
              </p:txBody>
            </p:sp>
            <p:sp>
              <p:nvSpPr>
                <p:cNvPr id="493" name="Grafik 224">
                  <a:extLst>
                    <a:ext uri="{FF2B5EF4-FFF2-40B4-BE49-F238E27FC236}">
                      <a16:creationId xmlns:a16="http://schemas.microsoft.com/office/drawing/2014/main" id="{BEE628E5-555D-019C-67D5-E8819983C031}"/>
                    </a:ext>
                  </a:extLst>
                </p:cNvPr>
                <p:cNvSpPr/>
                <p:nvPr/>
              </p:nvSpPr>
              <p:spPr bwMode="gray">
                <a:xfrm>
                  <a:off x="6109587" y="3460051"/>
                  <a:ext cx="112293" cy="111442"/>
                </a:xfrm>
                <a:custGeom>
                  <a:avLst/>
                  <a:gdLst>
                    <a:gd name="connsiteX0" fmla="*/ 51849 w 112293"/>
                    <a:gd name="connsiteY0" fmla="*/ 111442 h 111442"/>
                    <a:gd name="connsiteX1" fmla="*/ 13368 w 112293"/>
                    <a:gd name="connsiteY1" fmla="*/ 94964 h 111442"/>
                    <a:gd name="connsiteX2" fmla="*/ 223 w 112293"/>
                    <a:gd name="connsiteY2" fmla="*/ 55150 h 111442"/>
                    <a:gd name="connsiteX3" fmla="*/ 60326 w 112293"/>
                    <a:gd name="connsiteY3" fmla="*/ 0 h 111442"/>
                    <a:gd name="connsiteX4" fmla="*/ 100331 w 112293"/>
                    <a:gd name="connsiteY4" fmla="*/ 15716 h 111442"/>
                    <a:gd name="connsiteX5" fmla="*/ 112047 w 112293"/>
                    <a:gd name="connsiteY5" fmla="*/ 54102 h 111442"/>
                    <a:gd name="connsiteX6" fmla="*/ 99474 w 112293"/>
                    <a:gd name="connsiteY6" fmla="*/ 80105 h 111442"/>
                    <a:gd name="connsiteX7" fmla="*/ 82615 w 112293"/>
                    <a:gd name="connsiteY7" fmla="*/ 84868 h 111442"/>
                    <a:gd name="connsiteX8" fmla="*/ 66327 w 112293"/>
                    <a:gd name="connsiteY8" fmla="*/ 59722 h 111442"/>
                    <a:gd name="connsiteX9" fmla="*/ 68708 w 112293"/>
                    <a:gd name="connsiteY9" fmla="*/ 33147 h 111442"/>
                    <a:gd name="connsiteX10" fmla="*/ 76423 w 112293"/>
                    <a:gd name="connsiteY10" fmla="*/ 26670 h 111442"/>
                    <a:gd name="connsiteX11" fmla="*/ 82900 w 112293"/>
                    <a:gd name="connsiteY11" fmla="*/ 34385 h 111442"/>
                    <a:gd name="connsiteX12" fmla="*/ 80519 w 112293"/>
                    <a:gd name="connsiteY12" fmla="*/ 60960 h 111442"/>
                    <a:gd name="connsiteX13" fmla="*/ 85091 w 112293"/>
                    <a:gd name="connsiteY13" fmla="*/ 70866 h 111442"/>
                    <a:gd name="connsiteX14" fmla="*/ 90711 w 112293"/>
                    <a:gd name="connsiteY14" fmla="*/ 68866 h 111442"/>
                    <a:gd name="connsiteX15" fmla="*/ 97759 w 112293"/>
                    <a:gd name="connsiteY15" fmla="*/ 52959 h 111442"/>
                    <a:gd name="connsiteX16" fmla="*/ 89663 w 112293"/>
                    <a:gd name="connsiteY16" fmla="*/ 25527 h 111442"/>
                    <a:gd name="connsiteX17" fmla="*/ 60231 w 112293"/>
                    <a:gd name="connsiteY17" fmla="*/ 14478 h 111442"/>
                    <a:gd name="connsiteX18" fmla="*/ 14320 w 112293"/>
                    <a:gd name="connsiteY18" fmla="*/ 56579 h 111442"/>
                    <a:gd name="connsiteX19" fmla="*/ 23750 w 112293"/>
                    <a:gd name="connsiteY19" fmla="*/ 85535 h 111442"/>
                    <a:gd name="connsiteX20" fmla="*/ 51658 w 112293"/>
                    <a:gd name="connsiteY20" fmla="*/ 97441 h 111442"/>
                    <a:gd name="connsiteX21" fmla="*/ 70804 w 112293"/>
                    <a:gd name="connsiteY21" fmla="*/ 94012 h 111442"/>
                    <a:gd name="connsiteX22" fmla="*/ 80138 w 112293"/>
                    <a:gd name="connsiteY22" fmla="*/ 97822 h 111442"/>
                    <a:gd name="connsiteX23" fmla="*/ 76328 w 112293"/>
                    <a:gd name="connsiteY23" fmla="*/ 107156 h 111442"/>
                    <a:gd name="connsiteX24" fmla="*/ 51849 w 112293"/>
                    <a:gd name="connsiteY24" fmla="*/ 111442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293" h="111442">
                      <a:moveTo>
                        <a:pt x="51849" y="111442"/>
                      </a:moveTo>
                      <a:cubicBezTo>
                        <a:pt x="36799" y="111442"/>
                        <a:pt x="23179" y="105537"/>
                        <a:pt x="13368" y="94964"/>
                      </a:cubicBezTo>
                      <a:cubicBezTo>
                        <a:pt x="3557" y="84296"/>
                        <a:pt x="-1110" y="70104"/>
                        <a:pt x="223" y="55150"/>
                      </a:cubicBezTo>
                      <a:cubicBezTo>
                        <a:pt x="2890" y="24765"/>
                        <a:pt x="29846" y="0"/>
                        <a:pt x="60326" y="0"/>
                      </a:cubicBezTo>
                      <a:cubicBezTo>
                        <a:pt x="77090" y="0"/>
                        <a:pt x="90901" y="5429"/>
                        <a:pt x="100331" y="15716"/>
                      </a:cubicBezTo>
                      <a:cubicBezTo>
                        <a:pt x="109285" y="25432"/>
                        <a:pt x="113380" y="39053"/>
                        <a:pt x="112047" y="54102"/>
                      </a:cubicBezTo>
                      <a:cubicBezTo>
                        <a:pt x="110809" y="68580"/>
                        <a:pt x="104522" y="76200"/>
                        <a:pt x="99474" y="80105"/>
                      </a:cubicBezTo>
                      <a:cubicBezTo>
                        <a:pt x="94330" y="84011"/>
                        <a:pt x="88044" y="85820"/>
                        <a:pt x="82615" y="84868"/>
                      </a:cubicBezTo>
                      <a:cubicBezTo>
                        <a:pt x="74233" y="83344"/>
                        <a:pt x="64898" y="75914"/>
                        <a:pt x="66327" y="59722"/>
                      </a:cubicBezTo>
                      <a:lnTo>
                        <a:pt x="68708" y="33147"/>
                      </a:lnTo>
                      <a:cubicBezTo>
                        <a:pt x="69089" y="29242"/>
                        <a:pt x="72518" y="26289"/>
                        <a:pt x="76423" y="26670"/>
                      </a:cubicBezTo>
                      <a:cubicBezTo>
                        <a:pt x="80329" y="27051"/>
                        <a:pt x="83281" y="30480"/>
                        <a:pt x="82900" y="34385"/>
                      </a:cubicBezTo>
                      <a:lnTo>
                        <a:pt x="80519" y="60960"/>
                      </a:lnTo>
                      <a:cubicBezTo>
                        <a:pt x="80329" y="63627"/>
                        <a:pt x="80233" y="70009"/>
                        <a:pt x="85091" y="70866"/>
                      </a:cubicBezTo>
                      <a:cubicBezTo>
                        <a:pt x="85853" y="70961"/>
                        <a:pt x="88234" y="70771"/>
                        <a:pt x="90711" y="68866"/>
                      </a:cubicBezTo>
                      <a:cubicBezTo>
                        <a:pt x="93473" y="66770"/>
                        <a:pt x="96902" y="62293"/>
                        <a:pt x="97759" y="52959"/>
                      </a:cubicBezTo>
                      <a:cubicBezTo>
                        <a:pt x="98712" y="41815"/>
                        <a:pt x="95950" y="32290"/>
                        <a:pt x="89663" y="25527"/>
                      </a:cubicBezTo>
                      <a:cubicBezTo>
                        <a:pt x="82996" y="18288"/>
                        <a:pt x="72804" y="14478"/>
                        <a:pt x="60231" y="14478"/>
                      </a:cubicBezTo>
                      <a:cubicBezTo>
                        <a:pt x="36990" y="14478"/>
                        <a:pt x="16321" y="33337"/>
                        <a:pt x="14320" y="56579"/>
                      </a:cubicBezTo>
                      <a:cubicBezTo>
                        <a:pt x="13368" y="67532"/>
                        <a:pt x="16702" y="77819"/>
                        <a:pt x="23750" y="85535"/>
                      </a:cubicBezTo>
                      <a:cubicBezTo>
                        <a:pt x="30799" y="93155"/>
                        <a:pt x="40705" y="97441"/>
                        <a:pt x="51658" y="97441"/>
                      </a:cubicBezTo>
                      <a:cubicBezTo>
                        <a:pt x="59374" y="97441"/>
                        <a:pt x="63755" y="96964"/>
                        <a:pt x="70804" y="94012"/>
                      </a:cubicBezTo>
                      <a:cubicBezTo>
                        <a:pt x="74423" y="92488"/>
                        <a:pt x="78614" y="94202"/>
                        <a:pt x="80138" y="97822"/>
                      </a:cubicBezTo>
                      <a:cubicBezTo>
                        <a:pt x="81662" y="101441"/>
                        <a:pt x="79948" y="105632"/>
                        <a:pt x="76328" y="107156"/>
                      </a:cubicBezTo>
                      <a:cubicBezTo>
                        <a:pt x="67375" y="110776"/>
                        <a:pt x="60993" y="111442"/>
                        <a:pt x="51849" y="111442"/>
                      </a:cubicBezTo>
                      <a:close/>
                    </a:path>
                  </a:pathLst>
                </a:custGeom>
                <a:grpFill/>
                <a:ln w="9525" cap="flat">
                  <a:noFill/>
                  <a:prstDash val="solid"/>
                  <a:miter/>
                </a:ln>
              </p:spPr>
              <p:txBody>
                <a:bodyPr rtlCol="0" anchor="ctr"/>
                <a:lstStyle/>
                <a:p>
                  <a:endParaRPr lang="de-DE"/>
                </a:p>
              </p:txBody>
            </p:sp>
          </p:grpSp>
        </p:grpSp>
      </p:grpSp>
      <p:grpSp>
        <p:nvGrpSpPr>
          <p:cNvPr id="513" name="Grafik 226">
            <a:extLst>
              <a:ext uri="{FF2B5EF4-FFF2-40B4-BE49-F238E27FC236}">
                <a16:creationId xmlns:a16="http://schemas.microsoft.com/office/drawing/2014/main" id="{F5FBD36D-8CCF-4194-6F5B-8B72557FB06A}"/>
              </a:ext>
            </a:extLst>
          </p:cNvPr>
          <p:cNvGrpSpPr/>
          <p:nvPr/>
        </p:nvGrpSpPr>
        <p:grpSpPr bwMode="gray">
          <a:xfrm>
            <a:off x="7536202" y="3476738"/>
            <a:ext cx="374400" cy="374400"/>
            <a:chOff x="5843587" y="3176587"/>
            <a:chExt cx="500253" cy="500253"/>
          </a:xfrm>
          <a:solidFill>
            <a:schemeClr val="tx1"/>
          </a:solidFill>
        </p:grpSpPr>
        <p:sp>
          <p:nvSpPr>
            <p:cNvPr id="514" name="Grafik 226">
              <a:extLst>
                <a:ext uri="{FF2B5EF4-FFF2-40B4-BE49-F238E27FC236}">
                  <a16:creationId xmlns:a16="http://schemas.microsoft.com/office/drawing/2014/main" id="{2FAFFD7A-4730-0E1E-790C-F02A83E9406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5" name="Grafik 226">
              <a:extLst>
                <a:ext uri="{FF2B5EF4-FFF2-40B4-BE49-F238E27FC236}">
                  <a16:creationId xmlns:a16="http://schemas.microsoft.com/office/drawing/2014/main" id="{E5F61461-BD96-BAA6-CC70-42A68D8B73EB}"/>
                </a:ext>
              </a:extLst>
            </p:cNvPr>
            <p:cNvSpPr/>
            <p:nvPr/>
          </p:nvSpPr>
          <p:spPr bwMode="gray">
            <a:xfrm>
              <a:off x="5908357" y="3306222"/>
              <a:ext cx="305849" cy="305847"/>
            </a:xfrm>
            <a:custGeom>
              <a:avLst/>
              <a:gdLst>
                <a:gd name="connsiteX0" fmla="*/ 298799 w 305849"/>
                <a:gd name="connsiteY0" fmla="*/ 305848 h 305847"/>
                <a:gd name="connsiteX1" fmla="*/ 7144 w 305849"/>
                <a:gd name="connsiteY1" fmla="*/ 305848 h 305847"/>
                <a:gd name="connsiteX2" fmla="*/ 0 w 305849"/>
                <a:gd name="connsiteY2" fmla="*/ 298704 h 305847"/>
                <a:gd name="connsiteX3" fmla="*/ 0 w 305849"/>
                <a:gd name="connsiteY3" fmla="*/ 7144 h 305847"/>
                <a:gd name="connsiteX4" fmla="*/ 7144 w 305849"/>
                <a:gd name="connsiteY4" fmla="*/ 0 h 305847"/>
                <a:gd name="connsiteX5" fmla="*/ 298704 w 305849"/>
                <a:gd name="connsiteY5" fmla="*/ 0 h 305847"/>
                <a:gd name="connsiteX6" fmla="*/ 305848 w 305849"/>
                <a:gd name="connsiteY6" fmla="*/ 7144 h 305847"/>
                <a:gd name="connsiteX7" fmla="*/ 305848 w 305849"/>
                <a:gd name="connsiteY7" fmla="*/ 298704 h 305847"/>
                <a:gd name="connsiteX8" fmla="*/ 298799 w 305849"/>
                <a:gd name="connsiteY8" fmla="*/ 305848 h 305847"/>
                <a:gd name="connsiteX9" fmla="*/ 14288 w 305849"/>
                <a:gd name="connsiteY9" fmla="*/ 291560 h 305847"/>
                <a:gd name="connsiteX10" fmla="*/ 291560 w 305849"/>
                <a:gd name="connsiteY10" fmla="*/ 291560 h 305847"/>
                <a:gd name="connsiteX11" fmla="*/ 291560 w 305849"/>
                <a:gd name="connsiteY11" fmla="*/ 14288 h 305847"/>
                <a:gd name="connsiteX12" fmla="*/ 14288 w 305849"/>
                <a:gd name="connsiteY12" fmla="*/ 14288 h 305847"/>
                <a:gd name="connsiteX13" fmla="*/ 14288 w 305849"/>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9" h="305847">
                  <a:moveTo>
                    <a:pt x="298799" y="305848"/>
                  </a:moveTo>
                  <a:lnTo>
                    <a:pt x="7144" y="305848"/>
                  </a:lnTo>
                  <a:cubicBezTo>
                    <a:pt x="3238" y="305848"/>
                    <a:pt x="0" y="302609"/>
                    <a:pt x="0" y="298704"/>
                  </a:cubicBezTo>
                  <a:lnTo>
                    <a:pt x="0" y="7144"/>
                  </a:lnTo>
                  <a:cubicBezTo>
                    <a:pt x="0" y="3239"/>
                    <a:pt x="3238" y="0"/>
                    <a:pt x="7144" y="0"/>
                  </a:cubicBezTo>
                  <a:lnTo>
                    <a:pt x="298704" y="0"/>
                  </a:lnTo>
                  <a:cubicBezTo>
                    <a:pt x="302609" y="0"/>
                    <a:pt x="305848" y="3239"/>
                    <a:pt x="305848" y="7144"/>
                  </a:cubicBezTo>
                  <a:lnTo>
                    <a:pt x="305848" y="298704"/>
                  </a:lnTo>
                  <a:cubicBezTo>
                    <a:pt x="305943" y="302609"/>
                    <a:pt x="302705" y="305848"/>
                    <a:pt x="298799"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rtlCol="0" anchor="ctr"/>
            <a:lstStyle/>
            <a:p>
              <a:endParaRPr lang="de-DE"/>
            </a:p>
          </p:txBody>
        </p:sp>
        <p:sp>
          <p:nvSpPr>
            <p:cNvPr id="516" name="Grafik 226">
              <a:extLst>
                <a:ext uri="{FF2B5EF4-FFF2-40B4-BE49-F238E27FC236}">
                  <a16:creationId xmlns:a16="http://schemas.microsoft.com/office/drawing/2014/main" id="{DDD00E35-3172-EBC0-55DE-D3891920249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7" name="Grafik 226">
              <a:extLst>
                <a:ext uri="{FF2B5EF4-FFF2-40B4-BE49-F238E27FC236}">
                  <a16:creationId xmlns:a16="http://schemas.microsoft.com/office/drawing/2014/main" id="{0D5F3D14-8469-B8F6-1D1B-E68D03A55E3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8" name="Grafik 226">
              <a:extLst>
                <a:ext uri="{FF2B5EF4-FFF2-40B4-BE49-F238E27FC236}">
                  <a16:creationId xmlns:a16="http://schemas.microsoft.com/office/drawing/2014/main" id="{501D8AE7-832B-71FC-C795-5085F88D4CF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9" name="Grafik 226">
              <a:extLst>
                <a:ext uri="{FF2B5EF4-FFF2-40B4-BE49-F238E27FC236}">
                  <a16:creationId xmlns:a16="http://schemas.microsoft.com/office/drawing/2014/main" id="{735BC63F-6528-C683-0D81-5B91D2E6927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20" name="Grafik 226">
              <a:extLst>
                <a:ext uri="{FF2B5EF4-FFF2-40B4-BE49-F238E27FC236}">
                  <a16:creationId xmlns:a16="http://schemas.microsoft.com/office/drawing/2014/main" id="{C9B0F898-1760-3F14-6041-CB6E00CCBCEE}"/>
                </a:ext>
              </a:extLst>
            </p:cNvPr>
            <p:cNvSpPr/>
            <p:nvPr/>
          </p:nvSpPr>
          <p:spPr bwMode="gray">
            <a:xfrm>
              <a:off x="5908380" y="3306246"/>
              <a:ext cx="305895" cy="305823"/>
            </a:xfrm>
            <a:custGeom>
              <a:avLst/>
              <a:gdLst>
                <a:gd name="connsiteX0" fmla="*/ 298775 w 305895"/>
                <a:gd name="connsiteY0" fmla="*/ 305824 h 305823"/>
                <a:gd name="connsiteX1" fmla="*/ 293727 w 305895"/>
                <a:gd name="connsiteY1" fmla="*/ 303728 h 305823"/>
                <a:gd name="connsiteX2" fmla="*/ 2072 w 305895"/>
                <a:gd name="connsiteY2" fmla="*/ 12168 h 305823"/>
                <a:gd name="connsiteX3" fmla="*/ 2072 w 305895"/>
                <a:gd name="connsiteY3" fmla="*/ 2072 h 305823"/>
                <a:gd name="connsiteX4" fmla="*/ 12168 w 305895"/>
                <a:gd name="connsiteY4" fmla="*/ 2072 h 305823"/>
                <a:gd name="connsiteX5" fmla="*/ 303824 w 305895"/>
                <a:gd name="connsiteY5" fmla="*/ 293632 h 305823"/>
                <a:gd name="connsiteX6" fmla="*/ 303824 w 305895"/>
                <a:gd name="connsiteY6" fmla="*/ 303728 h 305823"/>
                <a:gd name="connsiteX7" fmla="*/ 298775 w 305895"/>
                <a:gd name="connsiteY7" fmla="*/ 305824 h 3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95" h="305823">
                  <a:moveTo>
                    <a:pt x="298775" y="305824"/>
                  </a:moveTo>
                  <a:cubicBezTo>
                    <a:pt x="296966" y="305824"/>
                    <a:pt x="295156" y="305157"/>
                    <a:pt x="293727" y="303728"/>
                  </a:cubicBezTo>
                  <a:lnTo>
                    <a:pt x="2072" y="12168"/>
                  </a:lnTo>
                  <a:cubicBezTo>
                    <a:pt x="-691" y="9406"/>
                    <a:pt x="-691" y="4834"/>
                    <a:pt x="2072" y="2072"/>
                  </a:cubicBezTo>
                  <a:cubicBezTo>
                    <a:pt x="4834" y="-691"/>
                    <a:pt x="9406" y="-691"/>
                    <a:pt x="12168" y="2072"/>
                  </a:cubicBezTo>
                  <a:lnTo>
                    <a:pt x="303824" y="293632"/>
                  </a:lnTo>
                  <a:cubicBezTo>
                    <a:pt x="306586" y="296394"/>
                    <a:pt x="306586" y="300966"/>
                    <a:pt x="303824" y="303728"/>
                  </a:cubicBezTo>
                  <a:cubicBezTo>
                    <a:pt x="302395" y="305157"/>
                    <a:pt x="300585" y="305824"/>
                    <a:pt x="298775" y="305824"/>
                  </a:cubicBezTo>
                  <a:close/>
                </a:path>
              </a:pathLst>
            </a:custGeom>
            <a:grpFill/>
            <a:ln w="9525" cap="flat">
              <a:noFill/>
              <a:prstDash val="solid"/>
              <a:miter/>
            </a:ln>
          </p:spPr>
          <p:txBody>
            <a:bodyPr rtlCol="0" anchor="ctr"/>
            <a:lstStyle/>
            <a:p>
              <a:endParaRPr lang="de-DE"/>
            </a:p>
          </p:txBody>
        </p:sp>
      </p:grpSp>
      <p:sp>
        <p:nvSpPr>
          <p:cNvPr id="521" name="Rectangle 520">
            <a:extLst>
              <a:ext uri="{FF2B5EF4-FFF2-40B4-BE49-F238E27FC236}">
                <a16:creationId xmlns:a16="http://schemas.microsoft.com/office/drawing/2014/main" id="{1ED0CA7F-0A67-82D0-9262-B10FDC82B881}"/>
              </a:ext>
            </a:extLst>
          </p:cNvPr>
          <p:cNvSpPr/>
          <p:nvPr/>
        </p:nvSpPr>
        <p:spPr>
          <a:xfrm>
            <a:off x="6614160" y="4599707"/>
            <a:ext cx="3002951"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522" name="Text Box 61">
            <a:extLst>
              <a:ext uri="{FF2B5EF4-FFF2-40B4-BE49-F238E27FC236}">
                <a16:creationId xmlns:a16="http://schemas.microsoft.com/office/drawing/2014/main" id="{2BEBFA9B-141B-01BB-75CB-1968A684D0AF}"/>
              </a:ext>
            </a:extLst>
          </p:cNvPr>
          <p:cNvSpPr txBox="1">
            <a:spLocks noChangeArrowheads="1"/>
          </p:cNvSpPr>
          <p:nvPr/>
        </p:nvSpPr>
        <p:spPr bwMode="auto">
          <a:xfrm>
            <a:off x="10517136" y="4643438"/>
            <a:ext cx="895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IP</a:t>
            </a:r>
          </a:p>
        </p:txBody>
      </p:sp>
      <p:sp>
        <p:nvSpPr>
          <p:cNvPr id="523" name="Text Box 62">
            <a:extLst>
              <a:ext uri="{FF2B5EF4-FFF2-40B4-BE49-F238E27FC236}">
                <a16:creationId xmlns:a16="http://schemas.microsoft.com/office/drawing/2014/main" id="{77D7D49C-BF54-80BF-203F-EB989BD12D56}"/>
              </a:ext>
            </a:extLst>
          </p:cNvPr>
          <p:cNvSpPr txBox="1">
            <a:spLocks noChangeArrowheads="1"/>
          </p:cNvSpPr>
          <p:nvPr/>
        </p:nvSpPr>
        <p:spPr bwMode="auto">
          <a:xfrm>
            <a:off x="10517136" y="5189538"/>
            <a:ext cx="12883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Protocol Translator</a:t>
            </a:r>
          </a:p>
        </p:txBody>
      </p:sp>
      <p:sp>
        <p:nvSpPr>
          <p:cNvPr id="524" name="Text Box 62">
            <a:extLst>
              <a:ext uri="{FF2B5EF4-FFF2-40B4-BE49-F238E27FC236}">
                <a16:creationId xmlns:a16="http://schemas.microsoft.com/office/drawing/2014/main" id="{B6D0A245-C789-D30D-07A4-DD17A05493C6}"/>
              </a:ext>
            </a:extLst>
          </p:cNvPr>
          <p:cNvSpPr txBox="1">
            <a:spLocks noChangeArrowheads="1"/>
          </p:cNvSpPr>
          <p:nvPr/>
        </p:nvSpPr>
        <p:spPr bwMode="auto">
          <a:xfrm>
            <a:off x="10517136" y="5735638"/>
            <a:ext cx="130324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esource Manager</a:t>
            </a:r>
          </a:p>
        </p:txBody>
      </p:sp>
      <p:sp>
        <p:nvSpPr>
          <p:cNvPr id="525" name="Text Box 58">
            <a:extLst>
              <a:ext uri="{FF2B5EF4-FFF2-40B4-BE49-F238E27FC236}">
                <a16:creationId xmlns:a16="http://schemas.microsoft.com/office/drawing/2014/main" id="{E1E46F1B-7676-2CF0-30AE-59E1AD013A8D}"/>
              </a:ext>
            </a:extLst>
          </p:cNvPr>
          <p:cNvSpPr txBox="1">
            <a:spLocks noChangeArrowheads="1"/>
          </p:cNvSpPr>
          <p:nvPr/>
        </p:nvSpPr>
        <p:spPr bwMode="auto">
          <a:xfrm>
            <a:off x="7081605" y="5091973"/>
            <a:ext cx="69089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Net Sonar</a:t>
            </a:r>
          </a:p>
        </p:txBody>
      </p:sp>
      <p:sp>
        <p:nvSpPr>
          <p:cNvPr id="526" name="Text Box 59">
            <a:extLst>
              <a:ext uri="{FF2B5EF4-FFF2-40B4-BE49-F238E27FC236}">
                <a16:creationId xmlns:a16="http://schemas.microsoft.com/office/drawing/2014/main" id="{17532F44-E32A-BF7A-B5FB-4E20C0E00C36}"/>
              </a:ext>
            </a:extLst>
          </p:cNvPr>
          <p:cNvSpPr txBox="1">
            <a:spLocks noChangeArrowheads="1"/>
          </p:cNvSpPr>
          <p:nvPr/>
        </p:nvSpPr>
        <p:spPr bwMode="auto">
          <a:xfrm>
            <a:off x="7081605" y="5554253"/>
            <a:ext cx="91050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all Manager</a:t>
            </a:r>
          </a:p>
        </p:txBody>
      </p:sp>
      <p:sp>
        <p:nvSpPr>
          <p:cNvPr id="527" name="Text Box 60">
            <a:extLst>
              <a:ext uri="{FF2B5EF4-FFF2-40B4-BE49-F238E27FC236}">
                <a16:creationId xmlns:a16="http://schemas.microsoft.com/office/drawing/2014/main" id="{93735DC6-5A6E-EF1D-BAC2-13F3EF755DE4}"/>
              </a:ext>
            </a:extLst>
          </p:cNvPr>
          <p:cNvSpPr txBox="1">
            <a:spLocks noChangeArrowheads="1"/>
          </p:cNvSpPr>
          <p:nvPr/>
        </p:nvSpPr>
        <p:spPr bwMode="auto">
          <a:xfrm>
            <a:off x="7081605" y="6024153"/>
            <a:ext cx="102431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Asic</a:t>
            </a:r>
            <a:r>
              <a:rPr lang="en-US" altLang="en-US" sz="1200" dirty="0"/>
              <a:t> Processor</a:t>
            </a:r>
          </a:p>
        </p:txBody>
      </p:sp>
      <p:sp>
        <p:nvSpPr>
          <p:cNvPr id="528" name="Text Box 61">
            <a:extLst>
              <a:ext uri="{FF2B5EF4-FFF2-40B4-BE49-F238E27FC236}">
                <a16:creationId xmlns:a16="http://schemas.microsoft.com/office/drawing/2014/main" id="{5A9B878F-AC95-C3C2-091D-7EC407A6E534}"/>
              </a:ext>
            </a:extLst>
          </p:cNvPr>
          <p:cNvSpPr txBox="1">
            <a:spLocks noChangeArrowheads="1"/>
          </p:cNvSpPr>
          <p:nvPr/>
        </p:nvSpPr>
        <p:spPr bwMode="auto">
          <a:xfrm>
            <a:off x="8831640" y="5091973"/>
            <a:ext cx="57227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etcrypt</a:t>
            </a:r>
            <a:endParaRPr lang="en-US" altLang="en-US" sz="1200" dirty="0"/>
          </a:p>
        </p:txBody>
      </p:sp>
      <p:sp>
        <p:nvSpPr>
          <p:cNvPr id="529" name="Text Box 62">
            <a:extLst>
              <a:ext uri="{FF2B5EF4-FFF2-40B4-BE49-F238E27FC236}">
                <a16:creationId xmlns:a16="http://schemas.microsoft.com/office/drawing/2014/main" id="{DF943960-4AA5-90F3-6442-F283E3E634CF}"/>
              </a:ext>
            </a:extLst>
          </p:cNvPr>
          <p:cNvSpPr txBox="1">
            <a:spLocks noChangeArrowheads="1"/>
          </p:cNvSpPr>
          <p:nvPr/>
        </p:nvSpPr>
        <p:spPr bwMode="auto">
          <a:xfrm>
            <a:off x="8831640" y="5554253"/>
            <a:ext cx="42639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uard</a:t>
            </a:r>
          </a:p>
        </p:txBody>
      </p:sp>
      <p:sp>
        <p:nvSpPr>
          <p:cNvPr id="530" name="Text Box 62">
            <a:extLst>
              <a:ext uri="{FF2B5EF4-FFF2-40B4-BE49-F238E27FC236}">
                <a16:creationId xmlns:a16="http://schemas.microsoft.com/office/drawing/2014/main" id="{D060E724-ECC7-49BD-2562-06843AB052AE}"/>
              </a:ext>
            </a:extLst>
          </p:cNvPr>
          <p:cNvSpPr txBox="1">
            <a:spLocks noChangeArrowheads="1"/>
          </p:cNvSpPr>
          <p:nvPr/>
        </p:nvSpPr>
        <p:spPr bwMode="auto">
          <a:xfrm>
            <a:off x="8831640" y="6024153"/>
            <a:ext cx="78547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C Storage</a:t>
            </a:r>
          </a:p>
        </p:txBody>
      </p:sp>
      <p:grpSp>
        <p:nvGrpSpPr>
          <p:cNvPr id="531" name="Grafik 228">
            <a:extLst>
              <a:ext uri="{FF2B5EF4-FFF2-40B4-BE49-F238E27FC236}">
                <a16:creationId xmlns:a16="http://schemas.microsoft.com/office/drawing/2014/main" id="{6E819D2A-4560-5E38-B754-53E27651E319}"/>
              </a:ext>
            </a:extLst>
          </p:cNvPr>
          <p:cNvGrpSpPr/>
          <p:nvPr/>
        </p:nvGrpSpPr>
        <p:grpSpPr bwMode="gray">
          <a:xfrm>
            <a:off x="9942167" y="1327754"/>
            <a:ext cx="374400" cy="374400"/>
            <a:chOff x="5843587" y="3176587"/>
            <a:chExt cx="500253" cy="500253"/>
          </a:xfrm>
          <a:solidFill>
            <a:schemeClr val="tx1"/>
          </a:solidFill>
        </p:grpSpPr>
        <p:sp>
          <p:nvSpPr>
            <p:cNvPr id="532" name="Grafik 228">
              <a:extLst>
                <a:ext uri="{FF2B5EF4-FFF2-40B4-BE49-F238E27FC236}">
                  <a16:creationId xmlns:a16="http://schemas.microsoft.com/office/drawing/2014/main" id="{215FB9A3-5F76-3EA9-BD04-2C8766618CC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533" name="Grafik 228">
              <a:extLst>
                <a:ext uri="{FF2B5EF4-FFF2-40B4-BE49-F238E27FC236}">
                  <a16:creationId xmlns:a16="http://schemas.microsoft.com/office/drawing/2014/main" id="{1023181F-0A6D-F186-FEBB-613E05ABB25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34" name="Grafik 19">
            <a:extLst>
              <a:ext uri="{FF2B5EF4-FFF2-40B4-BE49-F238E27FC236}">
                <a16:creationId xmlns:a16="http://schemas.microsoft.com/office/drawing/2014/main" id="{C4422D0D-97D9-410E-399C-DABD4C4D851E}"/>
              </a:ext>
            </a:extLst>
          </p:cNvPr>
          <p:cNvGrpSpPr>
            <a:grpSpLocks noChangeAspect="1"/>
          </p:cNvGrpSpPr>
          <p:nvPr/>
        </p:nvGrpSpPr>
        <p:grpSpPr bwMode="gray">
          <a:xfrm>
            <a:off x="9942167" y="1850691"/>
            <a:ext cx="374400" cy="374400"/>
            <a:chOff x="5843587" y="3176587"/>
            <a:chExt cx="500253" cy="500253"/>
          </a:xfrm>
          <a:solidFill>
            <a:schemeClr val="tx1"/>
          </a:solidFill>
        </p:grpSpPr>
        <p:grpSp>
          <p:nvGrpSpPr>
            <p:cNvPr id="535" name="Grafik 19">
              <a:extLst>
                <a:ext uri="{FF2B5EF4-FFF2-40B4-BE49-F238E27FC236}">
                  <a16:creationId xmlns:a16="http://schemas.microsoft.com/office/drawing/2014/main" id="{BEC01065-0D68-B99D-CDCA-75978CC9A113}"/>
                </a:ext>
              </a:extLst>
            </p:cNvPr>
            <p:cNvGrpSpPr/>
            <p:nvPr/>
          </p:nvGrpSpPr>
          <p:grpSpPr bwMode="gray">
            <a:xfrm>
              <a:off x="5892164" y="3290029"/>
              <a:ext cx="338327" cy="338232"/>
              <a:chOff x="5892164" y="3290029"/>
              <a:chExt cx="338327" cy="338232"/>
            </a:xfrm>
            <a:grpFill/>
          </p:grpSpPr>
          <p:grpSp>
            <p:nvGrpSpPr>
              <p:cNvPr id="541" name="Grafik 19">
                <a:extLst>
                  <a:ext uri="{FF2B5EF4-FFF2-40B4-BE49-F238E27FC236}">
                    <a16:creationId xmlns:a16="http://schemas.microsoft.com/office/drawing/2014/main" id="{98FA30FA-0026-5574-0D6B-ABCE5EBA98B7}"/>
                  </a:ext>
                </a:extLst>
              </p:cNvPr>
              <p:cNvGrpSpPr/>
              <p:nvPr/>
            </p:nvGrpSpPr>
            <p:grpSpPr bwMode="gray">
              <a:xfrm>
                <a:off x="6054184" y="3348822"/>
                <a:ext cx="176307" cy="68175"/>
                <a:chOff x="6054184" y="3348822"/>
                <a:chExt cx="176307" cy="68175"/>
              </a:xfrm>
              <a:grpFill/>
            </p:grpSpPr>
            <p:sp>
              <p:nvSpPr>
                <p:cNvPr id="555" name="Grafik 19">
                  <a:extLst>
                    <a:ext uri="{FF2B5EF4-FFF2-40B4-BE49-F238E27FC236}">
                      <a16:creationId xmlns:a16="http://schemas.microsoft.com/office/drawing/2014/main" id="{0C20A57B-98BC-47E7-5BCE-C351350B749F}"/>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6" name="Grafik 19">
                  <a:extLst>
                    <a:ext uri="{FF2B5EF4-FFF2-40B4-BE49-F238E27FC236}">
                      <a16:creationId xmlns:a16="http://schemas.microsoft.com/office/drawing/2014/main" id="{9CDE2BAA-7D55-C7BA-F253-0CDAE12380B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7" name="Grafik 19">
                  <a:extLst>
                    <a:ext uri="{FF2B5EF4-FFF2-40B4-BE49-F238E27FC236}">
                      <a16:creationId xmlns:a16="http://schemas.microsoft.com/office/drawing/2014/main" id="{39B80E8E-9A85-572F-9A06-600678396CB2}"/>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2" name="Grafik 19">
                <a:extLst>
                  <a:ext uri="{FF2B5EF4-FFF2-40B4-BE49-F238E27FC236}">
                    <a16:creationId xmlns:a16="http://schemas.microsoft.com/office/drawing/2014/main" id="{CFE36BD2-5328-481B-AB2A-04B13AC252D7}"/>
                  </a:ext>
                </a:extLst>
              </p:cNvPr>
              <p:cNvGrpSpPr/>
              <p:nvPr/>
            </p:nvGrpSpPr>
            <p:grpSpPr bwMode="gray">
              <a:xfrm>
                <a:off x="5892164" y="3501318"/>
                <a:ext cx="176307" cy="68175"/>
                <a:chOff x="5892164" y="3501318"/>
                <a:chExt cx="176307" cy="68175"/>
              </a:xfrm>
              <a:grpFill/>
            </p:grpSpPr>
            <p:sp>
              <p:nvSpPr>
                <p:cNvPr id="552" name="Grafik 19">
                  <a:extLst>
                    <a:ext uri="{FF2B5EF4-FFF2-40B4-BE49-F238E27FC236}">
                      <a16:creationId xmlns:a16="http://schemas.microsoft.com/office/drawing/2014/main" id="{D767C2BF-FE25-4A1A-B1D8-43941EA992C9}"/>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3" name="Grafik 19">
                  <a:extLst>
                    <a:ext uri="{FF2B5EF4-FFF2-40B4-BE49-F238E27FC236}">
                      <a16:creationId xmlns:a16="http://schemas.microsoft.com/office/drawing/2014/main" id="{D696258F-0922-5D37-6288-DB0E3D42208F}"/>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4" name="Grafik 19">
                  <a:extLst>
                    <a:ext uri="{FF2B5EF4-FFF2-40B4-BE49-F238E27FC236}">
                      <a16:creationId xmlns:a16="http://schemas.microsoft.com/office/drawing/2014/main" id="{0D461500-8047-DA58-2B8C-E2ED8817AE09}"/>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3" name="Grafik 19">
                <a:extLst>
                  <a:ext uri="{FF2B5EF4-FFF2-40B4-BE49-F238E27FC236}">
                    <a16:creationId xmlns:a16="http://schemas.microsoft.com/office/drawing/2014/main" id="{FF90450E-BB2E-1BE4-9A8D-5A8A2BD3E664}"/>
                  </a:ext>
                </a:extLst>
              </p:cNvPr>
              <p:cNvGrpSpPr/>
              <p:nvPr/>
            </p:nvGrpSpPr>
            <p:grpSpPr bwMode="gray">
              <a:xfrm>
                <a:off x="6103452" y="3451954"/>
                <a:ext cx="68151" cy="176307"/>
                <a:chOff x="6103452" y="3451954"/>
                <a:chExt cx="68151" cy="176307"/>
              </a:xfrm>
              <a:grpFill/>
            </p:grpSpPr>
            <p:sp>
              <p:nvSpPr>
                <p:cNvPr id="549" name="Grafik 19">
                  <a:extLst>
                    <a:ext uri="{FF2B5EF4-FFF2-40B4-BE49-F238E27FC236}">
                      <a16:creationId xmlns:a16="http://schemas.microsoft.com/office/drawing/2014/main" id="{2794C781-5488-7354-2ED7-C90BF4E9C536}"/>
                    </a:ext>
                  </a:extLst>
                </p:cNvPr>
                <p:cNvSpPr/>
                <p:nvPr/>
              </p:nvSpPr>
              <p:spPr bwMode="gray">
                <a:xfrm>
                  <a:off x="6130384"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165"/>
                        <a:pt x="11144" y="176308"/>
                        <a:pt x="7144" y="176308"/>
                      </a:cubicBezTo>
                      <a:close/>
                    </a:path>
                  </a:pathLst>
                </a:custGeom>
                <a:grpFill/>
                <a:ln w="9525" cap="flat">
                  <a:noFill/>
                  <a:prstDash val="solid"/>
                  <a:miter/>
                </a:ln>
              </p:spPr>
              <p:txBody>
                <a:bodyPr lIns="0" tIns="0" rIns="0" bIns="0" rtlCol="0" anchor="ctr"/>
                <a:lstStyle/>
                <a:p>
                  <a:endParaRPr lang="en-US"/>
                </a:p>
              </p:txBody>
            </p:sp>
            <p:sp>
              <p:nvSpPr>
                <p:cNvPr id="550" name="Grafik 19">
                  <a:extLst>
                    <a:ext uri="{FF2B5EF4-FFF2-40B4-BE49-F238E27FC236}">
                      <a16:creationId xmlns:a16="http://schemas.microsoft.com/office/drawing/2014/main" id="{4B632AB2-6927-2C0B-C20D-02EBD602771B}"/>
                    </a:ext>
                  </a:extLst>
                </p:cNvPr>
                <p:cNvSpPr/>
                <p:nvPr/>
              </p:nvSpPr>
              <p:spPr bwMode="gray">
                <a:xfrm>
                  <a:off x="6130408"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553"/>
                        <a:pt x="9025" y="41219"/>
                        <a:pt x="7120" y="41219"/>
                      </a:cubicBezTo>
                      <a:close/>
                    </a:path>
                  </a:pathLst>
                </a:custGeom>
                <a:grpFill/>
                <a:ln w="9525" cap="flat">
                  <a:noFill/>
                  <a:prstDash val="solid"/>
                  <a:miter/>
                </a:ln>
              </p:spPr>
              <p:txBody>
                <a:bodyPr lIns="0" tIns="0" rIns="0" bIns="0" rtlCol="0" anchor="ctr"/>
                <a:lstStyle/>
                <a:p>
                  <a:endParaRPr lang="en-US"/>
                </a:p>
              </p:txBody>
            </p:sp>
            <p:sp>
              <p:nvSpPr>
                <p:cNvPr id="551" name="Grafik 19">
                  <a:extLst>
                    <a:ext uri="{FF2B5EF4-FFF2-40B4-BE49-F238E27FC236}">
                      <a16:creationId xmlns:a16="http://schemas.microsoft.com/office/drawing/2014/main" id="{65F35C73-05A4-85F0-A6D9-48FD7A52E559}"/>
                    </a:ext>
                  </a:extLst>
                </p:cNvPr>
                <p:cNvSpPr/>
                <p:nvPr/>
              </p:nvSpPr>
              <p:spPr bwMode="gray">
                <a:xfrm>
                  <a:off x="6103452"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553"/>
                        <a:pt x="35981" y="41219"/>
                        <a:pt x="34076" y="41219"/>
                      </a:cubicBezTo>
                      <a:close/>
                    </a:path>
                  </a:pathLst>
                </a:custGeom>
                <a:grpFill/>
                <a:ln w="9525" cap="flat">
                  <a:noFill/>
                  <a:prstDash val="solid"/>
                  <a:miter/>
                </a:ln>
              </p:spPr>
              <p:txBody>
                <a:bodyPr lIns="0" tIns="0" rIns="0" bIns="0" rtlCol="0" anchor="ctr"/>
                <a:lstStyle/>
                <a:p>
                  <a:endParaRPr lang="en-US"/>
                </a:p>
              </p:txBody>
            </p:sp>
          </p:grpSp>
          <p:grpSp>
            <p:nvGrpSpPr>
              <p:cNvPr id="544" name="Grafik 19">
                <a:extLst>
                  <a:ext uri="{FF2B5EF4-FFF2-40B4-BE49-F238E27FC236}">
                    <a16:creationId xmlns:a16="http://schemas.microsoft.com/office/drawing/2014/main" id="{BE2EEEF1-5079-4B91-969E-06F1FCE543F8}"/>
                  </a:ext>
                </a:extLst>
              </p:cNvPr>
              <p:cNvGrpSpPr/>
              <p:nvPr/>
            </p:nvGrpSpPr>
            <p:grpSpPr bwMode="gray">
              <a:xfrm>
                <a:off x="5951052" y="3290029"/>
                <a:ext cx="68151" cy="176212"/>
                <a:chOff x="5951052" y="3290029"/>
                <a:chExt cx="68151" cy="176212"/>
              </a:xfrm>
              <a:grpFill/>
            </p:grpSpPr>
            <p:sp>
              <p:nvSpPr>
                <p:cNvPr id="546" name="Grafik 19">
                  <a:extLst>
                    <a:ext uri="{FF2B5EF4-FFF2-40B4-BE49-F238E27FC236}">
                      <a16:creationId xmlns:a16="http://schemas.microsoft.com/office/drawing/2014/main" id="{D84C89C2-27E4-7262-F832-C9D1BEEC6FED}"/>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lIns="0" tIns="0" rIns="0" bIns="0" rtlCol="0" anchor="ctr"/>
                <a:lstStyle/>
                <a:p>
                  <a:endParaRPr lang="en-US"/>
                </a:p>
              </p:txBody>
            </p:sp>
            <p:sp>
              <p:nvSpPr>
                <p:cNvPr id="547" name="Grafik 19">
                  <a:extLst>
                    <a:ext uri="{FF2B5EF4-FFF2-40B4-BE49-F238E27FC236}">
                      <a16:creationId xmlns:a16="http://schemas.microsoft.com/office/drawing/2014/main" id="{83692D3D-BF9B-6F68-BE95-D93A750A21D3}"/>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lIns="0" tIns="0" rIns="0" bIns="0" rtlCol="0" anchor="ctr"/>
                <a:lstStyle/>
                <a:p>
                  <a:endParaRPr lang="en-US"/>
                </a:p>
              </p:txBody>
            </p:sp>
            <p:sp>
              <p:nvSpPr>
                <p:cNvPr id="548" name="Grafik 19">
                  <a:extLst>
                    <a:ext uri="{FF2B5EF4-FFF2-40B4-BE49-F238E27FC236}">
                      <a16:creationId xmlns:a16="http://schemas.microsoft.com/office/drawing/2014/main" id="{294401A4-1638-969B-F039-A69CE60CB4E7}"/>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lIns="0" tIns="0" rIns="0" bIns="0" rtlCol="0" anchor="ctr"/>
                <a:lstStyle/>
                <a:p>
                  <a:endParaRPr lang="en-US"/>
                </a:p>
              </p:txBody>
            </p:sp>
          </p:grpSp>
          <p:sp>
            <p:nvSpPr>
              <p:cNvPr id="545" name="Grafik 19">
                <a:extLst>
                  <a:ext uri="{FF2B5EF4-FFF2-40B4-BE49-F238E27FC236}">
                    <a16:creationId xmlns:a16="http://schemas.microsoft.com/office/drawing/2014/main" id="{0420D9EF-AA73-7455-879D-2C12E49C70DB}"/>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lIns="0" tIns="0" rIns="0" bIns="0" rtlCol="0" anchor="ctr"/>
              <a:lstStyle/>
              <a:p>
                <a:endParaRPr lang="en-US"/>
              </a:p>
            </p:txBody>
          </p:sp>
        </p:grpSp>
        <p:sp>
          <p:nvSpPr>
            <p:cNvPr id="536" name="Grafik 19">
              <a:extLst>
                <a:ext uri="{FF2B5EF4-FFF2-40B4-BE49-F238E27FC236}">
                  <a16:creationId xmlns:a16="http://schemas.microsoft.com/office/drawing/2014/main" id="{F31B6624-329B-3CFF-236C-FDA8B20604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37" name="Grafik 19">
              <a:extLst>
                <a:ext uri="{FF2B5EF4-FFF2-40B4-BE49-F238E27FC236}">
                  <a16:creationId xmlns:a16="http://schemas.microsoft.com/office/drawing/2014/main" id="{B0222483-CF44-4D37-8FEC-4E0C72562CE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538" name="Grafik 19">
              <a:extLst>
                <a:ext uri="{FF2B5EF4-FFF2-40B4-BE49-F238E27FC236}">
                  <a16:creationId xmlns:a16="http://schemas.microsoft.com/office/drawing/2014/main" id="{0CC16E11-078E-0692-216F-2371E997D3C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39" name="Grafik 19">
              <a:extLst>
                <a:ext uri="{FF2B5EF4-FFF2-40B4-BE49-F238E27FC236}">
                  <a16:creationId xmlns:a16="http://schemas.microsoft.com/office/drawing/2014/main" id="{4C489215-47C4-CB71-250C-70F369039BA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40" name="Grafik 19">
              <a:extLst>
                <a:ext uri="{FF2B5EF4-FFF2-40B4-BE49-F238E27FC236}">
                  <a16:creationId xmlns:a16="http://schemas.microsoft.com/office/drawing/2014/main" id="{8658BFC4-F7CE-B52A-3B19-6F1F4CC385A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558" name="Grafik 23">
            <a:extLst>
              <a:ext uri="{FF2B5EF4-FFF2-40B4-BE49-F238E27FC236}">
                <a16:creationId xmlns:a16="http://schemas.microsoft.com/office/drawing/2014/main" id="{205424C1-B82C-1036-2CF3-B8FF59CFA91C}"/>
              </a:ext>
            </a:extLst>
          </p:cNvPr>
          <p:cNvGrpSpPr>
            <a:grpSpLocks noChangeAspect="1"/>
          </p:cNvGrpSpPr>
          <p:nvPr/>
        </p:nvGrpSpPr>
        <p:grpSpPr bwMode="gray">
          <a:xfrm>
            <a:off x="9942167" y="2373628"/>
            <a:ext cx="374400" cy="464640"/>
            <a:chOff x="5895975" y="3176587"/>
            <a:chExt cx="403097" cy="500253"/>
          </a:xfrm>
          <a:solidFill>
            <a:schemeClr val="tx1"/>
          </a:solidFill>
        </p:grpSpPr>
        <p:sp>
          <p:nvSpPr>
            <p:cNvPr id="559" name="Grafik 23">
              <a:extLst>
                <a:ext uri="{FF2B5EF4-FFF2-40B4-BE49-F238E27FC236}">
                  <a16:creationId xmlns:a16="http://schemas.microsoft.com/office/drawing/2014/main" id="{1F8A8722-AF8E-9486-0F31-9308E8C49914}"/>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60" name="Grafik 23">
              <a:extLst>
                <a:ext uri="{FF2B5EF4-FFF2-40B4-BE49-F238E27FC236}">
                  <a16:creationId xmlns:a16="http://schemas.microsoft.com/office/drawing/2014/main" id="{5DC4B0F8-A7DE-1458-8399-2EEBC039453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9525" cap="flat">
              <a:noFill/>
              <a:prstDash val="solid"/>
              <a:miter/>
            </a:ln>
          </p:spPr>
          <p:txBody>
            <a:bodyPr lIns="0" tIns="0" rIns="0" bIns="0" rtlCol="0" anchor="ctr"/>
            <a:lstStyle/>
            <a:p>
              <a:endParaRPr lang="en-US"/>
            </a:p>
          </p:txBody>
        </p:sp>
        <p:sp>
          <p:nvSpPr>
            <p:cNvPr id="561" name="Grafik 23">
              <a:extLst>
                <a:ext uri="{FF2B5EF4-FFF2-40B4-BE49-F238E27FC236}">
                  <a16:creationId xmlns:a16="http://schemas.microsoft.com/office/drawing/2014/main" id="{519AB59A-A830-79C8-A6A4-BD7F0DEBEC3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2" name="Grafik 23">
              <a:extLst>
                <a:ext uri="{FF2B5EF4-FFF2-40B4-BE49-F238E27FC236}">
                  <a16:creationId xmlns:a16="http://schemas.microsoft.com/office/drawing/2014/main" id="{B5221720-FB35-FF0B-5520-0C22D7122CA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3" name="Grafik 23">
              <a:extLst>
                <a:ext uri="{FF2B5EF4-FFF2-40B4-BE49-F238E27FC236}">
                  <a16:creationId xmlns:a16="http://schemas.microsoft.com/office/drawing/2014/main" id="{ABF26017-F339-D9DD-B71C-2FBEC974C58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564" name="Grafik 23">
              <a:extLst>
                <a:ext uri="{FF2B5EF4-FFF2-40B4-BE49-F238E27FC236}">
                  <a16:creationId xmlns:a16="http://schemas.microsoft.com/office/drawing/2014/main" id="{9D3479A5-00EC-CE8E-4D93-F1A547AEA6DB}"/>
                </a:ext>
              </a:extLst>
            </p:cNvPr>
            <p:cNvGrpSpPr/>
            <p:nvPr/>
          </p:nvGrpSpPr>
          <p:grpSpPr bwMode="gray">
            <a:xfrm>
              <a:off x="5895975" y="3322414"/>
              <a:ext cx="403097" cy="208692"/>
              <a:chOff x="5895975" y="3322414"/>
              <a:chExt cx="403097" cy="208692"/>
            </a:xfrm>
            <a:grpFill/>
          </p:grpSpPr>
          <p:sp>
            <p:nvSpPr>
              <p:cNvPr id="565" name="Grafik 23">
                <a:extLst>
                  <a:ext uri="{FF2B5EF4-FFF2-40B4-BE49-F238E27FC236}">
                    <a16:creationId xmlns:a16="http://schemas.microsoft.com/office/drawing/2014/main" id="{E2252A90-9D64-239F-928A-86CBDF7E523F}"/>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9525" cap="flat">
                <a:noFill/>
                <a:prstDash val="solid"/>
                <a:miter/>
              </a:ln>
            </p:spPr>
            <p:txBody>
              <a:bodyPr lIns="0" tIns="0" rIns="0" bIns="0" rtlCol="0" anchor="ctr"/>
              <a:lstStyle/>
              <a:p>
                <a:endParaRPr lang="en-US"/>
              </a:p>
            </p:txBody>
          </p:sp>
          <p:sp>
            <p:nvSpPr>
              <p:cNvPr id="566" name="Grafik 23">
                <a:extLst>
                  <a:ext uri="{FF2B5EF4-FFF2-40B4-BE49-F238E27FC236}">
                    <a16:creationId xmlns:a16="http://schemas.microsoft.com/office/drawing/2014/main" id="{2F578FD6-098D-C6E7-4124-8A39D8BAC8B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9525" cap="flat">
                <a:noFill/>
                <a:prstDash val="solid"/>
                <a:miter/>
              </a:ln>
            </p:spPr>
            <p:txBody>
              <a:bodyPr lIns="0" tIns="0" rIns="0" bIns="0" rtlCol="0" anchor="ctr"/>
              <a:lstStyle/>
              <a:p>
                <a:endParaRPr lang="en-US"/>
              </a:p>
            </p:txBody>
          </p:sp>
          <p:sp>
            <p:nvSpPr>
              <p:cNvPr id="567" name="Grafik 23">
                <a:extLst>
                  <a:ext uri="{FF2B5EF4-FFF2-40B4-BE49-F238E27FC236}">
                    <a16:creationId xmlns:a16="http://schemas.microsoft.com/office/drawing/2014/main" id="{B8C1204B-4409-4F6F-072C-5276795E5D5B}"/>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lIns="0" tIns="0" rIns="0" bIns="0" rtlCol="0" anchor="ctr"/>
              <a:lstStyle/>
              <a:p>
                <a:endParaRPr lang="en-US"/>
              </a:p>
            </p:txBody>
          </p:sp>
          <p:sp>
            <p:nvSpPr>
              <p:cNvPr id="568" name="Grafik 23">
                <a:extLst>
                  <a:ext uri="{FF2B5EF4-FFF2-40B4-BE49-F238E27FC236}">
                    <a16:creationId xmlns:a16="http://schemas.microsoft.com/office/drawing/2014/main" id="{A066C839-B5BE-EC53-8D2C-381A48619AB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9525" cap="flat">
                <a:noFill/>
                <a:prstDash val="solid"/>
                <a:miter/>
              </a:ln>
            </p:spPr>
            <p:txBody>
              <a:bodyPr lIns="0" tIns="0" rIns="0" bIns="0" rtlCol="0" anchor="ctr"/>
              <a:lstStyle/>
              <a:p>
                <a:endParaRPr lang="en-US"/>
              </a:p>
            </p:txBody>
          </p:sp>
        </p:grpSp>
      </p:grpSp>
      <p:sp>
        <p:nvSpPr>
          <p:cNvPr id="569" name="Grafik 230">
            <a:extLst>
              <a:ext uri="{FF2B5EF4-FFF2-40B4-BE49-F238E27FC236}">
                <a16:creationId xmlns:a16="http://schemas.microsoft.com/office/drawing/2014/main" id="{D1C0305C-47E9-843F-B715-0565C1873C6B}"/>
              </a:ext>
            </a:extLst>
          </p:cNvPr>
          <p:cNvSpPr/>
          <p:nvPr/>
        </p:nvSpPr>
        <p:spPr bwMode="gray">
          <a:xfrm>
            <a:off x="9942167" y="2941085"/>
            <a:ext cx="374400" cy="374400"/>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solidFill>
            <a:schemeClr val="tx1"/>
          </a:solidFill>
          <a:ln w="9525" cap="flat">
            <a:noFill/>
            <a:prstDash val="solid"/>
            <a:miter/>
          </a:ln>
        </p:spPr>
        <p:txBody>
          <a:bodyPr rtlCol="0" anchor="ctr"/>
          <a:lstStyle/>
          <a:p>
            <a:endParaRPr lang="de-DE"/>
          </a:p>
        </p:txBody>
      </p:sp>
      <p:grpSp>
        <p:nvGrpSpPr>
          <p:cNvPr id="570" name="Grafik 232">
            <a:extLst>
              <a:ext uri="{FF2B5EF4-FFF2-40B4-BE49-F238E27FC236}">
                <a16:creationId xmlns:a16="http://schemas.microsoft.com/office/drawing/2014/main" id="{6537E97B-4AB9-EE04-565F-786AA057A451}"/>
              </a:ext>
            </a:extLst>
          </p:cNvPr>
          <p:cNvGrpSpPr/>
          <p:nvPr/>
        </p:nvGrpSpPr>
        <p:grpSpPr bwMode="gray">
          <a:xfrm>
            <a:off x="9942167" y="3471642"/>
            <a:ext cx="374400" cy="374400"/>
            <a:chOff x="5843587" y="3176587"/>
            <a:chExt cx="500348" cy="500253"/>
          </a:xfrm>
          <a:solidFill>
            <a:schemeClr val="tx1"/>
          </a:solidFill>
        </p:grpSpPr>
        <p:sp>
          <p:nvSpPr>
            <p:cNvPr id="571" name="Grafik 232">
              <a:extLst>
                <a:ext uri="{FF2B5EF4-FFF2-40B4-BE49-F238E27FC236}">
                  <a16:creationId xmlns:a16="http://schemas.microsoft.com/office/drawing/2014/main" id="{363A89C3-C114-321A-3674-489BA2C203C8}"/>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572" name="Grafik 232">
              <a:extLst>
                <a:ext uri="{FF2B5EF4-FFF2-40B4-BE49-F238E27FC236}">
                  <a16:creationId xmlns:a16="http://schemas.microsoft.com/office/drawing/2014/main" id="{91B25E35-3557-76EE-AFAE-3525C1810F6A}"/>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573" name="Grafik 234">
            <a:extLst>
              <a:ext uri="{FF2B5EF4-FFF2-40B4-BE49-F238E27FC236}">
                <a16:creationId xmlns:a16="http://schemas.microsoft.com/office/drawing/2014/main" id="{E07204B6-71A1-8590-F333-026540753C32}"/>
              </a:ext>
            </a:extLst>
          </p:cNvPr>
          <p:cNvGrpSpPr/>
          <p:nvPr/>
        </p:nvGrpSpPr>
        <p:grpSpPr bwMode="gray">
          <a:xfrm>
            <a:off x="9942167" y="3994579"/>
            <a:ext cx="374400" cy="374400"/>
            <a:chOff x="5843578" y="3209925"/>
            <a:chExt cx="500356" cy="435578"/>
          </a:xfrm>
          <a:solidFill>
            <a:schemeClr val="tx1"/>
          </a:solidFill>
        </p:grpSpPr>
        <p:sp>
          <p:nvSpPr>
            <p:cNvPr id="574" name="Grafik 234">
              <a:extLst>
                <a:ext uri="{FF2B5EF4-FFF2-40B4-BE49-F238E27FC236}">
                  <a16:creationId xmlns:a16="http://schemas.microsoft.com/office/drawing/2014/main" id="{E320B3F8-BA77-0ECF-67C4-1584BE3B8637}"/>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5" name="Grafik 234">
              <a:extLst>
                <a:ext uri="{FF2B5EF4-FFF2-40B4-BE49-F238E27FC236}">
                  <a16:creationId xmlns:a16="http://schemas.microsoft.com/office/drawing/2014/main" id="{2C3A7F15-A73C-F240-49C6-0E412D213C48}"/>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76" name="Grafik 234">
              <a:extLst>
                <a:ext uri="{FF2B5EF4-FFF2-40B4-BE49-F238E27FC236}">
                  <a16:creationId xmlns:a16="http://schemas.microsoft.com/office/drawing/2014/main" id="{E926137C-402B-44D2-3FD1-4541D04FC14F}"/>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grpSp>
        <p:nvGrpSpPr>
          <p:cNvPr id="577" name="Grafik 236">
            <a:extLst>
              <a:ext uri="{FF2B5EF4-FFF2-40B4-BE49-F238E27FC236}">
                <a16:creationId xmlns:a16="http://schemas.microsoft.com/office/drawing/2014/main" id="{0523B747-F7FE-4010-38B7-A4F5763BE263}"/>
              </a:ext>
            </a:extLst>
          </p:cNvPr>
          <p:cNvGrpSpPr/>
          <p:nvPr/>
        </p:nvGrpSpPr>
        <p:grpSpPr bwMode="gray">
          <a:xfrm>
            <a:off x="9942167" y="4509896"/>
            <a:ext cx="374400" cy="374400"/>
            <a:chOff x="5843578" y="3209925"/>
            <a:chExt cx="500356" cy="435578"/>
          </a:xfrm>
          <a:solidFill>
            <a:schemeClr val="tx1"/>
          </a:solidFill>
        </p:grpSpPr>
        <p:sp>
          <p:nvSpPr>
            <p:cNvPr id="578" name="Grafik 236">
              <a:extLst>
                <a:ext uri="{FF2B5EF4-FFF2-40B4-BE49-F238E27FC236}">
                  <a16:creationId xmlns:a16="http://schemas.microsoft.com/office/drawing/2014/main" id="{F5738683-7B02-B42D-B693-1BA9DD1A162A}"/>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9" name="Grafik 236">
              <a:extLst>
                <a:ext uri="{FF2B5EF4-FFF2-40B4-BE49-F238E27FC236}">
                  <a16:creationId xmlns:a16="http://schemas.microsoft.com/office/drawing/2014/main" id="{64013FA8-6161-3515-7636-29E014E4DC82}"/>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80" name="Grafik 236">
              <a:extLst>
                <a:ext uri="{FF2B5EF4-FFF2-40B4-BE49-F238E27FC236}">
                  <a16:creationId xmlns:a16="http://schemas.microsoft.com/office/drawing/2014/main" id="{92CE0396-D2DB-DAAD-1A5D-31D43096C010}"/>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nvGrpSpPr>
            <p:cNvPr id="581" name="Grafik 236">
              <a:extLst>
                <a:ext uri="{FF2B5EF4-FFF2-40B4-BE49-F238E27FC236}">
                  <a16:creationId xmlns:a16="http://schemas.microsoft.com/office/drawing/2014/main" id="{47C93D99-886F-CB01-1AA7-8C4E63FEC1CC}"/>
                </a:ext>
              </a:extLst>
            </p:cNvPr>
            <p:cNvGrpSpPr/>
            <p:nvPr/>
          </p:nvGrpSpPr>
          <p:grpSpPr bwMode="gray">
            <a:xfrm>
              <a:off x="6021632" y="3454241"/>
              <a:ext cx="143833" cy="142684"/>
              <a:chOff x="6021632" y="3454241"/>
              <a:chExt cx="143833" cy="142684"/>
            </a:xfrm>
            <a:grpFill/>
          </p:grpSpPr>
          <p:sp>
            <p:nvSpPr>
              <p:cNvPr id="582" name="Grafik 236">
                <a:extLst>
                  <a:ext uri="{FF2B5EF4-FFF2-40B4-BE49-F238E27FC236}">
                    <a16:creationId xmlns:a16="http://schemas.microsoft.com/office/drawing/2014/main" id="{F8CA0825-9C68-F062-E972-2916EB0EEECB}"/>
                  </a:ext>
                </a:extLst>
              </p:cNvPr>
              <p:cNvSpPr/>
              <p:nvPr/>
            </p:nvSpPr>
            <p:spPr bwMode="gray">
              <a:xfrm>
                <a:off x="6056519" y="3489197"/>
                <a:ext cx="67457" cy="72675"/>
              </a:xfrm>
              <a:custGeom>
                <a:avLst/>
                <a:gdLst>
                  <a:gd name="connsiteX0" fmla="*/ 30622 w 67457"/>
                  <a:gd name="connsiteY0" fmla="*/ 72676 h 72675"/>
                  <a:gd name="connsiteX1" fmla="*/ 8714 w 67457"/>
                  <a:gd name="connsiteY1" fmla="*/ 63151 h 72675"/>
                  <a:gd name="connsiteX2" fmla="*/ 142 w 67457"/>
                  <a:gd name="connsiteY2" fmla="*/ 35719 h 72675"/>
                  <a:gd name="connsiteX3" fmla="*/ 35765 w 67457"/>
                  <a:gd name="connsiteY3" fmla="*/ 0 h 72675"/>
                  <a:gd name="connsiteX4" fmla="*/ 58625 w 67457"/>
                  <a:gd name="connsiteY4" fmla="*/ 10001 h 72675"/>
                  <a:gd name="connsiteX5" fmla="*/ 67293 w 67457"/>
                  <a:gd name="connsiteY5" fmla="*/ 36957 h 72675"/>
                  <a:gd name="connsiteX6" fmla="*/ 67293 w 67457"/>
                  <a:gd name="connsiteY6" fmla="*/ 36957 h 72675"/>
                  <a:gd name="connsiteX7" fmla="*/ 30622 w 67457"/>
                  <a:gd name="connsiteY7" fmla="*/ 72676 h 72675"/>
                  <a:gd name="connsiteX8" fmla="*/ 35861 w 67457"/>
                  <a:gd name="connsiteY8" fmla="*/ 14383 h 72675"/>
                  <a:gd name="connsiteX9" fmla="*/ 14525 w 67457"/>
                  <a:gd name="connsiteY9" fmla="*/ 37052 h 72675"/>
                  <a:gd name="connsiteX10" fmla="*/ 19382 w 67457"/>
                  <a:gd name="connsiteY10" fmla="*/ 53626 h 72675"/>
                  <a:gd name="connsiteX11" fmla="*/ 30717 w 67457"/>
                  <a:gd name="connsiteY11" fmla="*/ 58483 h 72675"/>
                  <a:gd name="connsiteX12" fmla="*/ 53196 w 67457"/>
                  <a:gd name="connsiteY12" fmla="*/ 35814 h 72675"/>
                  <a:gd name="connsiteX13" fmla="*/ 53196 w 67457"/>
                  <a:gd name="connsiteY13" fmla="*/ 35814 h 72675"/>
                  <a:gd name="connsiteX14" fmla="*/ 48243 w 67457"/>
                  <a:gd name="connsiteY14" fmla="*/ 19812 h 72675"/>
                  <a:gd name="connsiteX15" fmla="*/ 35861 w 67457"/>
                  <a:gd name="connsiteY15" fmla="*/ 14383 h 72675"/>
                  <a:gd name="connsiteX16" fmla="*/ 60245 w 67457"/>
                  <a:gd name="connsiteY16" fmla="*/ 36385 h 72675"/>
                  <a:gd name="connsiteX17" fmla="*/ 60245 w 67457"/>
                  <a:gd name="connsiteY17" fmla="*/ 36385 h 72675"/>
                  <a:gd name="connsiteX18" fmla="*/ 60245 w 67457"/>
                  <a:gd name="connsiteY18" fmla="*/ 36385 h 7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457" h="72675">
                    <a:moveTo>
                      <a:pt x="30622" y="72676"/>
                    </a:moveTo>
                    <a:cubicBezTo>
                      <a:pt x="22145" y="72676"/>
                      <a:pt x="14334" y="69342"/>
                      <a:pt x="8714" y="63151"/>
                    </a:cubicBezTo>
                    <a:cubicBezTo>
                      <a:pt x="2333" y="56198"/>
                      <a:pt x="-715" y="46196"/>
                      <a:pt x="142" y="35719"/>
                    </a:cubicBezTo>
                    <a:cubicBezTo>
                      <a:pt x="1952" y="15716"/>
                      <a:pt x="17573" y="0"/>
                      <a:pt x="35765" y="0"/>
                    </a:cubicBezTo>
                    <a:cubicBezTo>
                      <a:pt x="44528" y="0"/>
                      <a:pt x="52625" y="3620"/>
                      <a:pt x="58625" y="10001"/>
                    </a:cubicBezTo>
                    <a:cubicBezTo>
                      <a:pt x="65007" y="17050"/>
                      <a:pt x="68246" y="26860"/>
                      <a:pt x="67293" y="36957"/>
                    </a:cubicBezTo>
                    <a:lnTo>
                      <a:pt x="67293" y="36957"/>
                    </a:lnTo>
                    <a:cubicBezTo>
                      <a:pt x="65483" y="58007"/>
                      <a:pt x="50434" y="72676"/>
                      <a:pt x="30622" y="72676"/>
                    </a:cubicBezTo>
                    <a:close/>
                    <a:moveTo>
                      <a:pt x="35861" y="14383"/>
                    </a:moveTo>
                    <a:cubicBezTo>
                      <a:pt x="25002" y="14383"/>
                      <a:pt x="15668" y="24384"/>
                      <a:pt x="14525" y="37052"/>
                    </a:cubicBezTo>
                    <a:cubicBezTo>
                      <a:pt x="13953" y="43529"/>
                      <a:pt x="15668" y="49625"/>
                      <a:pt x="19382" y="53626"/>
                    </a:cubicBezTo>
                    <a:cubicBezTo>
                      <a:pt x="22335" y="56769"/>
                      <a:pt x="26240" y="58483"/>
                      <a:pt x="30717" y="58483"/>
                    </a:cubicBezTo>
                    <a:cubicBezTo>
                      <a:pt x="40909" y="58483"/>
                      <a:pt x="51767" y="51435"/>
                      <a:pt x="53196" y="35814"/>
                    </a:cubicBezTo>
                    <a:lnTo>
                      <a:pt x="53196" y="35814"/>
                    </a:lnTo>
                    <a:cubicBezTo>
                      <a:pt x="53768" y="29718"/>
                      <a:pt x="51958" y="23908"/>
                      <a:pt x="48243" y="19812"/>
                    </a:cubicBezTo>
                    <a:cubicBezTo>
                      <a:pt x="44909" y="16288"/>
                      <a:pt x="40528" y="14383"/>
                      <a:pt x="35861" y="14383"/>
                    </a:cubicBezTo>
                    <a:close/>
                    <a:moveTo>
                      <a:pt x="60245" y="36385"/>
                    </a:moveTo>
                    <a:lnTo>
                      <a:pt x="60245" y="36385"/>
                    </a:lnTo>
                    <a:lnTo>
                      <a:pt x="60245" y="36385"/>
                    </a:lnTo>
                    <a:close/>
                  </a:path>
                </a:pathLst>
              </a:custGeom>
              <a:grpFill/>
              <a:ln w="9525" cap="flat">
                <a:noFill/>
                <a:prstDash val="solid"/>
                <a:miter/>
              </a:ln>
            </p:spPr>
            <p:txBody>
              <a:bodyPr rtlCol="0" anchor="ctr"/>
              <a:lstStyle/>
              <a:p>
                <a:endParaRPr lang="de-DE"/>
              </a:p>
            </p:txBody>
          </p:sp>
          <p:sp>
            <p:nvSpPr>
              <p:cNvPr id="583" name="Grafik 236">
                <a:extLst>
                  <a:ext uri="{FF2B5EF4-FFF2-40B4-BE49-F238E27FC236}">
                    <a16:creationId xmlns:a16="http://schemas.microsoft.com/office/drawing/2014/main" id="{3839D46C-D300-47CB-D857-9CE213EFF4F7}"/>
                  </a:ext>
                </a:extLst>
              </p:cNvPr>
              <p:cNvSpPr/>
              <p:nvPr/>
            </p:nvSpPr>
            <p:spPr bwMode="gray">
              <a:xfrm>
                <a:off x="6021632" y="3454241"/>
                <a:ext cx="143833" cy="142684"/>
              </a:xfrm>
              <a:custGeom>
                <a:avLst/>
                <a:gdLst>
                  <a:gd name="connsiteX0" fmla="*/ 66080 w 143833"/>
                  <a:gd name="connsiteY0" fmla="*/ 142685 h 142684"/>
                  <a:gd name="connsiteX1" fmla="*/ 17027 w 143833"/>
                  <a:gd name="connsiteY1" fmla="*/ 121634 h 142684"/>
                  <a:gd name="connsiteX2" fmla="*/ 263 w 143833"/>
                  <a:gd name="connsiteY2" fmla="*/ 70771 h 142684"/>
                  <a:gd name="connsiteX3" fmla="*/ 77415 w 143833"/>
                  <a:gd name="connsiteY3" fmla="*/ 0 h 142684"/>
                  <a:gd name="connsiteX4" fmla="*/ 128564 w 143833"/>
                  <a:gd name="connsiteY4" fmla="*/ 20003 h 142684"/>
                  <a:gd name="connsiteX5" fmla="*/ 143519 w 143833"/>
                  <a:gd name="connsiteY5" fmla="*/ 68961 h 142684"/>
                  <a:gd name="connsiteX6" fmla="*/ 127802 w 143833"/>
                  <a:gd name="connsiteY6" fmla="*/ 101727 h 142684"/>
                  <a:gd name="connsiteX7" fmla="*/ 107324 w 143833"/>
                  <a:gd name="connsiteY7" fmla="*/ 107537 h 142684"/>
                  <a:gd name="connsiteX8" fmla="*/ 87607 w 143833"/>
                  <a:gd name="connsiteY8" fmla="*/ 76676 h 142684"/>
                  <a:gd name="connsiteX9" fmla="*/ 90750 w 143833"/>
                  <a:gd name="connsiteY9" fmla="*/ 41529 h 142684"/>
                  <a:gd name="connsiteX10" fmla="*/ 98465 w 143833"/>
                  <a:gd name="connsiteY10" fmla="*/ 35052 h 142684"/>
                  <a:gd name="connsiteX11" fmla="*/ 104942 w 143833"/>
                  <a:gd name="connsiteY11" fmla="*/ 42767 h 142684"/>
                  <a:gd name="connsiteX12" fmla="*/ 101799 w 143833"/>
                  <a:gd name="connsiteY12" fmla="*/ 77915 h 142684"/>
                  <a:gd name="connsiteX13" fmla="*/ 109705 w 143833"/>
                  <a:gd name="connsiteY13" fmla="*/ 93440 h 142684"/>
                  <a:gd name="connsiteX14" fmla="*/ 118944 w 143833"/>
                  <a:gd name="connsiteY14" fmla="*/ 90297 h 142684"/>
                  <a:gd name="connsiteX15" fmla="*/ 129136 w 143833"/>
                  <a:gd name="connsiteY15" fmla="*/ 67628 h 142684"/>
                  <a:gd name="connsiteX16" fmla="*/ 117896 w 143833"/>
                  <a:gd name="connsiteY16" fmla="*/ 29528 h 142684"/>
                  <a:gd name="connsiteX17" fmla="*/ 77320 w 143833"/>
                  <a:gd name="connsiteY17" fmla="*/ 14192 h 142684"/>
                  <a:gd name="connsiteX18" fmla="*/ 14360 w 143833"/>
                  <a:gd name="connsiteY18" fmla="*/ 71914 h 142684"/>
                  <a:gd name="connsiteX19" fmla="*/ 27409 w 143833"/>
                  <a:gd name="connsiteY19" fmla="*/ 111919 h 142684"/>
                  <a:gd name="connsiteX20" fmla="*/ 65985 w 143833"/>
                  <a:gd name="connsiteY20" fmla="*/ 128397 h 142684"/>
                  <a:gd name="connsiteX21" fmla="*/ 92274 w 143833"/>
                  <a:gd name="connsiteY21" fmla="*/ 123635 h 142684"/>
                  <a:gd name="connsiteX22" fmla="*/ 101609 w 143833"/>
                  <a:gd name="connsiteY22" fmla="*/ 127444 h 142684"/>
                  <a:gd name="connsiteX23" fmla="*/ 97799 w 143833"/>
                  <a:gd name="connsiteY23" fmla="*/ 136779 h 142684"/>
                  <a:gd name="connsiteX24" fmla="*/ 66080 w 143833"/>
                  <a:gd name="connsiteY24" fmla="*/ 142685 h 14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833" h="142684">
                    <a:moveTo>
                      <a:pt x="66080" y="142685"/>
                    </a:moveTo>
                    <a:cubicBezTo>
                      <a:pt x="46840" y="142685"/>
                      <a:pt x="29409" y="135160"/>
                      <a:pt x="17027" y="121634"/>
                    </a:cubicBezTo>
                    <a:cubicBezTo>
                      <a:pt x="4549" y="108014"/>
                      <a:pt x="-1357" y="89916"/>
                      <a:pt x="263" y="70771"/>
                    </a:cubicBezTo>
                    <a:cubicBezTo>
                      <a:pt x="3692" y="31814"/>
                      <a:pt x="38267" y="0"/>
                      <a:pt x="77415" y="0"/>
                    </a:cubicBezTo>
                    <a:cubicBezTo>
                      <a:pt x="98942" y="0"/>
                      <a:pt x="116563" y="6953"/>
                      <a:pt x="128564" y="20003"/>
                    </a:cubicBezTo>
                    <a:cubicBezTo>
                      <a:pt x="139899" y="32385"/>
                      <a:pt x="145233" y="49816"/>
                      <a:pt x="143519" y="68961"/>
                    </a:cubicBezTo>
                    <a:cubicBezTo>
                      <a:pt x="141899" y="87249"/>
                      <a:pt x="134089" y="96869"/>
                      <a:pt x="127802" y="101727"/>
                    </a:cubicBezTo>
                    <a:cubicBezTo>
                      <a:pt x="121516" y="106490"/>
                      <a:pt x="113896" y="108680"/>
                      <a:pt x="107324" y="107537"/>
                    </a:cubicBezTo>
                    <a:cubicBezTo>
                      <a:pt x="97132" y="105728"/>
                      <a:pt x="85892" y="96584"/>
                      <a:pt x="87607" y="76676"/>
                    </a:cubicBezTo>
                    <a:lnTo>
                      <a:pt x="90750" y="41529"/>
                    </a:lnTo>
                    <a:cubicBezTo>
                      <a:pt x="91131" y="37624"/>
                      <a:pt x="94655" y="34766"/>
                      <a:pt x="98465" y="35052"/>
                    </a:cubicBezTo>
                    <a:cubicBezTo>
                      <a:pt x="102371" y="35433"/>
                      <a:pt x="105323" y="38862"/>
                      <a:pt x="104942" y="42767"/>
                    </a:cubicBezTo>
                    <a:lnTo>
                      <a:pt x="101799" y="77915"/>
                    </a:lnTo>
                    <a:cubicBezTo>
                      <a:pt x="101037" y="86773"/>
                      <a:pt x="103895" y="92392"/>
                      <a:pt x="109705" y="93440"/>
                    </a:cubicBezTo>
                    <a:cubicBezTo>
                      <a:pt x="111800" y="93821"/>
                      <a:pt x="115515" y="92964"/>
                      <a:pt x="118944" y="90297"/>
                    </a:cubicBezTo>
                    <a:cubicBezTo>
                      <a:pt x="122945" y="87249"/>
                      <a:pt x="127993" y="80772"/>
                      <a:pt x="129136" y="67628"/>
                    </a:cubicBezTo>
                    <a:cubicBezTo>
                      <a:pt x="130469" y="52292"/>
                      <a:pt x="126564" y="39148"/>
                      <a:pt x="117896" y="29528"/>
                    </a:cubicBezTo>
                    <a:cubicBezTo>
                      <a:pt x="108657" y="19431"/>
                      <a:pt x="94655" y="14192"/>
                      <a:pt x="77320" y="14192"/>
                    </a:cubicBezTo>
                    <a:cubicBezTo>
                      <a:pt x="45411" y="14192"/>
                      <a:pt x="17122" y="40100"/>
                      <a:pt x="14360" y="71914"/>
                    </a:cubicBezTo>
                    <a:cubicBezTo>
                      <a:pt x="13026" y="87059"/>
                      <a:pt x="17693" y="101251"/>
                      <a:pt x="27409" y="111919"/>
                    </a:cubicBezTo>
                    <a:cubicBezTo>
                      <a:pt x="37124" y="122491"/>
                      <a:pt x="50840" y="128397"/>
                      <a:pt x="65985" y="128397"/>
                    </a:cubicBezTo>
                    <a:cubicBezTo>
                      <a:pt x="76558" y="128397"/>
                      <a:pt x="82463" y="127730"/>
                      <a:pt x="92274" y="123635"/>
                    </a:cubicBezTo>
                    <a:cubicBezTo>
                      <a:pt x="95894" y="122111"/>
                      <a:pt x="100085" y="123825"/>
                      <a:pt x="101609" y="127444"/>
                    </a:cubicBezTo>
                    <a:cubicBezTo>
                      <a:pt x="103133" y="131064"/>
                      <a:pt x="101418" y="135255"/>
                      <a:pt x="97799" y="136779"/>
                    </a:cubicBezTo>
                    <a:cubicBezTo>
                      <a:pt x="85988" y="141827"/>
                      <a:pt x="78177" y="142685"/>
                      <a:pt x="66080" y="142685"/>
                    </a:cubicBezTo>
                    <a:close/>
                  </a:path>
                </a:pathLst>
              </a:custGeom>
              <a:grpFill/>
              <a:ln w="9525" cap="flat">
                <a:noFill/>
                <a:prstDash val="solid"/>
                <a:miter/>
              </a:ln>
            </p:spPr>
            <p:txBody>
              <a:bodyPr rtlCol="0" anchor="ctr"/>
              <a:lstStyle/>
              <a:p>
                <a:endParaRPr lang="de-DE"/>
              </a:p>
            </p:txBody>
          </p:sp>
        </p:grpSp>
      </p:grpSp>
      <p:grpSp>
        <p:nvGrpSpPr>
          <p:cNvPr id="584" name="Grafik 238">
            <a:extLst>
              <a:ext uri="{FF2B5EF4-FFF2-40B4-BE49-F238E27FC236}">
                <a16:creationId xmlns:a16="http://schemas.microsoft.com/office/drawing/2014/main" id="{07940AA6-20BE-C7AF-0478-1F2559BB4B76}"/>
              </a:ext>
            </a:extLst>
          </p:cNvPr>
          <p:cNvGrpSpPr/>
          <p:nvPr/>
        </p:nvGrpSpPr>
        <p:grpSpPr bwMode="gray">
          <a:xfrm>
            <a:off x="9942167" y="5086173"/>
            <a:ext cx="374400" cy="374400"/>
            <a:chOff x="5843587" y="3176587"/>
            <a:chExt cx="500253" cy="500253"/>
          </a:xfrm>
          <a:solidFill>
            <a:schemeClr val="tx1"/>
          </a:solidFill>
        </p:grpSpPr>
        <p:sp>
          <p:nvSpPr>
            <p:cNvPr id="585" name="Grafik 238">
              <a:extLst>
                <a:ext uri="{FF2B5EF4-FFF2-40B4-BE49-F238E27FC236}">
                  <a16:creationId xmlns:a16="http://schemas.microsoft.com/office/drawing/2014/main" id="{585B32FB-6027-DCCF-F8EB-4A540787402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86" name="Grafik 238">
              <a:extLst>
                <a:ext uri="{FF2B5EF4-FFF2-40B4-BE49-F238E27FC236}">
                  <a16:creationId xmlns:a16="http://schemas.microsoft.com/office/drawing/2014/main" id="{3CB51F9B-B8C5-B65D-0451-8B1DF7159C2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87" name="Grafik 238">
              <a:extLst>
                <a:ext uri="{FF2B5EF4-FFF2-40B4-BE49-F238E27FC236}">
                  <a16:creationId xmlns:a16="http://schemas.microsoft.com/office/drawing/2014/main" id="{5BBA2861-5CFB-47AC-B7F6-34EDAFDF36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8" name="Grafik 238">
              <a:extLst>
                <a:ext uri="{FF2B5EF4-FFF2-40B4-BE49-F238E27FC236}">
                  <a16:creationId xmlns:a16="http://schemas.microsoft.com/office/drawing/2014/main" id="{BC581B1C-9699-2CB3-1670-DE04421232E9}"/>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9" name="Grafik 238">
              <a:extLst>
                <a:ext uri="{FF2B5EF4-FFF2-40B4-BE49-F238E27FC236}">
                  <a16:creationId xmlns:a16="http://schemas.microsoft.com/office/drawing/2014/main" id="{33D889C4-3B62-04C5-AD27-7FB0E904BB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590" name="Grafik 238">
              <a:extLst>
                <a:ext uri="{FF2B5EF4-FFF2-40B4-BE49-F238E27FC236}">
                  <a16:creationId xmlns:a16="http://schemas.microsoft.com/office/drawing/2014/main" id="{FCFD72BE-A114-6973-DE7C-179AD32176AB}"/>
                </a:ext>
              </a:extLst>
            </p:cNvPr>
            <p:cNvGrpSpPr/>
            <p:nvPr/>
          </p:nvGrpSpPr>
          <p:grpSpPr bwMode="gray">
            <a:xfrm>
              <a:off x="5973222" y="3516748"/>
              <a:ext cx="199167" cy="95321"/>
              <a:chOff x="5973222" y="3516748"/>
              <a:chExt cx="199167" cy="95321"/>
            </a:xfrm>
            <a:grpFill/>
          </p:grpSpPr>
          <p:sp>
            <p:nvSpPr>
              <p:cNvPr id="597" name="Grafik 238">
                <a:extLst>
                  <a:ext uri="{FF2B5EF4-FFF2-40B4-BE49-F238E27FC236}">
                    <a16:creationId xmlns:a16="http://schemas.microsoft.com/office/drawing/2014/main" id="{3B046852-EED5-50ED-8C2F-6358FF718096}"/>
                  </a:ext>
                </a:extLst>
              </p:cNvPr>
              <p:cNvSpPr/>
              <p:nvPr/>
            </p:nvSpPr>
            <p:spPr bwMode="gray">
              <a:xfrm>
                <a:off x="6112215" y="3516748"/>
                <a:ext cx="60174" cy="37218"/>
              </a:xfrm>
              <a:custGeom>
                <a:avLst/>
                <a:gdLst>
                  <a:gd name="connsiteX0" fmla="*/ 53030 w 60174"/>
                  <a:gd name="connsiteY0" fmla="*/ 37219 h 37218"/>
                  <a:gd name="connsiteX1" fmla="*/ 47982 w 60174"/>
                  <a:gd name="connsiteY1" fmla="*/ 35123 h 37218"/>
                  <a:gd name="connsiteX2" fmla="*/ 30075 w 60174"/>
                  <a:gd name="connsiteY2" fmla="*/ 17216 h 37218"/>
                  <a:gd name="connsiteX3" fmla="*/ 12168 w 60174"/>
                  <a:gd name="connsiteY3" fmla="*/ 35123 h 37218"/>
                  <a:gd name="connsiteX4" fmla="*/ 2072 w 60174"/>
                  <a:gd name="connsiteY4" fmla="*/ 35123 h 37218"/>
                  <a:gd name="connsiteX5" fmla="*/ 2072 w 60174"/>
                  <a:gd name="connsiteY5" fmla="*/ 25027 h 37218"/>
                  <a:gd name="connsiteX6" fmla="*/ 25027 w 60174"/>
                  <a:gd name="connsiteY6" fmla="*/ 2072 h 37218"/>
                  <a:gd name="connsiteX7" fmla="*/ 35123 w 60174"/>
                  <a:gd name="connsiteY7" fmla="*/ 2072 h 37218"/>
                  <a:gd name="connsiteX8" fmla="*/ 58079 w 60174"/>
                  <a:gd name="connsiteY8" fmla="*/ 25027 h 37218"/>
                  <a:gd name="connsiteX9" fmla="*/ 60174 w 60174"/>
                  <a:gd name="connsiteY9" fmla="*/ 30075 h 37218"/>
                  <a:gd name="connsiteX10" fmla="*/ 58079 w 60174"/>
                  <a:gd name="connsiteY10" fmla="*/ 35123 h 37218"/>
                  <a:gd name="connsiteX11" fmla="*/ 53030 w 60174"/>
                  <a:gd name="connsiteY11"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74"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59507" y="26456"/>
                      <a:pt x="60174" y="28265"/>
                      <a:pt x="60174" y="30075"/>
                    </a:cubicBezTo>
                    <a:cubicBezTo>
                      <a:pt x="60174" y="31885"/>
                      <a:pt x="59507" y="33695"/>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8" name="Grafik 238">
                <a:extLst>
                  <a:ext uri="{FF2B5EF4-FFF2-40B4-BE49-F238E27FC236}">
                    <a16:creationId xmlns:a16="http://schemas.microsoft.com/office/drawing/2014/main" id="{714E826A-1F07-26A8-05B0-B2DDFA7236BF}"/>
                  </a:ext>
                </a:extLst>
              </p:cNvPr>
              <p:cNvSpPr/>
              <p:nvPr/>
            </p:nvSpPr>
            <p:spPr bwMode="gray">
              <a:xfrm>
                <a:off x="5973222" y="3516820"/>
                <a:ext cx="176212" cy="95250"/>
              </a:xfrm>
              <a:custGeom>
                <a:avLst/>
                <a:gdLst>
                  <a:gd name="connsiteX0" fmla="*/ 88106 w 176212"/>
                  <a:gd name="connsiteY0" fmla="*/ 95250 h 95250"/>
                  <a:gd name="connsiteX1" fmla="*/ 0 w 176212"/>
                  <a:gd name="connsiteY1" fmla="*/ 7144 h 95250"/>
                  <a:gd name="connsiteX2" fmla="*/ 7144 w 176212"/>
                  <a:gd name="connsiteY2" fmla="*/ 0 h 95250"/>
                  <a:gd name="connsiteX3" fmla="*/ 14288 w 176212"/>
                  <a:gd name="connsiteY3" fmla="*/ 7144 h 95250"/>
                  <a:gd name="connsiteX4" fmla="*/ 88106 w 176212"/>
                  <a:gd name="connsiteY4" fmla="*/ 80963 h 95250"/>
                  <a:gd name="connsiteX5" fmla="*/ 161925 w 176212"/>
                  <a:gd name="connsiteY5" fmla="*/ 7144 h 95250"/>
                  <a:gd name="connsiteX6" fmla="*/ 169069 w 176212"/>
                  <a:gd name="connsiteY6" fmla="*/ 0 h 95250"/>
                  <a:gd name="connsiteX7" fmla="*/ 176213 w 176212"/>
                  <a:gd name="connsiteY7" fmla="*/ 7144 h 95250"/>
                  <a:gd name="connsiteX8" fmla="*/ 88106 w 176212"/>
                  <a:gd name="connsiteY8"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212" h="95250">
                    <a:moveTo>
                      <a:pt x="88106" y="95250"/>
                    </a:moveTo>
                    <a:cubicBezTo>
                      <a:pt x="39529" y="95250"/>
                      <a:pt x="0" y="55721"/>
                      <a:pt x="0" y="7144"/>
                    </a:cubicBezTo>
                    <a:cubicBezTo>
                      <a:pt x="0" y="3239"/>
                      <a:pt x="3239" y="0"/>
                      <a:pt x="7144" y="0"/>
                    </a:cubicBezTo>
                    <a:cubicBezTo>
                      <a:pt x="11049" y="0"/>
                      <a:pt x="14288" y="3239"/>
                      <a:pt x="14288" y="7144"/>
                    </a:cubicBezTo>
                    <a:cubicBezTo>
                      <a:pt x="14288" y="47911"/>
                      <a:pt x="47435" y="80963"/>
                      <a:pt x="88106" y="80963"/>
                    </a:cubicBezTo>
                    <a:cubicBezTo>
                      <a:pt x="128778" y="80963"/>
                      <a:pt x="161925" y="47816"/>
                      <a:pt x="161925" y="7144"/>
                    </a:cubicBezTo>
                    <a:cubicBezTo>
                      <a:pt x="161925" y="3239"/>
                      <a:pt x="165164" y="0"/>
                      <a:pt x="169069" y="0"/>
                    </a:cubicBezTo>
                    <a:cubicBezTo>
                      <a:pt x="172974" y="0"/>
                      <a:pt x="176213" y="3239"/>
                      <a:pt x="176213" y="7144"/>
                    </a:cubicBezTo>
                    <a:cubicBezTo>
                      <a:pt x="176213" y="55721"/>
                      <a:pt x="136684" y="95250"/>
                      <a:pt x="88106" y="95250"/>
                    </a:cubicBezTo>
                    <a:close/>
                  </a:path>
                </a:pathLst>
              </a:custGeom>
              <a:grpFill/>
              <a:ln w="9525" cap="flat">
                <a:noFill/>
                <a:prstDash val="solid"/>
                <a:miter/>
              </a:ln>
            </p:spPr>
            <p:txBody>
              <a:bodyPr rtlCol="0" anchor="ctr"/>
              <a:lstStyle/>
              <a:p>
                <a:endParaRPr lang="de-DE"/>
              </a:p>
            </p:txBody>
          </p:sp>
        </p:grpSp>
        <p:grpSp>
          <p:nvGrpSpPr>
            <p:cNvPr id="591" name="Grafik 238">
              <a:extLst>
                <a:ext uri="{FF2B5EF4-FFF2-40B4-BE49-F238E27FC236}">
                  <a16:creationId xmlns:a16="http://schemas.microsoft.com/office/drawing/2014/main" id="{69A5F121-2C70-D88E-AE96-73CE6AA16C0C}"/>
                </a:ext>
              </a:extLst>
            </p:cNvPr>
            <p:cNvGrpSpPr/>
            <p:nvPr/>
          </p:nvGrpSpPr>
          <p:grpSpPr bwMode="gray">
            <a:xfrm>
              <a:off x="6112215" y="3306150"/>
              <a:ext cx="60150" cy="176283"/>
              <a:chOff x="6112215" y="3306150"/>
              <a:chExt cx="60150" cy="176283"/>
            </a:xfrm>
            <a:grpFill/>
          </p:grpSpPr>
          <p:sp>
            <p:nvSpPr>
              <p:cNvPr id="595" name="Grafik 238">
                <a:extLst>
                  <a:ext uri="{FF2B5EF4-FFF2-40B4-BE49-F238E27FC236}">
                    <a16:creationId xmlns:a16="http://schemas.microsoft.com/office/drawing/2014/main" id="{50A9FCF8-890E-BC48-048A-32D699551618}"/>
                  </a:ext>
                </a:extLst>
              </p:cNvPr>
              <p:cNvSpPr/>
              <p:nvPr/>
            </p:nvSpPr>
            <p:spPr bwMode="gray">
              <a:xfrm>
                <a:off x="6112215" y="3306150"/>
                <a:ext cx="60150" cy="37218"/>
              </a:xfrm>
              <a:custGeom>
                <a:avLst/>
                <a:gdLst>
                  <a:gd name="connsiteX0" fmla="*/ 53030 w 60150"/>
                  <a:gd name="connsiteY0" fmla="*/ 37219 h 37218"/>
                  <a:gd name="connsiteX1" fmla="*/ 47982 w 60150"/>
                  <a:gd name="connsiteY1" fmla="*/ 35123 h 37218"/>
                  <a:gd name="connsiteX2" fmla="*/ 30075 w 60150"/>
                  <a:gd name="connsiteY2" fmla="*/ 17216 h 37218"/>
                  <a:gd name="connsiteX3" fmla="*/ 12168 w 60150"/>
                  <a:gd name="connsiteY3" fmla="*/ 35123 h 37218"/>
                  <a:gd name="connsiteX4" fmla="*/ 2072 w 60150"/>
                  <a:gd name="connsiteY4" fmla="*/ 35123 h 37218"/>
                  <a:gd name="connsiteX5" fmla="*/ 2072 w 60150"/>
                  <a:gd name="connsiteY5" fmla="*/ 25027 h 37218"/>
                  <a:gd name="connsiteX6" fmla="*/ 25027 w 60150"/>
                  <a:gd name="connsiteY6" fmla="*/ 2072 h 37218"/>
                  <a:gd name="connsiteX7" fmla="*/ 35123 w 60150"/>
                  <a:gd name="connsiteY7" fmla="*/ 2072 h 37218"/>
                  <a:gd name="connsiteX8" fmla="*/ 58079 w 60150"/>
                  <a:gd name="connsiteY8" fmla="*/ 25027 h 37218"/>
                  <a:gd name="connsiteX9" fmla="*/ 58079 w 60150"/>
                  <a:gd name="connsiteY9" fmla="*/ 35123 h 37218"/>
                  <a:gd name="connsiteX10" fmla="*/ 53030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60841" y="27789"/>
                      <a:pt x="60841" y="32361"/>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6" name="Grafik 238">
                <a:extLst>
                  <a:ext uri="{FF2B5EF4-FFF2-40B4-BE49-F238E27FC236}">
                    <a16:creationId xmlns:a16="http://schemas.microsoft.com/office/drawing/2014/main" id="{BBEBE3AE-A028-A0D4-FB79-4F2A17E60176}"/>
                  </a:ext>
                </a:extLst>
              </p:cNvPr>
              <p:cNvSpPr/>
              <p:nvPr/>
            </p:nvSpPr>
            <p:spPr bwMode="gray">
              <a:xfrm>
                <a:off x="6135147"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144" y="176213"/>
                      <a:pt x="7144" y="176213"/>
                    </a:cubicBezTo>
                    <a:close/>
                  </a:path>
                </a:pathLst>
              </a:custGeom>
              <a:grpFill/>
              <a:ln w="9525" cap="flat">
                <a:noFill/>
                <a:prstDash val="solid"/>
                <a:miter/>
              </a:ln>
            </p:spPr>
            <p:txBody>
              <a:bodyPr rtlCol="0" anchor="ctr"/>
              <a:lstStyle/>
              <a:p>
                <a:endParaRPr lang="de-DE"/>
              </a:p>
            </p:txBody>
          </p:sp>
        </p:grpSp>
        <p:grpSp>
          <p:nvGrpSpPr>
            <p:cNvPr id="592" name="Grafik 238">
              <a:extLst>
                <a:ext uri="{FF2B5EF4-FFF2-40B4-BE49-F238E27FC236}">
                  <a16:creationId xmlns:a16="http://schemas.microsoft.com/office/drawing/2014/main" id="{E94C643F-AA2A-FEBB-6CF4-04E8D7D00039}"/>
                </a:ext>
              </a:extLst>
            </p:cNvPr>
            <p:cNvGrpSpPr/>
            <p:nvPr/>
          </p:nvGrpSpPr>
          <p:grpSpPr bwMode="gray">
            <a:xfrm>
              <a:off x="5950290" y="3306222"/>
              <a:ext cx="60150" cy="176212"/>
              <a:chOff x="5950290" y="3306222"/>
              <a:chExt cx="60150" cy="176212"/>
            </a:xfrm>
            <a:grpFill/>
          </p:grpSpPr>
          <p:sp>
            <p:nvSpPr>
              <p:cNvPr id="593" name="Grafik 238">
                <a:extLst>
                  <a:ext uri="{FF2B5EF4-FFF2-40B4-BE49-F238E27FC236}">
                    <a16:creationId xmlns:a16="http://schemas.microsoft.com/office/drawing/2014/main" id="{921BE45F-D737-E33E-1CD8-D6C0F5C0AD0D}"/>
                  </a:ext>
                </a:extLst>
              </p:cNvPr>
              <p:cNvSpPr/>
              <p:nvPr/>
            </p:nvSpPr>
            <p:spPr bwMode="gray">
              <a:xfrm>
                <a:off x="5950290" y="3445215"/>
                <a:ext cx="60150" cy="37218"/>
              </a:xfrm>
              <a:custGeom>
                <a:avLst/>
                <a:gdLst>
                  <a:gd name="connsiteX0" fmla="*/ 30075 w 60150"/>
                  <a:gd name="connsiteY0" fmla="*/ 37219 h 37218"/>
                  <a:gd name="connsiteX1" fmla="*/ 25027 w 60150"/>
                  <a:gd name="connsiteY1" fmla="*/ 35123 h 37218"/>
                  <a:gd name="connsiteX2" fmla="*/ 2072 w 60150"/>
                  <a:gd name="connsiteY2" fmla="*/ 12168 h 37218"/>
                  <a:gd name="connsiteX3" fmla="*/ 2072 w 60150"/>
                  <a:gd name="connsiteY3" fmla="*/ 2072 h 37218"/>
                  <a:gd name="connsiteX4" fmla="*/ 12168 w 60150"/>
                  <a:gd name="connsiteY4" fmla="*/ 2072 h 37218"/>
                  <a:gd name="connsiteX5" fmla="*/ 30075 w 60150"/>
                  <a:gd name="connsiteY5" fmla="*/ 19979 h 37218"/>
                  <a:gd name="connsiteX6" fmla="*/ 47982 w 60150"/>
                  <a:gd name="connsiteY6" fmla="*/ 2072 h 37218"/>
                  <a:gd name="connsiteX7" fmla="*/ 58079 w 60150"/>
                  <a:gd name="connsiteY7" fmla="*/ 2072 h 37218"/>
                  <a:gd name="connsiteX8" fmla="*/ 58079 w 60150"/>
                  <a:gd name="connsiteY8" fmla="*/ 12168 h 37218"/>
                  <a:gd name="connsiteX9" fmla="*/ 35123 w 60150"/>
                  <a:gd name="connsiteY9" fmla="*/ 35123 h 37218"/>
                  <a:gd name="connsiteX10" fmla="*/ 30075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0075" y="19979"/>
                    </a:lnTo>
                    <a:lnTo>
                      <a:pt x="47982" y="2072"/>
                    </a:lnTo>
                    <a:cubicBezTo>
                      <a:pt x="50744" y="-691"/>
                      <a:pt x="55316" y="-691"/>
                      <a:pt x="58079" y="2072"/>
                    </a:cubicBezTo>
                    <a:cubicBezTo>
                      <a:pt x="60841" y="4834"/>
                      <a:pt x="60841" y="9406"/>
                      <a:pt x="58079" y="12168"/>
                    </a:cubicBezTo>
                    <a:lnTo>
                      <a:pt x="35123" y="35123"/>
                    </a:lnTo>
                    <a:cubicBezTo>
                      <a:pt x="33695" y="36552"/>
                      <a:pt x="31885" y="37219"/>
                      <a:pt x="30075" y="37219"/>
                    </a:cubicBezTo>
                    <a:close/>
                  </a:path>
                </a:pathLst>
              </a:custGeom>
              <a:grpFill/>
              <a:ln w="9525" cap="flat">
                <a:noFill/>
                <a:prstDash val="solid"/>
                <a:miter/>
              </a:ln>
            </p:spPr>
            <p:txBody>
              <a:bodyPr rtlCol="0" anchor="ctr"/>
              <a:lstStyle/>
              <a:p>
                <a:endParaRPr lang="de-DE"/>
              </a:p>
            </p:txBody>
          </p:sp>
          <p:sp>
            <p:nvSpPr>
              <p:cNvPr id="594" name="Grafik 238">
                <a:extLst>
                  <a:ext uri="{FF2B5EF4-FFF2-40B4-BE49-F238E27FC236}">
                    <a16:creationId xmlns:a16="http://schemas.microsoft.com/office/drawing/2014/main" id="{75361895-3F2E-0C0D-FBCD-3140A26F6FB3}"/>
                  </a:ext>
                </a:extLst>
              </p:cNvPr>
              <p:cNvSpPr/>
              <p:nvPr/>
            </p:nvSpPr>
            <p:spPr bwMode="gray">
              <a:xfrm>
                <a:off x="5973222"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grpSp>
      </p:grpSp>
      <p:grpSp>
        <p:nvGrpSpPr>
          <p:cNvPr id="599" name="Grafik 240">
            <a:extLst>
              <a:ext uri="{FF2B5EF4-FFF2-40B4-BE49-F238E27FC236}">
                <a16:creationId xmlns:a16="http://schemas.microsoft.com/office/drawing/2014/main" id="{06DE33AC-3C97-E618-EBEE-6D6F855C6F19}"/>
              </a:ext>
            </a:extLst>
          </p:cNvPr>
          <p:cNvGrpSpPr/>
          <p:nvPr/>
        </p:nvGrpSpPr>
        <p:grpSpPr bwMode="gray">
          <a:xfrm>
            <a:off x="9942167" y="5601488"/>
            <a:ext cx="374400" cy="374400"/>
            <a:chOff x="5843587" y="3176587"/>
            <a:chExt cx="500348" cy="500253"/>
          </a:xfrm>
          <a:solidFill>
            <a:schemeClr val="tx1"/>
          </a:solidFill>
        </p:grpSpPr>
        <p:grpSp>
          <p:nvGrpSpPr>
            <p:cNvPr id="600" name="Grafik 240">
              <a:extLst>
                <a:ext uri="{FF2B5EF4-FFF2-40B4-BE49-F238E27FC236}">
                  <a16:creationId xmlns:a16="http://schemas.microsoft.com/office/drawing/2014/main" id="{36C538F4-8931-92B2-54CF-5F45A6222B23}"/>
                </a:ext>
              </a:extLst>
            </p:cNvPr>
            <p:cNvGrpSpPr/>
            <p:nvPr/>
          </p:nvGrpSpPr>
          <p:grpSpPr bwMode="gray">
            <a:xfrm>
              <a:off x="5937598" y="3244690"/>
              <a:ext cx="312324" cy="121062"/>
              <a:chOff x="5937598" y="3244690"/>
              <a:chExt cx="312324" cy="121062"/>
            </a:xfrm>
            <a:grpFill/>
          </p:grpSpPr>
          <p:sp>
            <p:nvSpPr>
              <p:cNvPr id="608" name="Grafik 240">
                <a:extLst>
                  <a:ext uri="{FF2B5EF4-FFF2-40B4-BE49-F238E27FC236}">
                    <a16:creationId xmlns:a16="http://schemas.microsoft.com/office/drawing/2014/main" id="{F46742B1-FB01-81C2-3B75-B2BCB026FA67}"/>
                  </a:ext>
                </a:extLst>
              </p:cNvPr>
              <p:cNvSpPr/>
              <p:nvPr/>
            </p:nvSpPr>
            <p:spPr bwMode="gray">
              <a:xfrm>
                <a:off x="5985642" y="3247300"/>
                <a:ext cx="222618" cy="118453"/>
              </a:xfrm>
              <a:custGeom>
                <a:avLst/>
                <a:gdLst>
                  <a:gd name="connsiteX0" fmla="*/ 215418 w 222618"/>
                  <a:gd name="connsiteY0" fmla="*/ 118453 h 118453"/>
                  <a:gd name="connsiteX1" fmla="*/ 212275 w 222618"/>
                  <a:gd name="connsiteY1" fmla="*/ 117691 h 118453"/>
                  <a:gd name="connsiteX2" fmla="*/ 3963 w 222618"/>
                  <a:gd name="connsiteY2" fmla="*/ 13583 h 118453"/>
                  <a:gd name="connsiteX3" fmla="*/ 724 w 222618"/>
                  <a:gd name="connsiteY3" fmla="*/ 3963 h 118453"/>
                  <a:gd name="connsiteX4" fmla="*/ 10344 w 222618"/>
                  <a:gd name="connsiteY4" fmla="*/ 724 h 118453"/>
                  <a:gd name="connsiteX5" fmla="*/ 218656 w 222618"/>
                  <a:gd name="connsiteY5" fmla="*/ 104832 h 118453"/>
                  <a:gd name="connsiteX6" fmla="*/ 221895 w 222618"/>
                  <a:gd name="connsiteY6" fmla="*/ 114453 h 118453"/>
                  <a:gd name="connsiteX7" fmla="*/ 215418 w 222618"/>
                  <a:gd name="connsiteY7" fmla="*/ 118453 h 11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18" h="118453">
                    <a:moveTo>
                      <a:pt x="215418" y="118453"/>
                    </a:moveTo>
                    <a:cubicBezTo>
                      <a:pt x="214370" y="118453"/>
                      <a:pt x="213227" y="118167"/>
                      <a:pt x="212275" y="117691"/>
                    </a:cubicBezTo>
                    <a:lnTo>
                      <a:pt x="3963" y="13583"/>
                    </a:lnTo>
                    <a:cubicBezTo>
                      <a:pt x="438" y="11773"/>
                      <a:pt x="-990" y="7487"/>
                      <a:pt x="724" y="3963"/>
                    </a:cubicBezTo>
                    <a:cubicBezTo>
                      <a:pt x="2534" y="438"/>
                      <a:pt x="6820" y="-990"/>
                      <a:pt x="10344" y="724"/>
                    </a:cubicBezTo>
                    <a:lnTo>
                      <a:pt x="218656" y="104832"/>
                    </a:lnTo>
                    <a:cubicBezTo>
                      <a:pt x="222181" y="106642"/>
                      <a:pt x="223609" y="110928"/>
                      <a:pt x="221895" y="114453"/>
                    </a:cubicBezTo>
                    <a:cubicBezTo>
                      <a:pt x="220561" y="117024"/>
                      <a:pt x="218085" y="118453"/>
                      <a:pt x="215418" y="118453"/>
                    </a:cubicBezTo>
                    <a:close/>
                  </a:path>
                </a:pathLst>
              </a:custGeom>
              <a:grpFill/>
              <a:ln w="9525" cap="flat">
                <a:noFill/>
                <a:prstDash val="solid"/>
                <a:miter/>
              </a:ln>
            </p:spPr>
            <p:txBody>
              <a:bodyPr rtlCol="0" anchor="ctr"/>
              <a:lstStyle/>
              <a:p>
                <a:endParaRPr lang="de-DE"/>
              </a:p>
            </p:txBody>
          </p:sp>
          <p:sp>
            <p:nvSpPr>
              <p:cNvPr id="609" name="Grafik 240">
                <a:extLst>
                  <a:ext uri="{FF2B5EF4-FFF2-40B4-BE49-F238E27FC236}">
                    <a16:creationId xmlns:a16="http://schemas.microsoft.com/office/drawing/2014/main" id="{2BD9937C-C996-48CE-ADD3-2991D3F13688}"/>
                  </a:ext>
                </a:extLst>
              </p:cNvPr>
              <p:cNvSpPr/>
              <p:nvPr/>
            </p:nvSpPr>
            <p:spPr bwMode="gray">
              <a:xfrm>
                <a:off x="5985678" y="3247336"/>
                <a:ext cx="222641" cy="118416"/>
              </a:xfrm>
              <a:custGeom>
                <a:avLst/>
                <a:gdLst>
                  <a:gd name="connsiteX0" fmla="*/ 7165 w 222641"/>
                  <a:gd name="connsiteY0" fmla="*/ 118417 h 118416"/>
                  <a:gd name="connsiteX1" fmla="*/ 783 w 222641"/>
                  <a:gd name="connsiteY1" fmla="*/ 114416 h 118416"/>
                  <a:gd name="connsiteX2" fmla="*/ 4022 w 222641"/>
                  <a:gd name="connsiteY2" fmla="*/ 104796 h 118416"/>
                  <a:gd name="connsiteX3" fmla="*/ 212238 w 222641"/>
                  <a:gd name="connsiteY3" fmla="*/ 783 h 118416"/>
                  <a:gd name="connsiteX4" fmla="*/ 221858 w 222641"/>
                  <a:gd name="connsiteY4" fmla="*/ 4022 h 118416"/>
                  <a:gd name="connsiteX5" fmla="*/ 218620 w 222641"/>
                  <a:gd name="connsiteY5" fmla="*/ 13642 h 118416"/>
                  <a:gd name="connsiteX6" fmla="*/ 10308 w 222641"/>
                  <a:gd name="connsiteY6" fmla="*/ 117655 h 118416"/>
                  <a:gd name="connsiteX7" fmla="*/ 7165 w 222641"/>
                  <a:gd name="connsiteY7" fmla="*/ 118417 h 11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41" h="118416">
                    <a:moveTo>
                      <a:pt x="7165" y="118417"/>
                    </a:moveTo>
                    <a:cubicBezTo>
                      <a:pt x="4498" y="118417"/>
                      <a:pt x="2021" y="116988"/>
                      <a:pt x="783" y="114416"/>
                    </a:cubicBezTo>
                    <a:cubicBezTo>
                      <a:pt x="-1027" y="110892"/>
                      <a:pt x="402" y="106606"/>
                      <a:pt x="4022" y="104796"/>
                    </a:cubicBezTo>
                    <a:lnTo>
                      <a:pt x="212238" y="783"/>
                    </a:lnTo>
                    <a:cubicBezTo>
                      <a:pt x="215762" y="-1027"/>
                      <a:pt x="220049" y="402"/>
                      <a:pt x="221858" y="4022"/>
                    </a:cubicBezTo>
                    <a:cubicBezTo>
                      <a:pt x="223668" y="7546"/>
                      <a:pt x="222239" y="11832"/>
                      <a:pt x="218620" y="13642"/>
                    </a:cubicBezTo>
                    <a:lnTo>
                      <a:pt x="10308" y="117655"/>
                    </a:lnTo>
                    <a:cubicBezTo>
                      <a:pt x="9260" y="118226"/>
                      <a:pt x="8213" y="118417"/>
                      <a:pt x="7165" y="118417"/>
                    </a:cubicBezTo>
                    <a:close/>
                  </a:path>
                </a:pathLst>
              </a:custGeom>
              <a:grpFill/>
              <a:ln w="9525" cap="flat">
                <a:noFill/>
                <a:prstDash val="solid"/>
                <a:miter/>
              </a:ln>
            </p:spPr>
            <p:txBody>
              <a:bodyPr rtlCol="0" anchor="ctr"/>
              <a:lstStyle/>
              <a:p>
                <a:endParaRPr lang="de-DE"/>
              </a:p>
            </p:txBody>
          </p:sp>
          <p:sp>
            <p:nvSpPr>
              <p:cNvPr id="610" name="Grafik 240">
                <a:extLst>
                  <a:ext uri="{FF2B5EF4-FFF2-40B4-BE49-F238E27FC236}">
                    <a16:creationId xmlns:a16="http://schemas.microsoft.com/office/drawing/2014/main" id="{6F321126-F02E-6CC9-1144-1C91F1BF15BB}"/>
                  </a:ext>
                </a:extLst>
              </p:cNvPr>
              <p:cNvSpPr/>
              <p:nvPr/>
            </p:nvSpPr>
            <p:spPr bwMode="gray">
              <a:xfrm>
                <a:off x="6194011"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1" name="Grafik 240">
                <a:extLst>
                  <a:ext uri="{FF2B5EF4-FFF2-40B4-BE49-F238E27FC236}">
                    <a16:creationId xmlns:a16="http://schemas.microsoft.com/office/drawing/2014/main" id="{F5BB4BF0-3A7D-2BA0-EB06-70EB5F881346}"/>
                  </a:ext>
                </a:extLst>
              </p:cNvPr>
              <p:cNvSpPr/>
              <p:nvPr/>
            </p:nvSpPr>
            <p:spPr bwMode="gray">
              <a:xfrm>
                <a:off x="5943980"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2" name="Grafik 240">
                <a:extLst>
                  <a:ext uri="{FF2B5EF4-FFF2-40B4-BE49-F238E27FC236}">
                    <a16:creationId xmlns:a16="http://schemas.microsoft.com/office/drawing/2014/main" id="{3B42F961-30D3-8957-B8FF-B6724D7B0684}"/>
                  </a:ext>
                </a:extLst>
              </p:cNvPr>
              <p:cNvSpPr/>
              <p:nvPr/>
            </p:nvSpPr>
            <p:spPr bwMode="gray">
              <a:xfrm>
                <a:off x="6194011"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3" name="Grafik 240">
                <a:extLst>
                  <a:ext uri="{FF2B5EF4-FFF2-40B4-BE49-F238E27FC236}">
                    <a16:creationId xmlns:a16="http://schemas.microsoft.com/office/drawing/2014/main" id="{C39EA9E3-C8FE-EE36-6EA3-85153C22E88E}"/>
                  </a:ext>
                </a:extLst>
              </p:cNvPr>
              <p:cNvSpPr/>
              <p:nvPr/>
            </p:nvSpPr>
            <p:spPr bwMode="gray">
              <a:xfrm>
                <a:off x="5943980"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4" name="Grafik 240">
                <a:extLst>
                  <a:ext uri="{FF2B5EF4-FFF2-40B4-BE49-F238E27FC236}">
                    <a16:creationId xmlns:a16="http://schemas.microsoft.com/office/drawing/2014/main" id="{CF19D0F3-4B25-81B5-054E-E22FB6B6410F}"/>
                  </a:ext>
                </a:extLst>
              </p:cNvPr>
              <p:cNvSpPr/>
              <p:nvPr/>
            </p:nvSpPr>
            <p:spPr bwMode="gray">
              <a:xfrm>
                <a:off x="6089808" y="3244690"/>
                <a:ext cx="14287" cy="121062"/>
              </a:xfrm>
              <a:custGeom>
                <a:avLst/>
                <a:gdLst>
                  <a:gd name="connsiteX0" fmla="*/ 7144 w 14287"/>
                  <a:gd name="connsiteY0" fmla="*/ 121063 h 121062"/>
                  <a:gd name="connsiteX1" fmla="*/ 0 w 14287"/>
                  <a:gd name="connsiteY1" fmla="*/ 113919 h 121062"/>
                  <a:gd name="connsiteX2" fmla="*/ 0 w 14287"/>
                  <a:gd name="connsiteY2" fmla="*/ 7144 h 121062"/>
                  <a:gd name="connsiteX3" fmla="*/ 7144 w 14287"/>
                  <a:gd name="connsiteY3" fmla="*/ 0 h 121062"/>
                  <a:gd name="connsiteX4" fmla="*/ 14288 w 14287"/>
                  <a:gd name="connsiteY4" fmla="*/ 7144 h 121062"/>
                  <a:gd name="connsiteX5" fmla="*/ 14288 w 14287"/>
                  <a:gd name="connsiteY5" fmla="*/ 113919 h 121062"/>
                  <a:gd name="connsiteX6" fmla="*/ 7144 w 14287"/>
                  <a:gd name="connsiteY6" fmla="*/ 121063 h 1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21062">
                    <a:moveTo>
                      <a:pt x="7144" y="121063"/>
                    </a:moveTo>
                    <a:cubicBezTo>
                      <a:pt x="3239" y="121063"/>
                      <a:pt x="0" y="117824"/>
                      <a:pt x="0" y="113919"/>
                    </a:cubicBezTo>
                    <a:lnTo>
                      <a:pt x="0" y="7144"/>
                    </a:lnTo>
                    <a:cubicBezTo>
                      <a:pt x="0" y="3238"/>
                      <a:pt x="3239" y="0"/>
                      <a:pt x="7144" y="0"/>
                    </a:cubicBezTo>
                    <a:cubicBezTo>
                      <a:pt x="11049" y="0"/>
                      <a:pt x="14288" y="3238"/>
                      <a:pt x="14288" y="7144"/>
                    </a:cubicBezTo>
                    <a:lnTo>
                      <a:pt x="14288" y="113919"/>
                    </a:lnTo>
                    <a:cubicBezTo>
                      <a:pt x="14288" y="117920"/>
                      <a:pt x="11049" y="121063"/>
                      <a:pt x="7144" y="121063"/>
                    </a:cubicBezTo>
                    <a:close/>
                  </a:path>
                </a:pathLst>
              </a:custGeom>
              <a:grpFill/>
              <a:ln w="9525" cap="flat">
                <a:noFill/>
                <a:prstDash val="solid"/>
                <a:miter/>
              </a:ln>
            </p:spPr>
            <p:txBody>
              <a:bodyPr rtlCol="0" anchor="ctr"/>
              <a:lstStyle/>
              <a:p>
                <a:endParaRPr lang="de-DE"/>
              </a:p>
            </p:txBody>
          </p:sp>
          <p:sp>
            <p:nvSpPr>
              <p:cNvPr id="615" name="Grafik 240">
                <a:extLst>
                  <a:ext uri="{FF2B5EF4-FFF2-40B4-BE49-F238E27FC236}">
                    <a16:creationId xmlns:a16="http://schemas.microsoft.com/office/drawing/2014/main" id="{BD45B01A-1263-B38B-AA5E-09E9E07C4FD2}"/>
                  </a:ext>
                </a:extLst>
              </p:cNvPr>
              <p:cNvSpPr/>
              <p:nvPr/>
            </p:nvSpPr>
            <p:spPr bwMode="gray">
              <a:xfrm>
                <a:off x="5937598" y="3298126"/>
                <a:ext cx="312324" cy="14287"/>
              </a:xfrm>
              <a:custGeom>
                <a:avLst/>
                <a:gdLst>
                  <a:gd name="connsiteX0" fmla="*/ 305181 w 312324"/>
                  <a:gd name="connsiteY0" fmla="*/ 14288 h 14287"/>
                  <a:gd name="connsiteX1" fmla="*/ 7144 w 312324"/>
                  <a:gd name="connsiteY1" fmla="*/ 14288 h 14287"/>
                  <a:gd name="connsiteX2" fmla="*/ 0 w 312324"/>
                  <a:gd name="connsiteY2" fmla="*/ 7144 h 14287"/>
                  <a:gd name="connsiteX3" fmla="*/ 7144 w 312324"/>
                  <a:gd name="connsiteY3" fmla="*/ 0 h 14287"/>
                  <a:gd name="connsiteX4" fmla="*/ 305181 w 312324"/>
                  <a:gd name="connsiteY4" fmla="*/ 0 h 14287"/>
                  <a:gd name="connsiteX5" fmla="*/ 312325 w 312324"/>
                  <a:gd name="connsiteY5" fmla="*/ 7144 h 14287"/>
                  <a:gd name="connsiteX6" fmla="*/ 305181 w 31232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24" h="14287">
                    <a:moveTo>
                      <a:pt x="305181" y="14288"/>
                    </a:moveTo>
                    <a:lnTo>
                      <a:pt x="7144" y="14288"/>
                    </a:lnTo>
                    <a:cubicBezTo>
                      <a:pt x="3239" y="14288"/>
                      <a:pt x="0" y="11049"/>
                      <a:pt x="0" y="7144"/>
                    </a:cubicBezTo>
                    <a:cubicBezTo>
                      <a:pt x="0" y="3239"/>
                      <a:pt x="3239" y="0"/>
                      <a:pt x="7144" y="0"/>
                    </a:cubicBezTo>
                    <a:lnTo>
                      <a:pt x="305181" y="0"/>
                    </a:lnTo>
                    <a:cubicBezTo>
                      <a:pt x="309086" y="0"/>
                      <a:pt x="312325" y="3239"/>
                      <a:pt x="312325" y="7144"/>
                    </a:cubicBezTo>
                    <a:cubicBezTo>
                      <a:pt x="312325" y="11049"/>
                      <a:pt x="309086" y="14288"/>
                      <a:pt x="305181" y="14288"/>
                    </a:cubicBezTo>
                    <a:close/>
                  </a:path>
                </a:pathLst>
              </a:custGeom>
              <a:grpFill/>
              <a:ln w="9525" cap="flat">
                <a:noFill/>
                <a:prstDash val="solid"/>
                <a:miter/>
              </a:ln>
            </p:spPr>
            <p:txBody>
              <a:bodyPr rtlCol="0" anchor="ctr"/>
              <a:lstStyle/>
              <a:p>
                <a:endParaRPr lang="de-DE"/>
              </a:p>
            </p:txBody>
          </p:sp>
        </p:grpSp>
        <p:sp>
          <p:nvSpPr>
            <p:cNvPr id="601" name="Grafik 240">
              <a:extLst>
                <a:ext uri="{FF2B5EF4-FFF2-40B4-BE49-F238E27FC236}">
                  <a16:creationId xmlns:a16="http://schemas.microsoft.com/office/drawing/2014/main" id="{32079F4C-6155-7349-90C2-2D2C5F6DE986}"/>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602" name="Grafik 240">
              <a:extLst>
                <a:ext uri="{FF2B5EF4-FFF2-40B4-BE49-F238E27FC236}">
                  <a16:creationId xmlns:a16="http://schemas.microsoft.com/office/drawing/2014/main" id="{8971F4F7-B55C-3392-786C-BE35EC2CDF75}"/>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sp>
          <p:nvSpPr>
            <p:cNvPr id="603" name="Grafik 240">
              <a:extLst>
                <a:ext uri="{FF2B5EF4-FFF2-40B4-BE49-F238E27FC236}">
                  <a16:creationId xmlns:a16="http://schemas.microsoft.com/office/drawing/2014/main" id="{2308DF53-8A34-1C49-D273-306E7C0D17D0}"/>
                </a:ext>
              </a:extLst>
            </p:cNvPr>
            <p:cNvSpPr/>
            <p:nvPr/>
          </p:nvSpPr>
          <p:spPr bwMode="gray">
            <a:xfrm>
              <a:off x="6046088" y="3500627"/>
              <a:ext cx="95250" cy="95250"/>
            </a:xfrm>
            <a:custGeom>
              <a:avLst/>
              <a:gdLst>
                <a:gd name="connsiteX0" fmla="*/ 88106 w 95250"/>
                <a:gd name="connsiteY0" fmla="*/ 95250 h 95250"/>
                <a:gd name="connsiteX1" fmla="*/ 7144 w 95250"/>
                <a:gd name="connsiteY1" fmla="*/ 95250 h 95250"/>
                <a:gd name="connsiteX2" fmla="*/ 0 w 95250"/>
                <a:gd name="connsiteY2" fmla="*/ 88106 h 95250"/>
                <a:gd name="connsiteX3" fmla="*/ 0 w 95250"/>
                <a:gd name="connsiteY3" fmla="*/ 7144 h 95250"/>
                <a:gd name="connsiteX4" fmla="*/ 7144 w 95250"/>
                <a:gd name="connsiteY4" fmla="*/ 0 h 95250"/>
                <a:gd name="connsiteX5" fmla="*/ 88106 w 95250"/>
                <a:gd name="connsiteY5" fmla="*/ 0 h 95250"/>
                <a:gd name="connsiteX6" fmla="*/ 95250 w 95250"/>
                <a:gd name="connsiteY6" fmla="*/ 7144 h 95250"/>
                <a:gd name="connsiteX7" fmla="*/ 95250 w 95250"/>
                <a:gd name="connsiteY7" fmla="*/ 88106 h 95250"/>
                <a:gd name="connsiteX8" fmla="*/ 88106 w 95250"/>
                <a:gd name="connsiteY8" fmla="*/ 95250 h 95250"/>
                <a:gd name="connsiteX9" fmla="*/ 14288 w 95250"/>
                <a:gd name="connsiteY9" fmla="*/ 80963 h 95250"/>
                <a:gd name="connsiteX10" fmla="*/ 80963 w 95250"/>
                <a:gd name="connsiteY10" fmla="*/ 80963 h 95250"/>
                <a:gd name="connsiteX11" fmla="*/ 80963 w 95250"/>
                <a:gd name="connsiteY11" fmla="*/ 14288 h 95250"/>
                <a:gd name="connsiteX12" fmla="*/ 14288 w 95250"/>
                <a:gd name="connsiteY12" fmla="*/ 14288 h 95250"/>
                <a:gd name="connsiteX13" fmla="*/ 14288 w 95250"/>
                <a:gd name="connsiteY13" fmla="*/ 8096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95250">
                  <a:moveTo>
                    <a:pt x="88106" y="95250"/>
                  </a:moveTo>
                  <a:lnTo>
                    <a:pt x="7144" y="95250"/>
                  </a:lnTo>
                  <a:cubicBezTo>
                    <a:pt x="3239" y="95250"/>
                    <a:pt x="0" y="92012"/>
                    <a:pt x="0" y="88106"/>
                  </a:cubicBezTo>
                  <a:lnTo>
                    <a:pt x="0" y="7144"/>
                  </a:lnTo>
                  <a:cubicBezTo>
                    <a:pt x="0" y="3239"/>
                    <a:pt x="3239" y="0"/>
                    <a:pt x="7144" y="0"/>
                  </a:cubicBezTo>
                  <a:lnTo>
                    <a:pt x="88106" y="0"/>
                  </a:lnTo>
                  <a:cubicBezTo>
                    <a:pt x="92012" y="0"/>
                    <a:pt x="95250" y="3239"/>
                    <a:pt x="95250" y="7144"/>
                  </a:cubicBezTo>
                  <a:lnTo>
                    <a:pt x="95250" y="88106"/>
                  </a:lnTo>
                  <a:cubicBezTo>
                    <a:pt x="95250" y="92012"/>
                    <a:pt x="92107" y="95250"/>
                    <a:pt x="88106" y="95250"/>
                  </a:cubicBezTo>
                  <a:close/>
                  <a:moveTo>
                    <a:pt x="14288" y="80963"/>
                  </a:moveTo>
                  <a:lnTo>
                    <a:pt x="80963" y="80963"/>
                  </a:lnTo>
                  <a:lnTo>
                    <a:pt x="80963" y="14288"/>
                  </a:lnTo>
                  <a:lnTo>
                    <a:pt x="14288" y="14288"/>
                  </a:lnTo>
                  <a:lnTo>
                    <a:pt x="14288" y="80963"/>
                  </a:lnTo>
                  <a:close/>
                </a:path>
              </a:pathLst>
            </a:custGeom>
            <a:grpFill/>
            <a:ln w="9525" cap="flat">
              <a:noFill/>
              <a:prstDash val="solid"/>
              <a:miter/>
            </a:ln>
          </p:spPr>
          <p:txBody>
            <a:bodyPr rtlCol="0" anchor="ctr"/>
            <a:lstStyle/>
            <a:p>
              <a:endParaRPr lang="de-DE"/>
            </a:p>
          </p:txBody>
        </p:sp>
        <p:sp>
          <p:nvSpPr>
            <p:cNvPr id="604" name="Grafik 240">
              <a:extLst>
                <a:ext uri="{FF2B5EF4-FFF2-40B4-BE49-F238E27FC236}">
                  <a16:creationId xmlns:a16="http://schemas.microsoft.com/office/drawing/2014/main" id="{35E4ECCE-D5E6-2544-D347-6081312428DB}"/>
                </a:ext>
              </a:extLst>
            </p:cNvPr>
            <p:cNvSpPr/>
            <p:nvPr/>
          </p:nvSpPr>
          <p:spPr bwMode="gray">
            <a:xfrm>
              <a:off x="6070377" y="346824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7 h 46672"/>
                <a:gd name="connsiteX12" fmla="*/ 14288 w 46672"/>
                <a:gd name="connsiteY12" fmla="*/ 14287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8"/>
                    <a:pt x="3239" y="0"/>
                    <a:pt x="7144" y="0"/>
                  </a:cubicBezTo>
                  <a:lnTo>
                    <a:pt x="39529" y="0"/>
                  </a:lnTo>
                  <a:cubicBezTo>
                    <a:pt x="43434" y="0"/>
                    <a:pt x="46672" y="3238"/>
                    <a:pt x="46672" y="7144"/>
                  </a:cubicBezTo>
                  <a:lnTo>
                    <a:pt x="46672" y="39529"/>
                  </a:lnTo>
                  <a:cubicBezTo>
                    <a:pt x="46672" y="43434"/>
                    <a:pt x="43529" y="46672"/>
                    <a:pt x="39529" y="46672"/>
                  </a:cubicBezTo>
                  <a:close/>
                  <a:moveTo>
                    <a:pt x="14288" y="32385"/>
                  </a:moveTo>
                  <a:lnTo>
                    <a:pt x="32385" y="32385"/>
                  </a:lnTo>
                  <a:lnTo>
                    <a:pt x="32385" y="14287"/>
                  </a:lnTo>
                  <a:lnTo>
                    <a:pt x="14288" y="14287"/>
                  </a:lnTo>
                  <a:lnTo>
                    <a:pt x="14288" y="32385"/>
                  </a:lnTo>
                  <a:close/>
                </a:path>
              </a:pathLst>
            </a:custGeom>
            <a:grpFill/>
            <a:ln w="9525" cap="flat">
              <a:noFill/>
              <a:prstDash val="solid"/>
              <a:miter/>
            </a:ln>
          </p:spPr>
          <p:txBody>
            <a:bodyPr rtlCol="0" anchor="ctr"/>
            <a:lstStyle/>
            <a:p>
              <a:endParaRPr lang="de-DE"/>
            </a:p>
          </p:txBody>
        </p:sp>
        <p:sp>
          <p:nvSpPr>
            <p:cNvPr id="605" name="Grafik 240">
              <a:extLst>
                <a:ext uri="{FF2B5EF4-FFF2-40B4-BE49-F238E27FC236}">
                  <a16:creationId xmlns:a16="http://schemas.microsoft.com/office/drawing/2014/main" id="{FCE0A9B3-179D-9E96-3E0D-4FD029C49280}"/>
                </a:ext>
              </a:extLst>
            </p:cNvPr>
            <p:cNvSpPr/>
            <p:nvPr/>
          </p:nvSpPr>
          <p:spPr bwMode="gray">
            <a:xfrm>
              <a:off x="6070377" y="3581590"/>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6" name="Grafik 240">
              <a:extLst>
                <a:ext uri="{FF2B5EF4-FFF2-40B4-BE49-F238E27FC236}">
                  <a16:creationId xmlns:a16="http://schemas.microsoft.com/office/drawing/2014/main" id="{AF2B4AE2-3F89-73B9-163D-4261E721DCD0}"/>
                </a:ext>
              </a:extLst>
            </p:cNvPr>
            <p:cNvSpPr/>
            <p:nvPr/>
          </p:nvSpPr>
          <p:spPr bwMode="gray">
            <a:xfrm>
              <a:off x="6013703"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7" name="Grafik 240">
              <a:extLst>
                <a:ext uri="{FF2B5EF4-FFF2-40B4-BE49-F238E27FC236}">
                  <a16:creationId xmlns:a16="http://schemas.microsoft.com/office/drawing/2014/main" id="{98EFA691-2BE0-3AC9-30BD-669872F9BF87}"/>
                </a:ext>
              </a:extLst>
            </p:cNvPr>
            <p:cNvSpPr/>
            <p:nvPr/>
          </p:nvSpPr>
          <p:spPr bwMode="gray">
            <a:xfrm>
              <a:off x="6127146"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grpSp>
      <p:grpSp>
        <p:nvGrpSpPr>
          <p:cNvPr id="616" name="Grafik 244">
            <a:extLst>
              <a:ext uri="{FF2B5EF4-FFF2-40B4-BE49-F238E27FC236}">
                <a16:creationId xmlns:a16="http://schemas.microsoft.com/office/drawing/2014/main" id="{FD708291-C3ED-7935-4998-98261F2A38E2}"/>
              </a:ext>
            </a:extLst>
          </p:cNvPr>
          <p:cNvGrpSpPr/>
          <p:nvPr/>
        </p:nvGrpSpPr>
        <p:grpSpPr bwMode="gray">
          <a:xfrm>
            <a:off x="8349529" y="5929286"/>
            <a:ext cx="374400" cy="374400"/>
            <a:chOff x="5843587" y="3176587"/>
            <a:chExt cx="500253" cy="500253"/>
          </a:xfrm>
          <a:solidFill>
            <a:schemeClr val="tx1"/>
          </a:solidFill>
        </p:grpSpPr>
        <p:grpSp>
          <p:nvGrpSpPr>
            <p:cNvPr id="617" name="Grafik 244">
              <a:extLst>
                <a:ext uri="{FF2B5EF4-FFF2-40B4-BE49-F238E27FC236}">
                  <a16:creationId xmlns:a16="http://schemas.microsoft.com/office/drawing/2014/main" id="{5B4D71EE-372E-F135-FB21-217F2C19125F}"/>
                </a:ext>
              </a:extLst>
            </p:cNvPr>
            <p:cNvGrpSpPr/>
            <p:nvPr/>
          </p:nvGrpSpPr>
          <p:grpSpPr bwMode="gray">
            <a:xfrm>
              <a:off x="6013703" y="3411378"/>
              <a:ext cx="95250" cy="95440"/>
              <a:chOff x="6013703" y="3411378"/>
              <a:chExt cx="95250" cy="95440"/>
            </a:xfrm>
            <a:grpFill/>
          </p:grpSpPr>
          <p:sp>
            <p:nvSpPr>
              <p:cNvPr id="629" name="Grafik 244">
                <a:extLst>
                  <a:ext uri="{FF2B5EF4-FFF2-40B4-BE49-F238E27FC236}">
                    <a16:creationId xmlns:a16="http://schemas.microsoft.com/office/drawing/2014/main" id="{CF7AAE33-B074-53C4-459F-AF67414253D6}"/>
                  </a:ext>
                </a:extLst>
              </p:cNvPr>
              <p:cNvSpPr/>
              <p:nvPr/>
            </p:nvSpPr>
            <p:spPr bwMode="gray">
              <a:xfrm>
                <a:off x="6013703"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30" name="Grafik 244">
                <a:extLst>
                  <a:ext uri="{FF2B5EF4-FFF2-40B4-BE49-F238E27FC236}">
                    <a16:creationId xmlns:a16="http://schemas.microsoft.com/office/drawing/2014/main" id="{83BAEEC4-E8DC-71C7-0ADE-4F3F6A638E20}"/>
                  </a:ext>
                </a:extLst>
              </p:cNvPr>
              <p:cNvSpPr/>
              <p:nvPr/>
            </p:nvSpPr>
            <p:spPr bwMode="gray">
              <a:xfrm>
                <a:off x="6013703"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8" name="Grafik 244">
              <a:extLst>
                <a:ext uri="{FF2B5EF4-FFF2-40B4-BE49-F238E27FC236}">
                  <a16:creationId xmlns:a16="http://schemas.microsoft.com/office/drawing/2014/main" id="{14227A84-385A-0E81-7848-8FA24AC63CBF}"/>
                </a:ext>
              </a:extLst>
            </p:cNvPr>
            <p:cNvGrpSpPr/>
            <p:nvPr/>
          </p:nvGrpSpPr>
          <p:grpSpPr bwMode="gray">
            <a:xfrm>
              <a:off x="5900356" y="3411378"/>
              <a:ext cx="95250" cy="95440"/>
              <a:chOff x="5900356" y="3411378"/>
              <a:chExt cx="95250" cy="95440"/>
            </a:xfrm>
            <a:grpFill/>
          </p:grpSpPr>
          <p:sp>
            <p:nvSpPr>
              <p:cNvPr id="627" name="Grafik 244">
                <a:extLst>
                  <a:ext uri="{FF2B5EF4-FFF2-40B4-BE49-F238E27FC236}">
                    <a16:creationId xmlns:a16="http://schemas.microsoft.com/office/drawing/2014/main" id="{CCA60A8C-B2D2-0529-4776-A9B64AE260C7}"/>
                  </a:ext>
                </a:extLst>
              </p:cNvPr>
              <p:cNvSpPr/>
              <p:nvPr/>
            </p:nvSpPr>
            <p:spPr bwMode="gray">
              <a:xfrm>
                <a:off x="590035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8" y="40672"/>
                      <a:pt x="80963" y="32766"/>
                      <a:pt x="80963" y="27527"/>
                    </a:cubicBezTo>
                    <a:cubicBezTo>
                      <a:pt x="80963" y="22289"/>
                      <a:pt x="67628" y="14383"/>
                      <a:pt x="47625" y="14383"/>
                    </a:cubicBezTo>
                    <a:close/>
                  </a:path>
                </a:pathLst>
              </a:custGeom>
              <a:grpFill/>
              <a:ln w="9525" cap="flat">
                <a:noFill/>
                <a:prstDash val="solid"/>
                <a:miter/>
              </a:ln>
            </p:spPr>
            <p:txBody>
              <a:bodyPr rtlCol="0" anchor="ctr"/>
              <a:lstStyle/>
              <a:p>
                <a:endParaRPr lang="de-DE"/>
              </a:p>
            </p:txBody>
          </p:sp>
          <p:sp>
            <p:nvSpPr>
              <p:cNvPr id="628" name="Grafik 244">
                <a:extLst>
                  <a:ext uri="{FF2B5EF4-FFF2-40B4-BE49-F238E27FC236}">
                    <a16:creationId xmlns:a16="http://schemas.microsoft.com/office/drawing/2014/main" id="{E14AAD46-1D68-34C9-82A1-9EF348139607}"/>
                  </a:ext>
                </a:extLst>
              </p:cNvPr>
              <p:cNvSpPr/>
              <p:nvPr/>
            </p:nvSpPr>
            <p:spPr bwMode="gray">
              <a:xfrm>
                <a:off x="590035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8"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9" name="Grafik 244">
              <a:extLst>
                <a:ext uri="{FF2B5EF4-FFF2-40B4-BE49-F238E27FC236}">
                  <a16:creationId xmlns:a16="http://schemas.microsoft.com/office/drawing/2014/main" id="{92F08A8E-89EA-440E-0176-DC35F82ED2B5}"/>
                </a:ext>
              </a:extLst>
            </p:cNvPr>
            <p:cNvGrpSpPr/>
            <p:nvPr/>
          </p:nvGrpSpPr>
          <p:grpSpPr bwMode="gray">
            <a:xfrm>
              <a:off x="6127146" y="3411378"/>
              <a:ext cx="95250" cy="95440"/>
              <a:chOff x="6127146" y="3411378"/>
              <a:chExt cx="95250" cy="95440"/>
            </a:xfrm>
            <a:grpFill/>
          </p:grpSpPr>
          <p:sp>
            <p:nvSpPr>
              <p:cNvPr id="625" name="Grafik 244">
                <a:extLst>
                  <a:ext uri="{FF2B5EF4-FFF2-40B4-BE49-F238E27FC236}">
                    <a16:creationId xmlns:a16="http://schemas.microsoft.com/office/drawing/2014/main" id="{9EBCE20F-3C58-CA81-D37C-980E11B0229D}"/>
                  </a:ext>
                </a:extLst>
              </p:cNvPr>
              <p:cNvSpPr/>
              <p:nvPr/>
            </p:nvSpPr>
            <p:spPr bwMode="gray">
              <a:xfrm>
                <a:off x="612714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26" name="Grafik 244">
                <a:extLst>
                  <a:ext uri="{FF2B5EF4-FFF2-40B4-BE49-F238E27FC236}">
                    <a16:creationId xmlns:a16="http://schemas.microsoft.com/office/drawing/2014/main" id="{51EFCF68-B31E-A8DD-7D16-DCEC26C94BA5}"/>
                  </a:ext>
                </a:extLst>
              </p:cNvPr>
              <p:cNvSpPr/>
              <p:nvPr/>
            </p:nvSpPr>
            <p:spPr bwMode="gray">
              <a:xfrm>
                <a:off x="612714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sp>
          <p:nvSpPr>
            <p:cNvPr id="620" name="Grafik 244">
              <a:extLst>
                <a:ext uri="{FF2B5EF4-FFF2-40B4-BE49-F238E27FC236}">
                  <a16:creationId xmlns:a16="http://schemas.microsoft.com/office/drawing/2014/main" id="{2EDD20EB-9CBD-57B9-C9EB-0B301B6487D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1" name="Grafik 244">
              <a:extLst>
                <a:ext uri="{FF2B5EF4-FFF2-40B4-BE49-F238E27FC236}">
                  <a16:creationId xmlns:a16="http://schemas.microsoft.com/office/drawing/2014/main" id="{A7C4015E-05D9-25E4-D3FA-4E39796DF83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2" name="Grafik 244">
              <a:extLst>
                <a:ext uri="{FF2B5EF4-FFF2-40B4-BE49-F238E27FC236}">
                  <a16:creationId xmlns:a16="http://schemas.microsoft.com/office/drawing/2014/main" id="{8C21FE39-929B-DC4E-C544-61D5D497292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3" name="Grafik 244">
              <a:extLst>
                <a:ext uri="{FF2B5EF4-FFF2-40B4-BE49-F238E27FC236}">
                  <a16:creationId xmlns:a16="http://schemas.microsoft.com/office/drawing/2014/main" id="{EA416582-42E9-4E2B-51BA-63BCFD3E48D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4" name="Grafik 244">
              <a:extLst>
                <a:ext uri="{FF2B5EF4-FFF2-40B4-BE49-F238E27FC236}">
                  <a16:creationId xmlns:a16="http://schemas.microsoft.com/office/drawing/2014/main" id="{F4ECDC87-C1F4-7D95-C7A6-00CC0FBBD31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31" name="Grafik 3759">
            <a:extLst>
              <a:ext uri="{FF2B5EF4-FFF2-40B4-BE49-F238E27FC236}">
                <a16:creationId xmlns:a16="http://schemas.microsoft.com/office/drawing/2014/main" id="{65367659-583F-65DE-E3D4-4C43A05E4A5A}"/>
              </a:ext>
            </a:extLst>
          </p:cNvPr>
          <p:cNvGrpSpPr/>
          <p:nvPr/>
        </p:nvGrpSpPr>
        <p:grpSpPr bwMode="gray">
          <a:xfrm>
            <a:off x="6615255" y="5031047"/>
            <a:ext cx="374400" cy="374400"/>
            <a:chOff x="5843587" y="3176587"/>
            <a:chExt cx="500253" cy="500253"/>
          </a:xfrm>
          <a:solidFill>
            <a:schemeClr val="tx1"/>
          </a:solidFill>
        </p:grpSpPr>
        <p:sp>
          <p:nvSpPr>
            <p:cNvPr id="632" name="Grafik 3759">
              <a:extLst>
                <a:ext uri="{FF2B5EF4-FFF2-40B4-BE49-F238E27FC236}">
                  <a16:creationId xmlns:a16="http://schemas.microsoft.com/office/drawing/2014/main" id="{ACB1411C-0D47-73E5-8638-55EB40A6A64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grpSp>
          <p:nvGrpSpPr>
            <p:cNvPr id="633" name="Grafik 3759">
              <a:extLst>
                <a:ext uri="{FF2B5EF4-FFF2-40B4-BE49-F238E27FC236}">
                  <a16:creationId xmlns:a16="http://schemas.microsoft.com/office/drawing/2014/main" id="{2F0B78F8-9E91-6613-1867-6381998FB1BF}"/>
                </a:ext>
              </a:extLst>
            </p:cNvPr>
            <p:cNvGrpSpPr/>
            <p:nvPr/>
          </p:nvGrpSpPr>
          <p:grpSpPr bwMode="gray">
            <a:xfrm>
              <a:off x="5928683" y="3219140"/>
              <a:ext cx="330215" cy="172140"/>
              <a:chOff x="5928683" y="3219140"/>
              <a:chExt cx="330215" cy="172140"/>
            </a:xfrm>
            <a:grpFill/>
          </p:grpSpPr>
          <p:grpSp>
            <p:nvGrpSpPr>
              <p:cNvPr id="635" name="Grafik 3759">
                <a:extLst>
                  <a:ext uri="{FF2B5EF4-FFF2-40B4-BE49-F238E27FC236}">
                    <a16:creationId xmlns:a16="http://schemas.microsoft.com/office/drawing/2014/main" id="{DAA827AD-E78D-2B10-2953-D3B1028F46D8}"/>
                  </a:ext>
                </a:extLst>
              </p:cNvPr>
              <p:cNvGrpSpPr/>
              <p:nvPr/>
            </p:nvGrpSpPr>
            <p:grpSpPr bwMode="gray">
              <a:xfrm>
                <a:off x="6135147" y="3286638"/>
                <a:ext cx="123750" cy="37204"/>
                <a:chOff x="6135147" y="3286638"/>
                <a:chExt cx="123750" cy="37204"/>
              </a:xfrm>
              <a:grpFill/>
            </p:grpSpPr>
            <p:sp>
              <p:nvSpPr>
                <p:cNvPr id="665" name="Grafik 3759">
                  <a:extLst>
                    <a:ext uri="{FF2B5EF4-FFF2-40B4-BE49-F238E27FC236}">
                      <a16:creationId xmlns:a16="http://schemas.microsoft.com/office/drawing/2014/main" id="{7B926232-3A23-72DD-01BB-9E8CBD6223F6}"/>
                    </a:ext>
                  </a:extLst>
                </p:cNvPr>
                <p:cNvSpPr/>
                <p:nvPr/>
              </p:nvSpPr>
              <p:spPr bwMode="gray">
                <a:xfrm>
                  <a:off x="6135147" y="3298126"/>
                  <a:ext cx="123539" cy="14287"/>
                </a:xfrm>
                <a:custGeom>
                  <a:avLst/>
                  <a:gdLst>
                    <a:gd name="connsiteX0" fmla="*/ 116491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491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491"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96" y="14288"/>
                        <a:pt x="116491" y="14288"/>
                      </a:cubicBezTo>
                      <a:close/>
                    </a:path>
                  </a:pathLst>
                </a:custGeom>
                <a:grpFill/>
                <a:ln w="9525" cap="flat">
                  <a:noFill/>
                  <a:prstDash val="solid"/>
                  <a:miter/>
                </a:ln>
              </p:spPr>
              <p:txBody>
                <a:bodyPr rtlCol="0" anchor="ctr"/>
                <a:lstStyle/>
                <a:p>
                  <a:endParaRPr lang="de-DE"/>
                </a:p>
              </p:txBody>
            </p:sp>
            <p:sp>
              <p:nvSpPr>
                <p:cNvPr id="666" name="Grafik 3759">
                  <a:extLst>
                    <a:ext uri="{FF2B5EF4-FFF2-40B4-BE49-F238E27FC236}">
                      <a16:creationId xmlns:a16="http://schemas.microsoft.com/office/drawing/2014/main" id="{707D1F32-2895-DC5C-BF56-06E743C6C3EA}"/>
                    </a:ext>
                  </a:extLst>
                </p:cNvPr>
                <p:cNvSpPr/>
                <p:nvPr/>
              </p:nvSpPr>
              <p:spPr bwMode="gray">
                <a:xfrm>
                  <a:off x="6221576" y="328663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251"/>
                        <a:pt x="32633" y="25775"/>
                        <a:pt x="30061" y="25775"/>
                      </a:cubicBezTo>
                      <a:close/>
                    </a:path>
                  </a:pathLst>
                </a:custGeom>
                <a:grpFill/>
                <a:ln w="9525" cap="flat">
                  <a:noFill/>
                  <a:prstDash val="solid"/>
                  <a:miter/>
                </a:ln>
              </p:spPr>
              <p:txBody>
                <a:bodyPr rtlCol="0" anchor="ctr"/>
                <a:lstStyle/>
                <a:p>
                  <a:endParaRPr lang="de-DE"/>
                </a:p>
              </p:txBody>
            </p:sp>
            <p:sp>
              <p:nvSpPr>
                <p:cNvPr id="667" name="Grafik 3759">
                  <a:extLst>
                    <a:ext uri="{FF2B5EF4-FFF2-40B4-BE49-F238E27FC236}">
                      <a16:creationId xmlns:a16="http://schemas.microsoft.com/office/drawing/2014/main" id="{296B3D3B-5898-63FB-5D37-520E95BE136E}"/>
                    </a:ext>
                  </a:extLst>
                </p:cNvPr>
                <p:cNvSpPr/>
                <p:nvPr/>
              </p:nvSpPr>
              <p:spPr bwMode="gray">
                <a:xfrm>
                  <a:off x="6221517" y="329814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413"/>
                        <a:pt x="8308" y="25699"/>
                        <a:pt x="7165" y="25699"/>
                      </a:cubicBezTo>
                      <a:close/>
                    </a:path>
                  </a:pathLst>
                </a:custGeom>
                <a:grpFill/>
                <a:ln w="9525" cap="flat">
                  <a:noFill/>
                  <a:prstDash val="solid"/>
                  <a:miter/>
                </a:ln>
              </p:spPr>
              <p:txBody>
                <a:bodyPr rtlCol="0" anchor="ctr"/>
                <a:lstStyle/>
                <a:p>
                  <a:endParaRPr lang="de-DE"/>
                </a:p>
              </p:txBody>
            </p:sp>
          </p:grpSp>
          <p:grpSp>
            <p:nvGrpSpPr>
              <p:cNvPr id="636" name="Grafik 3759">
                <a:extLst>
                  <a:ext uri="{FF2B5EF4-FFF2-40B4-BE49-F238E27FC236}">
                    <a16:creationId xmlns:a16="http://schemas.microsoft.com/office/drawing/2014/main" id="{8C3285E9-682C-7F30-E2AE-06A47618F18A}"/>
                  </a:ext>
                </a:extLst>
              </p:cNvPr>
              <p:cNvGrpSpPr/>
              <p:nvPr/>
            </p:nvGrpSpPr>
            <p:grpSpPr bwMode="gray">
              <a:xfrm>
                <a:off x="5928683" y="3286714"/>
                <a:ext cx="123596" cy="37129"/>
                <a:chOff x="5928683" y="3286714"/>
                <a:chExt cx="123596" cy="37129"/>
              </a:xfrm>
              <a:grpFill/>
            </p:grpSpPr>
            <p:sp>
              <p:nvSpPr>
                <p:cNvPr id="662" name="Grafik 3759">
                  <a:extLst>
                    <a:ext uri="{FF2B5EF4-FFF2-40B4-BE49-F238E27FC236}">
                      <a16:creationId xmlns:a16="http://schemas.microsoft.com/office/drawing/2014/main" id="{B07AF139-1AE2-F8DC-2229-8A371DD9EBAA}"/>
                    </a:ext>
                  </a:extLst>
                </p:cNvPr>
                <p:cNvSpPr/>
                <p:nvPr/>
              </p:nvSpPr>
              <p:spPr bwMode="gray">
                <a:xfrm>
                  <a:off x="5928740" y="3298126"/>
                  <a:ext cx="123539" cy="14287"/>
                </a:xfrm>
                <a:custGeom>
                  <a:avLst/>
                  <a:gdLst>
                    <a:gd name="connsiteX0" fmla="*/ 116396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396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396"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01" y="14288"/>
                        <a:pt x="116396" y="14288"/>
                      </a:cubicBezTo>
                      <a:close/>
                    </a:path>
                  </a:pathLst>
                </a:custGeom>
                <a:grpFill/>
                <a:ln w="9525" cap="flat">
                  <a:noFill/>
                  <a:prstDash val="solid"/>
                  <a:miter/>
                </a:ln>
              </p:spPr>
              <p:txBody>
                <a:bodyPr rtlCol="0" anchor="ctr"/>
                <a:lstStyle/>
                <a:p>
                  <a:endParaRPr lang="de-DE"/>
                </a:p>
              </p:txBody>
            </p:sp>
            <p:sp>
              <p:nvSpPr>
                <p:cNvPr id="663" name="Grafik 3759">
                  <a:extLst>
                    <a:ext uri="{FF2B5EF4-FFF2-40B4-BE49-F238E27FC236}">
                      <a16:creationId xmlns:a16="http://schemas.microsoft.com/office/drawing/2014/main" id="{D128A85D-B5BB-AC20-9541-A83F138C4253}"/>
                    </a:ext>
                  </a:extLst>
                </p:cNvPr>
                <p:cNvSpPr/>
                <p:nvPr/>
              </p:nvSpPr>
              <p:spPr bwMode="gray">
                <a:xfrm>
                  <a:off x="5928683" y="329806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346"/>
                        <a:pt x="32728" y="25775"/>
                        <a:pt x="30061" y="25775"/>
                      </a:cubicBezTo>
                      <a:close/>
                    </a:path>
                  </a:pathLst>
                </a:custGeom>
                <a:grpFill/>
                <a:ln w="9525" cap="flat">
                  <a:noFill/>
                  <a:prstDash val="solid"/>
                  <a:miter/>
                </a:ln>
              </p:spPr>
              <p:txBody>
                <a:bodyPr rtlCol="0" anchor="ctr"/>
                <a:lstStyle/>
                <a:p>
                  <a:endParaRPr lang="de-DE"/>
                </a:p>
              </p:txBody>
            </p:sp>
            <p:sp>
              <p:nvSpPr>
                <p:cNvPr id="664" name="Grafik 3759">
                  <a:extLst>
                    <a:ext uri="{FF2B5EF4-FFF2-40B4-BE49-F238E27FC236}">
                      <a16:creationId xmlns:a16="http://schemas.microsoft.com/office/drawing/2014/main" id="{429B04B0-AB13-0E0E-5F8C-55298E212B50}"/>
                    </a:ext>
                  </a:extLst>
                </p:cNvPr>
                <p:cNvSpPr/>
                <p:nvPr/>
              </p:nvSpPr>
              <p:spPr bwMode="gray">
                <a:xfrm>
                  <a:off x="5928719" y="328671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260" y="25413"/>
                        <a:pt x="8213" y="25699"/>
                        <a:pt x="7165" y="25699"/>
                      </a:cubicBezTo>
                      <a:close/>
                    </a:path>
                  </a:pathLst>
                </a:custGeom>
                <a:grpFill/>
                <a:ln w="9525" cap="flat">
                  <a:noFill/>
                  <a:prstDash val="solid"/>
                  <a:miter/>
                </a:ln>
              </p:spPr>
              <p:txBody>
                <a:bodyPr rtlCol="0" anchor="ctr"/>
                <a:lstStyle/>
                <a:p>
                  <a:endParaRPr lang="de-DE"/>
                </a:p>
              </p:txBody>
            </p:sp>
          </p:grpSp>
          <p:grpSp>
            <p:nvGrpSpPr>
              <p:cNvPr id="637" name="Grafik 3759">
                <a:extLst>
                  <a:ext uri="{FF2B5EF4-FFF2-40B4-BE49-F238E27FC236}">
                    <a16:creationId xmlns:a16="http://schemas.microsoft.com/office/drawing/2014/main" id="{D0EDC51E-37F4-1535-A711-E9D7AF789B6E}"/>
                  </a:ext>
                </a:extLst>
              </p:cNvPr>
              <p:cNvGrpSpPr/>
              <p:nvPr/>
            </p:nvGrpSpPr>
            <p:grpSpPr bwMode="gray">
              <a:xfrm>
                <a:off x="6063652" y="3322319"/>
                <a:ext cx="60276" cy="68961"/>
                <a:chOff x="6063652" y="3322319"/>
                <a:chExt cx="60276" cy="68961"/>
              </a:xfrm>
              <a:grpFill/>
            </p:grpSpPr>
            <p:sp>
              <p:nvSpPr>
                <p:cNvPr id="659" name="Grafik 3759">
                  <a:extLst>
                    <a:ext uri="{FF2B5EF4-FFF2-40B4-BE49-F238E27FC236}">
                      <a16:creationId xmlns:a16="http://schemas.microsoft.com/office/drawing/2014/main" id="{54514A04-1031-7443-E6EA-BAEDA80D4215}"/>
                    </a:ext>
                  </a:extLst>
                </p:cNvPr>
                <p:cNvSpPr/>
                <p:nvPr/>
              </p:nvSpPr>
              <p:spPr bwMode="gray">
                <a:xfrm>
                  <a:off x="6086569" y="3322319"/>
                  <a:ext cx="14287" cy="68961"/>
                </a:xfrm>
                <a:custGeom>
                  <a:avLst/>
                  <a:gdLst>
                    <a:gd name="connsiteX0" fmla="*/ 7144 w 14287"/>
                    <a:gd name="connsiteY0" fmla="*/ 68961 h 68961"/>
                    <a:gd name="connsiteX1" fmla="*/ 0 w 14287"/>
                    <a:gd name="connsiteY1" fmla="*/ 61817 h 68961"/>
                    <a:gd name="connsiteX2" fmla="*/ 0 w 14287"/>
                    <a:gd name="connsiteY2" fmla="*/ 7144 h 68961"/>
                    <a:gd name="connsiteX3" fmla="*/ 7144 w 14287"/>
                    <a:gd name="connsiteY3" fmla="*/ 0 h 68961"/>
                    <a:gd name="connsiteX4" fmla="*/ 14288 w 14287"/>
                    <a:gd name="connsiteY4" fmla="*/ 7144 h 68961"/>
                    <a:gd name="connsiteX5" fmla="*/ 14288 w 14287"/>
                    <a:gd name="connsiteY5" fmla="*/ 61817 h 68961"/>
                    <a:gd name="connsiteX6" fmla="*/ 7144 w 14287"/>
                    <a:gd name="connsiteY6" fmla="*/ 68961 h 6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961">
                      <a:moveTo>
                        <a:pt x="7144" y="68961"/>
                      </a:moveTo>
                      <a:cubicBezTo>
                        <a:pt x="3239" y="68961"/>
                        <a:pt x="0" y="65723"/>
                        <a:pt x="0" y="61817"/>
                      </a:cubicBezTo>
                      <a:lnTo>
                        <a:pt x="0" y="7144"/>
                      </a:lnTo>
                      <a:cubicBezTo>
                        <a:pt x="0" y="3239"/>
                        <a:pt x="3239" y="0"/>
                        <a:pt x="7144" y="0"/>
                      </a:cubicBezTo>
                      <a:cubicBezTo>
                        <a:pt x="11049" y="0"/>
                        <a:pt x="14288" y="3239"/>
                        <a:pt x="14288" y="7144"/>
                      </a:cubicBezTo>
                      <a:lnTo>
                        <a:pt x="14288" y="61817"/>
                      </a:lnTo>
                      <a:cubicBezTo>
                        <a:pt x="14288" y="65818"/>
                        <a:pt x="11144" y="68961"/>
                        <a:pt x="7144" y="68961"/>
                      </a:cubicBezTo>
                      <a:close/>
                    </a:path>
                  </a:pathLst>
                </a:custGeom>
                <a:grpFill/>
                <a:ln w="9525" cap="flat">
                  <a:noFill/>
                  <a:prstDash val="solid"/>
                  <a:miter/>
                </a:ln>
              </p:spPr>
              <p:txBody>
                <a:bodyPr rtlCol="0" anchor="ctr"/>
                <a:lstStyle/>
                <a:p>
                  <a:endParaRPr lang="de-DE"/>
                </a:p>
              </p:txBody>
            </p:sp>
            <p:sp>
              <p:nvSpPr>
                <p:cNvPr id="660" name="Grafik 3759">
                  <a:extLst>
                    <a:ext uri="{FF2B5EF4-FFF2-40B4-BE49-F238E27FC236}">
                      <a16:creationId xmlns:a16="http://schemas.microsoft.com/office/drawing/2014/main" id="{C480FA1D-B71B-2317-F62C-48ED64E1826A}"/>
                    </a:ext>
                  </a:extLst>
                </p:cNvPr>
                <p:cNvSpPr/>
                <p:nvPr/>
              </p:nvSpPr>
              <p:spPr bwMode="gray">
                <a:xfrm>
                  <a:off x="6086548" y="3365581"/>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509"/>
                        <a:pt x="8213" y="25699"/>
                        <a:pt x="7165" y="25699"/>
                      </a:cubicBezTo>
                      <a:close/>
                    </a:path>
                  </a:pathLst>
                </a:custGeom>
                <a:grpFill/>
                <a:ln w="9525" cap="flat">
                  <a:noFill/>
                  <a:prstDash val="solid"/>
                  <a:miter/>
                </a:ln>
              </p:spPr>
              <p:txBody>
                <a:bodyPr rtlCol="0" anchor="ctr"/>
                <a:lstStyle/>
                <a:p>
                  <a:endParaRPr lang="de-DE"/>
                </a:p>
              </p:txBody>
            </p:sp>
            <p:sp>
              <p:nvSpPr>
                <p:cNvPr id="661" name="Grafik 3759">
                  <a:extLst>
                    <a:ext uri="{FF2B5EF4-FFF2-40B4-BE49-F238E27FC236}">
                      <a16:creationId xmlns:a16="http://schemas.microsoft.com/office/drawing/2014/main" id="{1A4D1B5D-A609-A8C8-25EC-1ADF998B119C}"/>
                    </a:ext>
                  </a:extLst>
                </p:cNvPr>
                <p:cNvSpPr/>
                <p:nvPr/>
              </p:nvSpPr>
              <p:spPr bwMode="gray">
                <a:xfrm>
                  <a:off x="6063652" y="3365539"/>
                  <a:ext cx="37262" cy="25740"/>
                </a:xfrm>
                <a:custGeom>
                  <a:avLst/>
                  <a:gdLst>
                    <a:gd name="connsiteX0" fmla="*/ 30061 w 37262"/>
                    <a:gd name="connsiteY0" fmla="*/ 25741 h 25740"/>
                    <a:gd name="connsiteX1" fmla="*/ 26918 w 37262"/>
                    <a:gd name="connsiteY1" fmla="*/ 24979 h 25740"/>
                    <a:gd name="connsiteX2" fmla="*/ 3963 w 37262"/>
                    <a:gd name="connsiteY2" fmla="*/ 13549 h 25740"/>
                    <a:gd name="connsiteX3" fmla="*/ 724 w 37262"/>
                    <a:gd name="connsiteY3" fmla="*/ 3929 h 25740"/>
                    <a:gd name="connsiteX4" fmla="*/ 10344 w 37262"/>
                    <a:gd name="connsiteY4" fmla="*/ 785 h 25740"/>
                    <a:gd name="connsiteX5" fmla="*/ 33300 w 37262"/>
                    <a:gd name="connsiteY5" fmla="*/ 12215 h 25740"/>
                    <a:gd name="connsiteX6" fmla="*/ 36538 w 37262"/>
                    <a:gd name="connsiteY6" fmla="*/ 21836 h 25740"/>
                    <a:gd name="connsiteX7" fmla="*/ 30061 w 37262"/>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300" y="12215"/>
                      </a:lnTo>
                      <a:cubicBezTo>
                        <a:pt x="36824" y="14025"/>
                        <a:pt x="38253" y="18311"/>
                        <a:pt x="36538" y="21836"/>
                      </a:cubicBezTo>
                      <a:cubicBezTo>
                        <a:pt x="35205" y="24312"/>
                        <a:pt x="32728" y="25741"/>
                        <a:pt x="30061" y="25741"/>
                      </a:cubicBezTo>
                      <a:close/>
                    </a:path>
                  </a:pathLst>
                </a:custGeom>
                <a:grpFill/>
                <a:ln w="9525" cap="flat">
                  <a:noFill/>
                  <a:prstDash val="solid"/>
                  <a:miter/>
                </a:ln>
              </p:spPr>
              <p:txBody>
                <a:bodyPr rtlCol="0" anchor="ctr"/>
                <a:lstStyle/>
                <a:p>
                  <a:endParaRPr lang="de-DE"/>
                </a:p>
              </p:txBody>
            </p:sp>
          </p:grpSp>
          <p:grpSp>
            <p:nvGrpSpPr>
              <p:cNvPr id="638" name="Grafik 3759">
                <a:extLst>
                  <a:ext uri="{FF2B5EF4-FFF2-40B4-BE49-F238E27FC236}">
                    <a16:creationId xmlns:a16="http://schemas.microsoft.com/office/drawing/2014/main" id="{82D0057D-A348-2B3D-8528-B60C87B1051C}"/>
                  </a:ext>
                </a:extLst>
              </p:cNvPr>
              <p:cNvGrpSpPr/>
              <p:nvPr/>
            </p:nvGrpSpPr>
            <p:grpSpPr bwMode="gray">
              <a:xfrm>
                <a:off x="6063686" y="3219140"/>
                <a:ext cx="60088" cy="68889"/>
                <a:chOff x="6063686" y="3219140"/>
                <a:chExt cx="60088" cy="68889"/>
              </a:xfrm>
              <a:grpFill/>
            </p:grpSpPr>
            <p:sp>
              <p:nvSpPr>
                <p:cNvPr id="656" name="Grafik 3759">
                  <a:extLst>
                    <a:ext uri="{FF2B5EF4-FFF2-40B4-BE49-F238E27FC236}">
                      <a16:creationId xmlns:a16="http://schemas.microsoft.com/office/drawing/2014/main" id="{8B7AD9E8-095F-A23A-DBDA-C4BF71B8F536}"/>
                    </a:ext>
                  </a:extLst>
                </p:cNvPr>
                <p:cNvSpPr/>
                <p:nvPr/>
              </p:nvSpPr>
              <p:spPr bwMode="gray">
                <a:xfrm>
                  <a:off x="6086569" y="3219163"/>
                  <a:ext cx="14287" cy="68865"/>
                </a:xfrm>
                <a:custGeom>
                  <a:avLst/>
                  <a:gdLst>
                    <a:gd name="connsiteX0" fmla="*/ 7144 w 14287"/>
                    <a:gd name="connsiteY0" fmla="*/ 68866 h 68865"/>
                    <a:gd name="connsiteX1" fmla="*/ 0 w 14287"/>
                    <a:gd name="connsiteY1" fmla="*/ 61722 h 68865"/>
                    <a:gd name="connsiteX2" fmla="*/ 0 w 14287"/>
                    <a:gd name="connsiteY2" fmla="*/ 7144 h 68865"/>
                    <a:gd name="connsiteX3" fmla="*/ 7144 w 14287"/>
                    <a:gd name="connsiteY3" fmla="*/ 0 h 68865"/>
                    <a:gd name="connsiteX4" fmla="*/ 14288 w 14287"/>
                    <a:gd name="connsiteY4" fmla="*/ 7144 h 68865"/>
                    <a:gd name="connsiteX5" fmla="*/ 14288 w 14287"/>
                    <a:gd name="connsiteY5" fmla="*/ 61817 h 68865"/>
                    <a:gd name="connsiteX6" fmla="*/ 7144 w 14287"/>
                    <a:gd name="connsiteY6" fmla="*/ 68866 h 6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865">
                      <a:moveTo>
                        <a:pt x="7144" y="68866"/>
                      </a:moveTo>
                      <a:cubicBezTo>
                        <a:pt x="3239" y="68866"/>
                        <a:pt x="0" y="65627"/>
                        <a:pt x="0" y="61722"/>
                      </a:cubicBezTo>
                      <a:lnTo>
                        <a:pt x="0" y="7144"/>
                      </a:lnTo>
                      <a:cubicBezTo>
                        <a:pt x="0" y="3239"/>
                        <a:pt x="3239" y="0"/>
                        <a:pt x="7144" y="0"/>
                      </a:cubicBezTo>
                      <a:cubicBezTo>
                        <a:pt x="11049" y="0"/>
                        <a:pt x="14288" y="3239"/>
                        <a:pt x="14288" y="7144"/>
                      </a:cubicBezTo>
                      <a:lnTo>
                        <a:pt x="14288" y="61817"/>
                      </a:lnTo>
                      <a:cubicBezTo>
                        <a:pt x="14288" y="65723"/>
                        <a:pt x="11144" y="68866"/>
                        <a:pt x="7144" y="68866"/>
                      </a:cubicBezTo>
                      <a:close/>
                    </a:path>
                  </a:pathLst>
                </a:custGeom>
                <a:grpFill/>
                <a:ln w="9525" cap="flat">
                  <a:noFill/>
                  <a:prstDash val="solid"/>
                  <a:miter/>
                </a:ln>
              </p:spPr>
              <p:txBody>
                <a:bodyPr rtlCol="0" anchor="ctr"/>
                <a:lstStyle/>
                <a:p>
                  <a:endParaRPr lang="de-DE"/>
                </a:p>
              </p:txBody>
            </p:sp>
            <p:sp>
              <p:nvSpPr>
                <p:cNvPr id="657" name="Grafik 3759">
                  <a:extLst>
                    <a:ext uri="{FF2B5EF4-FFF2-40B4-BE49-F238E27FC236}">
                      <a16:creationId xmlns:a16="http://schemas.microsoft.com/office/drawing/2014/main" id="{076CC834-32E7-D47E-2D38-6EF852EA3E9D}"/>
                    </a:ext>
                  </a:extLst>
                </p:cNvPr>
                <p:cNvSpPr/>
                <p:nvPr/>
              </p:nvSpPr>
              <p:spPr bwMode="gray">
                <a:xfrm>
                  <a:off x="6063686" y="3219182"/>
                  <a:ext cx="37287" cy="25699"/>
                </a:xfrm>
                <a:custGeom>
                  <a:avLst/>
                  <a:gdLst>
                    <a:gd name="connsiteX0" fmla="*/ 7167 w 37287"/>
                    <a:gd name="connsiteY0" fmla="*/ 25699 h 25699"/>
                    <a:gd name="connsiteX1" fmla="*/ 785 w 37287"/>
                    <a:gd name="connsiteY1" fmla="*/ 21794 h 25699"/>
                    <a:gd name="connsiteX2" fmla="*/ 3929 w 37287"/>
                    <a:gd name="connsiteY2" fmla="*/ 12174 h 25699"/>
                    <a:gd name="connsiteX3" fmla="*/ 26884 w 37287"/>
                    <a:gd name="connsiteY3" fmla="*/ 744 h 25699"/>
                    <a:gd name="connsiteX4" fmla="*/ 36504 w 37287"/>
                    <a:gd name="connsiteY4" fmla="*/ 3887 h 25699"/>
                    <a:gd name="connsiteX5" fmla="*/ 33266 w 37287"/>
                    <a:gd name="connsiteY5" fmla="*/ 13507 h 25699"/>
                    <a:gd name="connsiteX6" fmla="*/ 10310 w 37287"/>
                    <a:gd name="connsiteY6" fmla="*/ 24937 h 25699"/>
                    <a:gd name="connsiteX7" fmla="*/ 7167 w 37287"/>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7" h="25699">
                      <a:moveTo>
                        <a:pt x="7167" y="25699"/>
                      </a:moveTo>
                      <a:cubicBezTo>
                        <a:pt x="4595" y="25699"/>
                        <a:pt x="2024" y="24270"/>
                        <a:pt x="785" y="21794"/>
                      </a:cubicBezTo>
                      <a:cubicBezTo>
                        <a:pt x="-1024" y="18270"/>
                        <a:pt x="404" y="13983"/>
                        <a:pt x="3929" y="12174"/>
                      </a:cubicBezTo>
                      <a:lnTo>
                        <a:pt x="26884" y="744"/>
                      </a:lnTo>
                      <a:cubicBezTo>
                        <a:pt x="30408" y="-971"/>
                        <a:pt x="34694" y="363"/>
                        <a:pt x="36504" y="3887"/>
                      </a:cubicBezTo>
                      <a:cubicBezTo>
                        <a:pt x="38314" y="7411"/>
                        <a:pt x="36885" y="11697"/>
                        <a:pt x="33266" y="13507"/>
                      </a:cubicBezTo>
                      <a:lnTo>
                        <a:pt x="10310" y="24937"/>
                      </a:lnTo>
                      <a:cubicBezTo>
                        <a:pt x="9263" y="25509"/>
                        <a:pt x="8215" y="25699"/>
                        <a:pt x="7167" y="25699"/>
                      </a:cubicBezTo>
                      <a:close/>
                    </a:path>
                  </a:pathLst>
                </a:custGeom>
                <a:grpFill/>
                <a:ln w="9525" cap="flat">
                  <a:noFill/>
                  <a:prstDash val="solid"/>
                  <a:miter/>
                </a:ln>
              </p:spPr>
              <p:txBody>
                <a:bodyPr rtlCol="0" anchor="ctr"/>
                <a:lstStyle/>
                <a:p>
                  <a:endParaRPr lang="de-DE"/>
                </a:p>
              </p:txBody>
            </p:sp>
            <p:sp>
              <p:nvSpPr>
                <p:cNvPr id="658" name="Grafik 3759">
                  <a:extLst>
                    <a:ext uri="{FF2B5EF4-FFF2-40B4-BE49-F238E27FC236}">
                      <a16:creationId xmlns:a16="http://schemas.microsoft.com/office/drawing/2014/main" id="{96F6C576-7ABD-1B6F-E305-96FD1A0A4D75}"/>
                    </a:ext>
                  </a:extLst>
                </p:cNvPr>
                <p:cNvSpPr/>
                <p:nvPr/>
              </p:nvSpPr>
              <p:spPr bwMode="gray">
                <a:xfrm>
                  <a:off x="6086607" y="3219140"/>
                  <a:ext cx="37167" cy="25740"/>
                </a:xfrm>
                <a:custGeom>
                  <a:avLst/>
                  <a:gdLst>
                    <a:gd name="connsiteX0" fmla="*/ 30061 w 37167"/>
                    <a:gd name="connsiteY0" fmla="*/ 25741 h 25740"/>
                    <a:gd name="connsiteX1" fmla="*/ 26918 w 37167"/>
                    <a:gd name="connsiteY1" fmla="*/ 24979 h 25740"/>
                    <a:gd name="connsiteX2" fmla="*/ 3963 w 37167"/>
                    <a:gd name="connsiteY2" fmla="*/ 13549 h 25740"/>
                    <a:gd name="connsiteX3" fmla="*/ 724 w 37167"/>
                    <a:gd name="connsiteY3" fmla="*/ 3929 h 25740"/>
                    <a:gd name="connsiteX4" fmla="*/ 10344 w 37167"/>
                    <a:gd name="connsiteY4" fmla="*/ 785 h 25740"/>
                    <a:gd name="connsiteX5" fmla="*/ 33204 w 37167"/>
                    <a:gd name="connsiteY5" fmla="*/ 12215 h 25740"/>
                    <a:gd name="connsiteX6" fmla="*/ 36443 w 37167"/>
                    <a:gd name="connsiteY6" fmla="*/ 21836 h 25740"/>
                    <a:gd name="connsiteX7" fmla="*/ 30061 w 37167"/>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7"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204" y="12215"/>
                      </a:lnTo>
                      <a:cubicBezTo>
                        <a:pt x="36729" y="14025"/>
                        <a:pt x="38157" y="18311"/>
                        <a:pt x="36443" y="21836"/>
                      </a:cubicBezTo>
                      <a:cubicBezTo>
                        <a:pt x="35205" y="24312"/>
                        <a:pt x="32633" y="25741"/>
                        <a:pt x="30061" y="25741"/>
                      </a:cubicBezTo>
                      <a:close/>
                    </a:path>
                  </a:pathLst>
                </a:custGeom>
                <a:grpFill/>
                <a:ln w="9525" cap="flat">
                  <a:noFill/>
                  <a:prstDash val="solid"/>
                  <a:miter/>
                </a:ln>
              </p:spPr>
              <p:txBody>
                <a:bodyPr rtlCol="0" anchor="ctr"/>
                <a:lstStyle/>
                <a:p>
                  <a:endParaRPr lang="de-DE"/>
                </a:p>
              </p:txBody>
            </p:sp>
          </p:grpSp>
          <p:grpSp>
            <p:nvGrpSpPr>
              <p:cNvPr id="639" name="Grafik 3759">
                <a:extLst>
                  <a:ext uri="{FF2B5EF4-FFF2-40B4-BE49-F238E27FC236}">
                    <a16:creationId xmlns:a16="http://schemas.microsoft.com/office/drawing/2014/main" id="{5C1F49F5-D10D-78A7-44A5-8ED0BDE1341D}"/>
                  </a:ext>
                </a:extLst>
              </p:cNvPr>
              <p:cNvGrpSpPr/>
              <p:nvPr/>
            </p:nvGrpSpPr>
            <p:grpSpPr bwMode="gray">
              <a:xfrm>
                <a:off x="6120933" y="3242139"/>
                <a:ext cx="91672" cy="53033"/>
                <a:chOff x="6120933" y="3242139"/>
                <a:chExt cx="91672" cy="53033"/>
              </a:xfrm>
              <a:grpFill/>
            </p:grpSpPr>
            <p:sp>
              <p:nvSpPr>
                <p:cNvPr id="653" name="Grafik 3759">
                  <a:extLst>
                    <a:ext uri="{FF2B5EF4-FFF2-40B4-BE49-F238E27FC236}">
                      <a16:creationId xmlns:a16="http://schemas.microsoft.com/office/drawing/2014/main" id="{92BEB62F-0615-FAA9-7C9D-6FF9BD41FAF6}"/>
                    </a:ext>
                  </a:extLst>
                </p:cNvPr>
                <p:cNvSpPr/>
                <p:nvPr/>
              </p:nvSpPr>
              <p:spPr bwMode="gray">
                <a:xfrm>
                  <a:off x="6120933" y="3242139"/>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843"/>
                        <a:pt x="8213" y="53033"/>
                        <a:pt x="7165" y="53033"/>
                      </a:cubicBezTo>
                      <a:close/>
                    </a:path>
                  </a:pathLst>
                </a:custGeom>
                <a:grpFill/>
                <a:ln w="9525" cap="flat">
                  <a:noFill/>
                  <a:prstDash val="solid"/>
                  <a:miter/>
                </a:ln>
              </p:spPr>
              <p:txBody>
                <a:bodyPr rtlCol="0" anchor="ctr"/>
                <a:lstStyle/>
                <a:p>
                  <a:endParaRPr lang="de-DE"/>
                </a:p>
              </p:txBody>
            </p:sp>
            <p:sp>
              <p:nvSpPr>
                <p:cNvPr id="654" name="Grafik 3759">
                  <a:extLst>
                    <a:ext uri="{FF2B5EF4-FFF2-40B4-BE49-F238E27FC236}">
                      <a16:creationId xmlns:a16="http://schemas.microsoft.com/office/drawing/2014/main" id="{9C986757-7CF7-5D9B-E884-349C83CCBF0A}"/>
                    </a:ext>
                  </a:extLst>
                </p:cNvPr>
                <p:cNvSpPr/>
                <p:nvPr/>
              </p:nvSpPr>
              <p:spPr bwMode="gray">
                <a:xfrm>
                  <a:off x="6165817"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8" y="14287"/>
                        <a:pt x="0" y="11049"/>
                        <a:pt x="0" y="7144"/>
                      </a:cubicBezTo>
                      <a:cubicBezTo>
                        <a:pt x="0" y="3238"/>
                        <a:pt x="3238" y="0"/>
                        <a:pt x="7144" y="0"/>
                      </a:cubicBezTo>
                      <a:lnTo>
                        <a:pt x="39529" y="0"/>
                      </a:lnTo>
                      <a:cubicBezTo>
                        <a:pt x="43434" y="0"/>
                        <a:pt x="46672" y="3238"/>
                        <a:pt x="46672" y="7144"/>
                      </a:cubicBezTo>
                      <a:cubicBezTo>
                        <a:pt x="46672" y="11049"/>
                        <a:pt x="43529" y="14287"/>
                        <a:pt x="39529" y="14287"/>
                      </a:cubicBezTo>
                      <a:close/>
                    </a:path>
                  </a:pathLst>
                </a:custGeom>
                <a:grpFill/>
                <a:ln w="9525" cap="flat">
                  <a:noFill/>
                  <a:prstDash val="solid"/>
                  <a:miter/>
                </a:ln>
              </p:spPr>
              <p:txBody>
                <a:bodyPr rtlCol="0" anchor="ctr"/>
                <a:lstStyle/>
                <a:p>
                  <a:endParaRPr lang="de-DE"/>
                </a:p>
              </p:txBody>
            </p:sp>
            <p:sp>
              <p:nvSpPr>
                <p:cNvPr id="655" name="Grafik 3759">
                  <a:extLst>
                    <a:ext uri="{FF2B5EF4-FFF2-40B4-BE49-F238E27FC236}">
                      <a16:creationId xmlns:a16="http://schemas.microsoft.com/office/drawing/2014/main" id="{713486D3-256B-FE34-57C8-5BBCCDA2B0F2}"/>
                    </a:ext>
                  </a:extLst>
                </p:cNvPr>
                <p:cNvSpPr/>
                <p:nvPr/>
              </p:nvSpPr>
              <p:spPr bwMode="gray">
                <a:xfrm>
                  <a:off x="6198202"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grpSp>
            <p:nvGrpSpPr>
              <p:cNvPr id="640" name="Grafik 3759">
                <a:extLst>
                  <a:ext uri="{FF2B5EF4-FFF2-40B4-BE49-F238E27FC236}">
                    <a16:creationId xmlns:a16="http://schemas.microsoft.com/office/drawing/2014/main" id="{D8E7970C-A1A4-C2F9-CA95-E655EC77CAF2}"/>
                  </a:ext>
                </a:extLst>
              </p:cNvPr>
              <p:cNvGrpSpPr/>
              <p:nvPr/>
            </p:nvGrpSpPr>
            <p:grpSpPr bwMode="gray">
              <a:xfrm>
                <a:off x="5974915" y="3315196"/>
                <a:ext cx="91672" cy="53033"/>
                <a:chOff x="5974915" y="3315196"/>
                <a:chExt cx="91672" cy="53033"/>
              </a:xfrm>
              <a:grpFill/>
            </p:grpSpPr>
            <p:sp>
              <p:nvSpPr>
                <p:cNvPr id="650" name="Grafik 3759">
                  <a:extLst>
                    <a:ext uri="{FF2B5EF4-FFF2-40B4-BE49-F238E27FC236}">
                      <a16:creationId xmlns:a16="http://schemas.microsoft.com/office/drawing/2014/main" id="{40D62D56-49D3-397D-2930-BD5745616712}"/>
                    </a:ext>
                  </a:extLst>
                </p:cNvPr>
                <p:cNvSpPr/>
                <p:nvPr/>
              </p:nvSpPr>
              <p:spPr bwMode="gray">
                <a:xfrm>
                  <a:off x="5974915" y="3315196"/>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748"/>
                        <a:pt x="8213" y="53033"/>
                        <a:pt x="7165" y="53033"/>
                      </a:cubicBezTo>
                      <a:close/>
                    </a:path>
                  </a:pathLst>
                </a:custGeom>
                <a:grpFill/>
                <a:ln w="9525" cap="flat">
                  <a:noFill/>
                  <a:prstDash val="solid"/>
                  <a:miter/>
                </a:ln>
              </p:spPr>
              <p:txBody>
                <a:bodyPr rtlCol="0" anchor="ctr"/>
                <a:lstStyle/>
                <a:p>
                  <a:endParaRPr lang="de-DE"/>
                </a:p>
              </p:txBody>
            </p:sp>
            <p:sp>
              <p:nvSpPr>
                <p:cNvPr id="651" name="Grafik 3759">
                  <a:extLst>
                    <a:ext uri="{FF2B5EF4-FFF2-40B4-BE49-F238E27FC236}">
                      <a16:creationId xmlns:a16="http://schemas.microsoft.com/office/drawing/2014/main" id="{C869E475-EE67-B376-CA93-FC8B2FADFCD5}"/>
                    </a:ext>
                  </a:extLst>
                </p:cNvPr>
                <p:cNvSpPr/>
                <p:nvPr/>
              </p:nvSpPr>
              <p:spPr bwMode="gray">
                <a:xfrm>
                  <a:off x="5974936"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9" y="14288"/>
                        <a:pt x="0" y="11049"/>
                        <a:pt x="0" y="7144"/>
                      </a:cubicBezTo>
                      <a:cubicBezTo>
                        <a:pt x="0" y="3238"/>
                        <a:pt x="3239" y="0"/>
                        <a:pt x="7144" y="0"/>
                      </a:cubicBezTo>
                      <a:lnTo>
                        <a:pt x="39529" y="0"/>
                      </a:lnTo>
                      <a:cubicBezTo>
                        <a:pt x="43434" y="0"/>
                        <a:pt x="46673" y="3238"/>
                        <a:pt x="46673" y="7144"/>
                      </a:cubicBezTo>
                      <a:cubicBezTo>
                        <a:pt x="46673" y="11049"/>
                        <a:pt x="43529" y="14288"/>
                        <a:pt x="39529" y="14288"/>
                      </a:cubicBezTo>
                      <a:close/>
                    </a:path>
                  </a:pathLst>
                </a:custGeom>
                <a:grpFill/>
                <a:ln w="9525" cap="flat">
                  <a:noFill/>
                  <a:prstDash val="solid"/>
                  <a:miter/>
                </a:ln>
              </p:spPr>
              <p:txBody>
                <a:bodyPr rtlCol="0" anchor="ctr"/>
                <a:lstStyle/>
                <a:p>
                  <a:endParaRPr lang="de-DE"/>
                </a:p>
              </p:txBody>
            </p:sp>
            <p:sp>
              <p:nvSpPr>
                <p:cNvPr id="652" name="Grafik 3759">
                  <a:extLst>
                    <a:ext uri="{FF2B5EF4-FFF2-40B4-BE49-F238E27FC236}">
                      <a16:creationId xmlns:a16="http://schemas.microsoft.com/office/drawing/2014/main" id="{F23480DF-2F29-4C36-31AE-F32692A1EDC2}"/>
                    </a:ext>
                  </a:extLst>
                </p:cNvPr>
                <p:cNvSpPr/>
                <p:nvPr/>
              </p:nvSpPr>
              <p:spPr bwMode="gray">
                <a:xfrm>
                  <a:off x="5974936"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grpSp>
          <p:grpSp>
            <p:nvGrpSpPr>
              <p:cNvPr id="641" name="Grafik 3759">
                <a:extLst>
                  <a:ext uri="{FF2B5EF4-FFF2-40B4-BE49-F238E27FC236}">
                    <a16:creationId xmlns:a16="http://schemas.microsoft.com/office/drawing/2014/main" id="{EF82A276-5A1F-3A41-17FC-891DD66117D0}"/>
                  </a:ext>
                </a:extLst>
              </p:cNvPr>
              <p:cNvGrpSpPr/>
              <p:nvPr/>
            </p:nvGrpSpPr>
            <p:grpSpPr bwMode="gray">
              <a:xfrm>
                <a:off x="6120992" y="3315213"/>
                <a:ext cx="91554" cy="53016"/>
                <a:chOff x="6120992" y="3315213"/>
                <a:chExt cx="91554" cy="53016"/>
              </a:xfrm>
              <a:grpFill/>
            </p:grpSpPr>
            <p:sp>
              <p:nvSpPr>
                <p:cNvPr id="647" name="Grafik 3759">
                  <a:extLst>
                    <a:ext uri="{FF2B5EF4-FFF2-40B4-BE49-F238E27FC236}">
                      <a16:creationId xmlns:a16="http://schemas.microsoft.com/office/drawing/2014/main" id="{449B0B11-7468-3F74-FE4A-06F662BA06DD}"/>
                    </a:ext>
                  </a:extLst>
                </p:cNvPr>
                <p:cNvSpPr/>
                <p:nvPr/>
              </p:nvSpPr>
              <p:spPr bwMode="gray">
                <a:xfrm>
                  <a:off x="6120992" y="3315213"/>
                  <a:ext cx="91554" cy="53016"/>
                </a:xfrm>
                <a:custGeom>
                  <a:avLst/>
                  <a:gdLst>
                    <a:gd name="connsiteX0" fmla="*/ 84354 w 91554"/>
                    <a:gd name="connsiteY0" fmla="*/ 53016 h 53016"/>
                    <a:gd name="connsiteX1" fmla="*/ 81211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1"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492"/>
                        <a:pt x="87021" y="53016"/>
                        <a:pt x="84354" y="53016"/>
                      </a:cubicBezTo>
                      <a:close/>
                    </a:path>
                  </a:pathLst>
                </a:custGeom>
                <a:grpFill/>
                <a:ln w="9525" cap="flat">
                  <a:noFill/>
                  <a:prstDash val="solid"/>
                  <a:miter/>
                </a:ln>
              </p:spPr>
              <p:txBody>
                <a:bodyPr rtlCol="0" anchor="ctr"/>
                <a:lstStyle/>
                <a:p>
                  <a:endParaRPr lang="de-DE"/>
                </a:p>
              </p:txBody>
            </p:sp>
            <p:sp>
              <p:nvSpPr>
                <p:cNvPr id="648" name="Grafik 3759">
                  <a:extLst>
                    <a:ext uri="{FF2B5EF4-FFF2-40B4-BE49-F238E27FC236}">
                      <a16:creationId xmlns:a16="http://schemas.microsoft.com/office/drawing/2014/main" id="{B6B4FACB-99DB-0271-43D4-FF5E453F429B}"/>
                    </a:ext>
                  </a:extLst>
                </p:cNvPr>
                <p:cNvSpPr/>
                <p:nvPr/>
              </p:nvSpPr>
              <p:spPr bwMode="gray">
                <a:xfrm>
                  <a:off x="6198202"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9" name="Grafik 3759">
                  <a:extLst>
                    <a:ext uri="{FF2B5EF4-FFF2-40B4-BE49-F238E27FC236}">
                      <a16:creationId xmlns:a16="http://schemas.microsoft.com/office/drawing/2014/main" id="{861653A8-A252-7655-EF5C-46AB48CCD20F}"/>
                    </a:ext>
                  </a:extLst>
                </p:cNvPr>
                <p:cNvSpPr/>
                <p:nvPr/>
              </p:nvSpPr>
              <p:spPr bwMode="gray">
                <a:xfrm>
                  <a:off x="6165817"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8" y="14288"/>
                        <a:pt x="0" y="11049"/>
                        <a:pt x="0" y="7144"/>
                      </a:cubicBezTo>
                      <a:cubicBezTo>
                        <a:pt x="0" y="3238"/>
                        <a:pt x="3238" y="0"/>
                        <a:pt x="7144" y="0"/>
                      </a:cubicBezTo>
                      <a:lnTo>
                        <a:pt x="39529" y="0"/>
                      </a:lnTo>
                      <a:cubicBezTo>
                        <a:pt x="43434" y="0"/>
                        <a:pt x="46672" y="3238"/>
                        <a:pt x="46672" y="7144"/>
                      </a:cubicBezTo>
                      <a:cubicBezTo>
                        <a:pt x="46672" y="11049"/>
                        <a:pt x="43529" y="14288"/>
                        <a:pt x="39529" y="14288"/>
                      </a:cubicBezTo>
                      <a:close/>
                    </a:path>
                  </a:pathLst>
                </a:custGeom>
                <a:grpFill/>
                <a:ln w="9525" cap="flat">
                  <a:noFill/>
                  <a:prstDash val="solid"/>
                  <a:miter/>
                </a:ln>
              </p:spPr>
              <p:txBody>
                <a:bodyPr rtlCol="0" anchor="ctr"/>
                <a:lstStyle/>
                <a:p>
                  <a:endParaRPr lang="de-DE"/>
                </a:p>
              </p:txBody>
            </p:sp>
          </p:grpSp>
          <p:grpSp>
            <p:nvGrpSpPr>
              <p:cNvPr id="642" name="Grafik 3759">
                <a:extLst>
                  <a:ext uri="{FF2B5EF4-FFF2-40B4-BE49-F238E27FC236}">
                    <a16:creationId xmlns:a16="http://schemas.microsoft.com/office/drawing/2014/main" id="{3CAF16FA-0824-0F85-99CE-9CA212B2FFBC}"/>
                  </a:ext>
                </a:extLst>
              </p:cNvPr>
              <p:cNvGrpSpPr/>
              <p:nvPr/>
            </p:nvGrpSpPr>
            <p:grpSpPr bwMode="gray">
              <a:xfrm>
                <a:off x="5974936" y="3242156"/>
                <a:ext cx="91592" cy="53016"/>
                <a:chOff x="5974936" y="3242156"/>
                <a:chExt cx="91592" cy="53016"/>
              </a:xfrm>
              <a:grpFill/>
            </p:grpSpPr>
            <p:sp>
              <p:nvSpPr>
                <p:cNvPr id="644" name="Grafik 3759">
                  <a:extLst>
                    <a:ext uri="{FF2B5EF4-FFF2-40B4-BE49-F238E27FC236}">
                      <a16:creationId xmlns:a16="http://schemas.microsoft.com/office/drawing/2014/main" id="{DE95D488-AAE7-409A-43FF-D5731F4166BD}"/>
                    </a:ext>
                  </a:extLst>
                </p:cNvPr>
                <p:cNvSpPr/>
                <p:nvPr/>
              </p:nvSpPr>
              <p:spPr bwMode="gray">
                <a:xfrm>
                  <a:off x="5974974" y="3242156"/>
                  <a:ext cx="91554" cy="53016"/>
                </a:xfrm>
                <a:custGeom>
                  <a:avLst/>
                  <a:gdLst>
                    <a:gd name="connsiteX0" fmla="*/ 84354 w 91554"/>
                    <a:gd name="connsiteY0" fmla="*/ 53016 h 53016"/>
                    <a:gd name="connsiteX1" fmla="*/ 81210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0"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588"/>
                        <a:pt x="87021" y="53016"/>
                        <a:pt x="84354" y="53016"/>
                      </a:cubicBezTo>
                      <a:close/>
                    </a:path>
                  </a:pathLst>
                </a:custGeom>
                <a:grpFill/>
                <a:ln w="9525" cap="flat">
                  <a:noFill/>
                  <a:prstDash val="solid"/>
                  <a:miter/>
                </a:ln>
              </p:spPr>
              <p:txBody>
                <a:bodyPr rtlCol="0" anchor="ctr"/>
                <a:lstStyle/>
                <a:p>
                  <a:endParaRPr lang="de-DE"/>
                </a:p>
              </p:txBody>
            </p:sp>
            <p:sp>
              <p:nvSpPr>
                <p:cNvPr id="645" name="Grafik 3759">
                  <a:extLst>
                    <a:ext uri="{FF2B5EF4-FFF2-40B4-BE49-F238E27FC236}">
                      <a16:creationId xmlns:a16="http://schemas.microsoft.com/office/drawing/2014/main" id="{F4163C01-74DD-A419-9B00-35D0F03F6E54}"/>
                    </a:ext>
                  </a:extLst>
                </p:cNvPr>
                <p:cNvSpPr/>
                <p:nvPr/>
              </p:nvSpPr>
              <p:spPr bwMode="gray">
                <a:xfrm>
                  <a:off x="5974936"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6" name="Grafik 3759">
                  <a:extLst>
                    <a:ext uri="{FF2B5EF4-FFF2-40B4-BE49-F238E27FC236}">
                      <a16:creationId xmlns:a16="http://schemas.microsoft.com/office/drawing/2014/main" id="{732383E3-EA1E-5AF9-49FA-05063CCD23E6}"/>
                    </a:ext>
                  </a:extLst>
                </p:cNvPr>
                <p:cNvSpPr/>
                <p:nvPr/>
              </p:nvSpPr>
              <p:spPr bwMode="gray">
                <a:xfrm>
                  <a:off x="5974936"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9" y="14287"/>
                        <a:pt x="0" y="11049"/>
                        <a:pt x="0" y="7144"/>
                      </a:cubicBezTo>
                      <a:cubicBezTo>
                        <a:pt x="0" y="3238"/>
                        <a:pt x="3239" y="0"/>
                        <a:pt x="7144" y="0"/>
                      </a:cubicBezTo>
                      <a:lnTo>
                        <a:pt x="39529" y="0"/>
                      </a:lnTo>
                      <a:cubicBezTo>
                        <a:pt x="43434" y="0"/>
                        <a:pt x="46673" y="3238"/>
                        <a:pt x="46673" y="7144"/>
                      </a:cubicBezTo>
                      <a:cubicBezTo>
                        <a:pt x="46673" y="11049"/>
                        <a:pt x="43529" y="14287"/>
                        <a:pt x="39529" y="14287"/>
                      </a:cubicBezTo>
                      <a:close/>
                    </a:path>
                  </a:pathLst>
                </a:custGeom>
                <a:grpFill/>
                <a:ln w="9525" cap="flat">
                  <a:noFill/>
                  <a:prstDash val="solid"/>
                  <a:miter/>
                </a:ln>
              </p:spPr>
              <p:txBody>
                <a:bodyPr rtlCol="0" anchor="ctr"/>
                <a:lstStyle/>
                <a:p>
                  <a:endParaRPr lang="de-DE"/>
                </a:p>
              </p:txBody>
            </p:sp>
          </p:grpSp>
          <p:sp>
            <p:nvSpPr>
              <p:cNvPr id="643" name="Grafik 3759">
                <a:extLst>
                  <a:ext uri="{FF2B5EF4-FFF2-40B4-BE49-F238E27FC236}">
                    <a16:creationId xmlns:a16="http://schemas.microsoft.com/office/drawing/2014/main" id="{159819AC-584E-7433-0367-C2622657B414}"/>
                  </a:ext>
                </a:extLst>
              </p:cNvPr>
              <p:cNvSpPr/>
              <p:nvPr/>
            </p:nvSpPr>
            <p:spPr bwMode="gray">
              <a:xfrm>
                <a:off x="6037992" y="3273837"/>
                <a:ext cx="111442" cy="62864"/>
              </a:xfrm>
              <a:custGeom>
                <a:avLst/>
                <a:gdLst>
                  <a:gd name="connsiteX0" fmla="*/ 55721 w 111442"/>
                  <a:gd name="connsiteY0" fmla="*/ 62865 h 62864"/>
                  <a:gd name="connsiteX1" fmla="*/ 0 w 111442"/>
                  <a:gd name="connsiteY1" fmla="*/ 31433 h 62864"/>
                  <a:gd name="connsiteX2" fmla="*/ 55721 w 111442"/>
                  <a:gd name="connsiteY2" fmla="*/ 0 h 62864"/>
                  <a:gd name="connsiteX3" fmla="*/ 111443 w 111442"/>
                  <a:gd name="connsiteY3" fmla="*/ 31433 h 62864"/>
                  <a:gd name="connsiteX4" fmla="*/ 55721 w 111442"/>
                  <a:gd name="connsiteY4" fmla="*/ 62865 h 62864"/>
                  <a:gd name="connsiteX5" fmla="*/ 55721 w 111442"/>
                  <a:gd name="connsiteY5" fmla="*/ 14192 h 62864"/>
                  <a:gd name="connsiteX6" fmla="*/ 14288 w 111442"/>
                  <a:gd name="connsiteY6" fmla="*/ 31337 h 62864"/>
                  <a:gd name="connsiteX7" fmla="*/ 55721 w 111442"/>
                  <a:gd name="connsiteY7" fmla="*/ 48482 h 62864"/>
                  <a:gd name="connsiteX8" fmla="*/ 97155 w 111442"/>
                  <a:gd name="connsiteY8" fmla="*/ 31337 h 62864"/>
                  <a:gd name="connsiteX9" fmla="*/ 55721 w 111442"/>
                  <a:gd name="connsiteY9"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442" h="62864">
                    <a:moveTo>
                      <a:pt x="55721" y="62865"/>
                    </a:moveTo>
                    <a:cubicBezTo>
                      <a:pt x="23908" y="62865"/>
                      <a:pt x="0" y="49340"/>
                      <a:pt x="0" y="31433"/>
                    </a:cubicBezTo>
                    <a:cubicBezTo>
                      <a:pt x="0" y="13526"/>
                      <a:pt x="24003" y="0"/>
                      <a:pt x="55721" y="0"/>
                    </a:cubicBezTo>
                    <a:cubicBezTo>
                      <a:pt x="87440" y="0"/>
                      <a:pt x="111443" y="13526"/>
                      <a:pt x="111443" y="31433"/>
                    </a:cubicBezTo>
                    <a:cubicBezTo>
                      <a:pt x="111443" y="49340"/>
                      <a:pt x="87535" y="62865"/>
                      <a:pt x="55721" y="62865"/>
                    </a:cubicBezTo>
                    <a:close/>
                    <a:moveTo>
                      <a:pt x="55721" y="14192"/>
                    </a:moveTo>
                    <a:cubicBezTo>
                      <a:pt x="30385" y="14192"/>
                      <a:pt x="14288" y="24384"/>
                      <a:pt x="14288" y="31337"/>
                    </a:cubicBezTo>
                    <a:cubicBezTo>
                      <a:pt x="14288" y="38290"/>
                      <a:pt x="30480" y="48482"/>
                      <a:pt x="55721" y="48482"/>
                    </a:cubicBezTo>
                    <a:cubicBezTo>
                      <a:pt x="80963" y="48482"/>
                      <a:pt x="97155" y="38290"/>
                      <a:pt x="97155" y="31337"/>
                    </a:cubicBezTo>
                    <a:cubicBezTo>
                      <a:pt x="97155" y="24384"/>
                      <a:pt x="81058" y="14192"/>
                      <a:pt x="55721" y="14192"/>
                    </a:cubicBezTo>
                    <a:close/>
                  </a:path>
                </a:pathLst>
              </a:custGeom>
              <a:grpFill/>
              <a:ln w="9525" cap="flat">
                <a:noFill/>
                <a:prstDash val="solid"/>
                <a:miter/>
              </a:ln>
            </p:spPr>
            <p:txBody>
              <a:bodyPr rtlCol="0" anchor="ctr"/>
              <a:lstStyle/>
              <a:p>
                <a:endParaRPr lang="de-DE"/>
              </a:p>
            </p:txBody>
          </p:sp>
        </p:grpSp>
        <p:sp>
          <p:nvSpPr>
            <p:cNvPr id="634" name="Grafik 3759">
              <a:extLst>
                <a:ext uri="{FF2B5EF4-FFF2-40B4-BE49-F238E27FC236}">
                  <a16:creationId xmlns:a16="http://schemas.microsoft.com/office/drawing/2014/main" id="{3569A9F1-1794-569C-7DC9-0BA71B109F0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68" name="Grafik 21">
            <a:extLst>
              <a:ext uri="{FF2B5EF4-FFF2-40B4-BE49-F238E27FC236}">
                <a16:creationId xmlns:a16="http://schemas.microsoft.com/office/drawing/2014/main" id="{B34A9A2B-A76B-7229-ADB1-A16F46078524}"/>
              </a:ext>
            </a:extLst>
          </p:cNvPr>
          <p:cNvGrpSpPr>
            <a:grpSpLocks noChangeAspect="1"/>
          </p:cNvGrpSpPr>
          <p:nvPr/>
        </p:nvGrpSpPr>
        <p:grpSpPr bwMode="gray">
          <a:xfrm>
            <a:off x="8349529" y="5031047"/>
            <a:ext cx="374400" cy="374400"/>
            <a:chOff x="5843587" y="3176587"/>
            <a:chExt cx="500253" cy="500253"/>
          </a:xfrm>
          <a:solidFill>
            <a:schemeClr val="tx1"/>
          </a:solidFill>
        </p:grpSpPr>
        <p:grpSp>
          <p:nvGrpSpPr>
            <p:cNvPr id="669" name="Grafik 21">
              <a:extLst>
                <a:ext uri="{FF2B5EF4-FFF2-40B4-BE49-F238E27FC236}">
                  <a16:creationId xmlns:a16="http://schemas.microsoft.com/office/drawing/2014/main" id="{A5C1586F-5520-D3EA-C76D-A1D8F8C4B6E9}"/>
                </a:ext>
              </a:extLst>
            </p:cNvPr>
            <p:cNvGrpSpPr/>
            <p:nvPr/>
          </p:nvGrpSpPr>
          <p:grpSpPr bwMode="gray">
            <a:xfrm>
              <a:off x="5989319" y="3354704"/>
              <a:ext cx="143922" cy="208787"/>
              <a:chOff x="5989319" y="3354704"/>
              <a:chExt cx="143922" cy="208787"/>
            </a:xfrm>
            <a:grpFill/>
          </p:grpSpPr>
          <p:sp>
            <p:nvSpPr>
              <p:cNvPr id="683" name="Grafik 21">
                <a:extLst>
                  <a:ext uri="{FF2B5EF4-FFF2-40B4-BE49-F238E27FC236}">
                    <a16:creationId xmlns:a16="http://schemas.microsoft.com/office/drawing/2014/main" id="{8631A484-B699-AAC6-E6D7-714DE7850608}"/>
                  </a:ext>
                </a:extLst>
              </p:cNvPr>
              <p:cNvSpPr/>
              <p:nvPr/>
            </p:nvSpPr>
            <p:spPr bwMode="gray">
              <a:xfrm>
                <a:off x="5989319" y="3419569"/>
                <a:ext cx="143922" cy="143922"/>
              </a:xfrm>
              <a:custGeom>
                <a:avLst/>
                <a:gdLst>
                  <a:gd name="connsiteX0" fmla="*/ 123349 w 143922"/>
                  <a:gd name="connsiteY0" fmla="*/ 143923 h 143922"/>
                  <a:gd name="connsiteX1" fmla="*/ 20669 w 143922"/>
                  <a:gd name="connsiteY1" fmla="*/ 143923 h 143922"/>
                  <a:gd name="connsiteX2" fmla="*/ 0 w 143922"/>
                  <a:gd name="connsiteY2" fmla="*/ 123254 h 143922"/>
                  <a:gd name="connsiteX3" fmla="*/ 0 w 143922"/>
                  <a:gd name="connsiteY3" fmla="*/ 20669 h 143922"/>
                  <a:gd name="connsiteX4" fmla="*/ 20669 w 143922"/>
                  <a:gd name="connsiteY4" fmla="*/ 0 h 143922"/>
                  <a:gd name="connsiteX5" fmla="*/ 123253 w 143922"/>
                  <a:gd name="connsiteY5" fmla="*/ 0 h 143922"/>
                  <a:gd name="connsiteX6" fmla="*/ 143923 w 143922"/>
                  <a:gd name="connsiteY6" fmla="*/ 20669 h 143922"/>
                  <a:gd name="connsiteX7" fmla="*/ 143923 w 143922"/>
                  <a:gd name="connsiteY7" fmla="*/ 123254 h 143922"/>
                  <a:gd name="connsiteX8" fmla="*/ 123349 w 143922"/>
                  <a:gd name="connsiteY8" fmla="*/ 143923 h 143922"/>
                  <a:gd name="connsiteX9" fmla="*/ 20669 w 143922"/>
                  <a:gd name="connsiteY9" fmla="*/ 14288 h 143922"/>
                  <a:gd name="connsiteX10" fmla="*/ 14287 w 143922"/>
                  <a:gd name="connsiteY10" fmla="*/ 20669 h 143922"/>
                  <a:gd name="connsiteX11" fmla="*/ 14287 w 143922"/>
                  <a:gd name="connsiteY11" fmla="*/ 123254 h 143922"/>
                  <a:gd name="connsiteX12" fmla="*/ 20669 w 143922"/>
                  <a:gd name="connsiteY12" fmla="*/ 129635 h 143922"/>
                  <a:gd name="connsiteX13" fmla="*/ 123253 w 143922"/>
                  <a:gd name="connsiteY13" fmla="*/ 129635 h 143922"/>
                  <a:gd name="connsiteX14" fmla="*/ 129635 w 143922"/>
                  <a:gd name="connsiteY14" fmla="*/ 123254 h 143922"/>
                  <a:gd name="connsiteX15" fmla="*/ 129635 w 143922"/>
                  <a:gd name="connsiteY15" fmla="*/ 20669 h 143922"/>
                  <a:gd name="connsiteX16" fmla="*/ 123253 w 143922"/>
                  <a:gd name="connsiteY16" fmla="*/ 14288 h 143922"/>
                  <a:gd name="connsiteX17" fmla="*/ 20669 w 143922"/>
                  <a:gd name="connsiteY17" fmla="*/ 14288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3922" h="143922">
                    <a:moveTo>
                      <a:pt x="123349" y="143923"/>
                    </a:moveTo>
                    <a:lnTo>
                      <a:pt x="20669" y="143923"/>
                    </a:lnTo>
                    <a:cubicBezTo>
                      <a:pt x="9335" y="143923"/>
                      <a:pt x="0" y="134684"/>
                      <a:pt x="0" y="123254"/>
                    </a:cubicBezTo>
                    <a:lnTo>
                      <a:pt x="0" y="20669"/>
                    </a:lnTo>
                    <a:cubicBezTo>
                      <a:pt x="0" y="9239"/>
                      <a:pt x="9239" y="0"/>
                      <a:pt x="20669" y="0"/>
                    </a:cubicBezTo>
                    <a:lnTo>
                      <a:pt x="123253" y="0"/>
                    </a:lnTo>
                    <a:cubicBezTo>
                      <a:pt x="134588" y="0"/>
                      <a:pt x="143923" y="9239"/>
                      <a:pt x="143923" y="20669"/>
                    </a:cubicBezTo>
                    <a:lnTo>
                      <a:pt x="143923" y="123254"/>
                    </a:lnTo>
                    <a:cubicBezTo>
                      <a:pt x="143923" y="134684"/>
                      <a:pt x="134684" y="143923"/>
                      <a:pt x="123349" y="143923"/>
                    </a:cubicBezTo>
                    <a:close/>
                    <a:moveTo>
                      <a:pt x="20669" y="14288"/>
                    </a:moveTo>
                    <a:cubicBezTo>
                      <a:pt x="17145" y="14288"/>
                      <a:pt x="14287" y="17145"/>
                      <a:pt x="14287" y="20669"/>
                    </a:cubicBezTo>
                    <a:lnTo>
                      <a:pt x="14287" y="123254"/>
                    </a:lnTo>
                    <a:cubicBezTo>
                      <a:pt x="14287" y="126778"/>
                      <a:pt x="17145" y="129635"/>
                      <a:pt x="20669" y="129635"/>
                    </a:cubicBezTo>
                    <a:lnTo>
                      <a:pt x="123253" y="129635"/>
                    </a:lnTo>
                    <a:cubicBezTo>
                      <a:pt x="126778" y="129635"/>
                      <a:pt x="129635" y="126778"/>
                      <a:pt x="129635" y="123254"/>
                    </a:cubicBezTo>
                    <a:lnTo>
                      <a:pt x="129635" y="20669"/>
                    </a:lnTo>
                    <a:cubicBezTo>
                      <a:pt x="129635" y="17145"/>
                      <a:pt x="126778" y="14288"/>
                      <a:pt x="123253" y="14288"/>
                    </a:cubicBezTo>
                    <a:lnTo>
                      <a:pt x="20669" y="14288"/>
                    </a:lnTo>
                    <a:close/>
                  </a:path>
                </a:pathLst>
              </a:custGeom>
              <a:grpFill/>
              <a:ln w="9525" cap="flat">
                <a:noFill/>
                <a:prstDash val="solid"/>
                <a:miter/>
              </a:ln>
            </p:spPr>
            <p:txBody>
              <a:bodyPr lIns="0" tIns="0" rIns="0" bIns="0" rtlCol="0" anchor="ctr"/>
              <a:lstStyle/>
              <a:p>
                <a:endParaRPr lang="en-US"/>
              </a:p>
            </p:txBody>
          </p:sp>
          <p:grpSp>
            <p:nvGrpSpPr>
              <p:cNvPr id="684" name="Grafik 21">
                <a:extLst>
                  <a:ext uri="{FF2B5EF4-FFF2-40B4-BE49-F238E27FC236}">
                    <a16:creationId xmlns:a16="http://schemas.microsoft.com/office/drawing/2014/main" id="{E40C70FD-BEF5-C48A-DF9A-618E96E9D74A}"/>
                  </a:ext>
                </a:extLst>
              </p:cNvPr>
              <p:cNvGrpSpPr/>
              <p:nvPr/>
            </p:nvGrpSpPr>
            <p:grpSpPr bwMode="gray">
              <a:xfrm>
                <a:off x="6010941" y="3354704"/>
                <a:ext cx="100774" cy="79152"/>
                <a:chOff x="6010941" y="3354704"/>
                <a:chExt cx="100774" cy="79152"/>
              </a:xfrm>
              <a:grpFill/>
            </p:grpSpPr>
            <p:sp>
              <p:nvSpPr>
                <p:cNvPr id="686" name="Grafik 21">
                  <a:extLst>
                    <a:ext uri="{FF2B5EF4-FFF2-40B4-BE49-F238E27FC236}">
                      <a16:creationId xmlns:a16="http://schemas.microsoft.com/office/drawing/2014/main" id="{D19A24AE-D0BC-33E3-9D64-BF4B93316895}"/>
                    </a:ext>
                  </a:extLst>
                </p:cNvPr>
                <p:cNvSpPr/>
                <p:nvPr/>
              </p:nvSpPr>
              <p:spPr bwMode="gray">
                <a:xfrm>
                  <a:off x="6010941" y="3354704"/>
                  <a:ext cx="100774" cy="57530"/>
                </a:xfrm>
                <a:custGeom>
                  <a:avLst/>
                  <a:gdLst>
                    <a:gd name="connsiteX0" fmla="*/ 93631 w 100774"/>
                    <a:gd name="connsiteY0" fmla="*/ 57531 h 57530"/>
                    <a:gd name="connsiteX1" fmla="*/ 86487 w 100774"/>
                    <a:gd name="connsiteY1" fmla="*/ 50387 h 57530"/>
                    <a:gd name="connsiteX2" fmla="*/ 50387 w 100774"/>
                    <a:gd name="connsiteY2" fmla="*/ 14288 h 57530"/>
                    <a:gd name="connsiteX3" fmla="*/ 14288 w 100774"/>
                    <a:gd name="connsiteY3" fmla="*/ 50387 h 57530"/>
                    <a:gd name="connsiteX4" fmla="*/ 7144 w 100774"/>
                    <a:gd name="connsiteY4" fmla="*/ 57531 h 57530"/>
                    <a:gd name="connsiteX5" fmla="*/ 0 w 100774"/>
                    <a:gd name="connsiteY5" fmla="*/ 50387 h 57530"/>
                    <a:gd name="connsiteX6" fmla="*/ 50387 w 100774"/>
                    <a:gd name="connsiteY6" fmla="*/ 0 h 57530"/>
                    <a:gd name="connsiteX7" fmla="*/ 100775 w 100774"/>
                    <a:gd name="connsiteY7" fmla="*/ 50387 h 57530"/>
                    <a:gd name="connsiteX8" fmla="*/ 93631 w 100774"/>
                    <a:gd name="connsiteY8" fmla="*/ 57531 h 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74" h="57530">
                      <a:moveTo>
                        <a:pt x="93631" y="57531"/>
                      </a:moveTo>
                      <a:cubicBezTo>
                        <a:pt x="89726" y="57531"/>
                        <a:pt x="86487" y="54292"/>
                        <a:pt x="86487" y="50387"/>
                      </a:cubicBezTo>
                      <a:cubicBezTo>
                        <a:pt x="86487" y="30480"/>
                        <a:pt x="70295" y="14288"/>
                        <a:pt x="50387" y="14288"/>
                      </a:cubicBezTo>
                      <a:cubicBezTo>
                        <a:pt x="30480" y="14288"/>
                        <a:pt x="14288" y="30480"/>
                        <a:pt x="14288" y="50387"/>
                      </a:cubicBezTo>
                      <a:cubicBezTo>
                        <a:pt x="14288" y="54292"/>
                        <a:pt x="11049" y="57531"/>
                        <a:pt x="7144" y="57531"/>
                      </a:cubicBezTo>
                      <a:cubicBezTo>
                        <a:pt x="3239" y="57531"/>
                        <a:pt x="0" y="54292"/>
                        <a:pt x="0" y="50387"/>
                      </a:cubicBezTo>
                      <a:cubicBezTo>
                        <a:pt x="0" y="22669"/>
                        <a:pt x="22574" y="0"/>
                        <a:pt x="50387" y="0"/>
                      </a:cubicBezTo>
                      <a:cubicBezTo>
                        <a:pt x="78105" y="0"/>
                        <a:pt x="100775" y="22574"/>
                        <a:pt x="100775" y="50387"/>
                      </a:cubicBezTo>
                      <a:cubicBezTo>
                        <a:pt x="100775" y="54388"/>
                        <a:pt x="97536" y="57531"/>
                        <a:pt x="93631" y="57531"/>
                      </a:cubicBezTo>
                      <a:close/>
                    </a:path>
                  </a:pathLst>
                </a:custGeom>
                <a:grpFill/>
                <a:ln w="9525" cap="flat">
                  <a:noFill/>
                  <a:prstDash val="solid"/>
                  <a:miter/>
                </a:ln>
              </p:spPr>
              <p:txBody>
                <a:bodyPr lIns="0" tIns="0" rIns="0" bIns="0" rtlCol="0" anchor="ctr"/>
                <a:lstStyle/>
                <a:p>
                  <a:endParaRPr lang="en-US"/>
                </a:p>
              </p:txBody>
            </p:sp>
            <p:sp>
              <p:nvSpPr>
                <p:cNvPr id="687" name="Grafik 21">
                  <a:extLst>
                    <a:ext uri="{FF2B5EF4-FFF2-40B4-BE49-F238E27FC236}">
                      <a16:creationId xmlns:a16="http://schemas.microsoft.com/office/drawing/2014/main" id="{1F569953-56D2-29DD-FCCC-B237713F51C5}"/>
                    </a:ext>
                  </a:extLst>
                </p:cNvPr>
                <p:cNvSpPr/>
                <p:nvPr/>
              </p:nvSpPr>
              <p:spPr bwMode="gray">
                <a:xfrm>
                  <a:off x="6010941"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144" y="35909"/>
                        <a:pt x="7144" y="35909"/>
                      </a:cubicBezTo>
                      <a:close/>
                    </a:path>
                  </a:pathLst>
                </a:custGeom>
                <a:grpFill/>
                <a:ln w="9525" cap="flat">
                  <a:noFill/>
                  <a:prstDash val="solid"/>
                  <a:miter/>
                </a:ln>
              </p:spPr>
              <p:txBody>
                <a:bodyPr lIns="0" tIns="0" rIns="0" bIns="0" rtlCol="0" anchor="ctr"/>
                <a:lstStyle/>
                <a:p>
                  <a:endParaRPr lang="en-US"/>
                </a:p>
              </p:txBody>
            </p:sp>
            <p:sp>
              <p:nvSpPr>
                <p:cNvPr id="688" name="Grafik 21">
                  <a:extLst>
                    <a:ext uri="{FF2B5EF4-FFF2-40B4-BE49-F238E27FC236}">
                      <a16:creationId xmlns:a16="http://schemas.microsoft.com/office/drawing/2014/main" id="{602CC154-AAB3-5031-8B43-CDA6C015C717}"/>
                    </a:ext>
                  </a:extLst>
                </p:cNvPr>
                <p:cNvSpPr/>
                <p:nvPr/>
              </p:nvSpPr>
              <p:spPr bwMode="gray">
                <a:xfrm>
                  <a:off x="6097428"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049" y="35909"/>
                        <a:pt x="7144" y="35909"/>
                      </a:cubicBezTo>
                      <a:close/>
                    </a:path>
                  </a:pathLst>
                </a:custGeom>
                <a:grpFill/>
                <a:ln w="9525" cap="flat">
                  <a:noFill/>
                  <a:prstDash val="solid"/>
                  <a:miter/>
                </a:ln>
              </p:spPr>
              <p:txBody>
                <a:bodyPr lIns="0" tIns="0" rIns="0" bIns="0" rtlCol="0" anchor="ctr"/>
                <a:lstStyle/>
                <a:p>
                  <a:endParaRPr lang="en-US"/>
                </a:p>
              </p:txBody>
            </p:sp>
          </p:grpSp>
          <p:sp>
            <p:nvSpPr>
              <p:cNvPr id="685" name="Grafik 21">
                <a:extLst>
                  <a:ext uri="{FF2B5EF4-FFF2-40B4-BE49-F238E27FC236}">
                    <a16:creationId xmlns:a16="http://schemas.microsoft.com/office/drawing/2014/main" id="{9B751EFC-FB2B-DFA7-0646-8C6C9E5649CE}"/>
                  </a:ext>
                </a:extLst>
              </p:cNvPr>
              <p:cNvSpPr/>
              <p:nvPr/>
            </p:nvSpPr>
            <p:spPr bwMode="gray">
              <a:xfrm>
                <a:off x="6034753" y="3448811"/>
                <a:ext cx="53194" cy="85534"/>
              </a:xfrm>
              <a:custGeom>
                <a:avLst/>
                <a:gdLst>
                  <a:gd name="connsiteX0" fmla="*/ 46006 w 53194"/>
                  <a:gd name="connsiteY0" fmla="*/ 85535 h 85534"/>
                  <a:gd name="connsiteX1" fmla="*/ 7144 w 53194"/>
                  <a:gd name="connsiteY1" fmla="*/ 85535 h 85534"/>
                  <a:gd name="connsiteX2" fmla="*/ 1524 w 53194"/>
                  <a:gd name="connsiteY2" fmla="*/ 82772 h 85534"/>
                  <a:gd name="connsiteX3" fmla="*/ 191 w 53194"/>
                  <a:gd name="connsiteY3" fmla="*/ 76676 h 85534"/>
                  <a:gd name="connsiteX4" fmla="*/ 8001 w 53194"/>
                  <a:gd name="connsiteY4" fmla="*/ 45530 h 85534"/>
                  <a:gd name="connsiteX5" fmla="*/ 0 w 53194"/>
                  <a:gd name="connsiteY5" fmla="*/ 26575 h 85534"/>
                  <a:gd name="connsiteX6" fmla="*/ 26575 w 53194"/>
                  <a:gd name="connsiteY6" fmla="*/ 0 h 85534"/>
                  <a:gd name="connsiteX7" fmla="*/ 53150 w 53194"/>
                  <a:gd name="connsiteY7" fmla="*/ 26575 h 85534"/>
                  <a:gd name="connsiteX8" fmla="*/ 45148 w 53194"/>
                  <a:gd name="connsiteY8" fmla="*/ 45530 h 85534"/>
                  <a:gd name="connsiteX9" fmla="*/ 52959 w 53194"/>
                  <a:gd name="connsiteY9" fmla="*/ 76676 h 85534"/>
                  <a:gd name="connsiteX10" fmla="*/ 51626 w 53194"/>
                  <a:gd name="connsiteY10" fmla="*/ 82772 h 85534"/>
                  <a:gd name="connsiteX11" fmla="*/ 46006 w 53194"/>
                  <a:gd name="connsiteY11" fmla="*/ 85535 h 85534"/>
                  <a:gd name="connsiteX12" fmla="*/ 16288 w 53194"/>
                  <a:gd name="connsiteY12" fmla="*/ 71247 h 85534"/>
                  <a:gd name="connsiteX13" fmla="*/ 36862 w 53194"/>
                  <a:gd name="connsiteY13" fmla="*/ 71247 h 85534"/>
                  <a:gd name="connsiteX14" fmla="*/ 30194 w 53194"/>
                  <a:gd name="connsiteY14" fmla="*/ 44577 h 85534"/>
                  <a:gd name="connsiteX15" fmla="*/ 33242 w 53194"/>
                  <a:gd name="connsiteY15" fmla="*/ 36862 h 85534"/>
                  <a:gd name="connsiteX16" fmla="*/ 38862 w 53194"/>
                  <a:gd name="connsiteY16" fmla="*/ 26575 h 85534"/>
                  <a:gd name="connsiteX17" fmla="*/ 26575 w 53194"/>
                  <a:gd name="connsiteY17" fmla="*/ 14288 h 85534"/>
                  <a:gd name="connsiteX18" fmla="*/ 14288 w 53194"/>
                  <a:gd name="connsiteY18" fmla="*/ 26575 h 85534"/>
                  <a:gd name="connsiteX19" fmla="*/ 19907 w 53194"/>
                  <a:gd name="connsiteY19" fmla="*/ 36862 h 85534"/>
                  <a:gd name="connsiteX20" fmla="*/ 22955 w 53194"/>
                  <a:gd name="connsiteY20" fmla="*/ 44577 h 85534"/>
                  <a:gd name="connsiteX21" fmla="*/ 16288 w 53194"/>
                  <a:gd name="connsiteY21" fmla="*/ 71247 h 8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94" h="85534">
                    <a:moveTo>
                      <a:pt x="46006" y="85535"/>
                    </a:moveTo>
                    <a:lnTo>
                      <a:pt x="7144" y="85535"/>
                    </a:lnTo>
                    <a:cubicBezTo>
                      <a:pt x="4953" y="85535"/>
                      <a:pt x="2858" y="84487"/>
                      <a:pt x="1524" y="82772"/>
                    </a:cubicBezTo>
                    <a:cubicBezTo>
                      <a:pt x="191" y="81058"/>
                      <a:pt x="-286" y="78772"/>
                      <a:pt x="191" y="76676"/>
                    </a:cubicBezTo>
                    <a:lnTo>
                      <a:pt x="8001" y="45530"/>
                    </a:lnTo>
                    <a:cubicBezTo>
                      <a:pt x="2953" y="40577"/>
                      <a:pt x="0" y="33814"/>
                      <a:pt x="0" y="26575"/>
                    </a:cubicBezTo>
                    <a:cubicBezTo>
                      <a:pt x="0" y="11906"/>
                      <a:pt x="11906" y="0"/>
                      <a:pt x="26575" y="0"/>
                    </a:cubicBezTo>
                    <a:cubicBezTo>
                      <a:pt x="41243" y="0"/>
                      <a:pt x="53150" y="11906"/>
                      <a:pt x="53150" y="26575"/>
                    </a:cubicBezTo>
                    <a:cubicBezTo>
                      <a:pt x="53150" y="33814"/>
                      <a:pt x="50197" y="40577"/>
                      <a:pt x="45148" y="45530"/>
                    </a:cubicBezTo>
                    <a:lnTo>
                      <a:pt x="52959" y="76676"/>
                    </a:lnTo>
                    <a:cubicBezTo>
                      <a:pt x="53531" y="78772"/>
                      <a:pt x="53054" y="81058"/>
                      <a:pt x="51626" y="82772"/>
                    </a:cubicBezTo>
                    <a:cubicBezTo>
                      <a:pt x="50292" y="84487"/>
                      <a:pt x="48196" y="85535"/>
                      <a:pt x="46006" y="85535"/>
                    </a:cubicBezTo>
                    <a:close/>
                    <a:moveTo>
                      <a:pt x="16288" y="71247"/>
                    </a:moveTo>
                    <a:lnTo>
                      <a:pt x="36862" y="71247"/>
                    </a:lnTo>
                    <a:lnTo>
                      <a:pt x="30194" y="44577"/>
                    </a:lnTo>
                    <a:cubicBezTo>
                      <a:pt x="29432" y="41624"/>
                      <a:pt x="30671" y="38481"/>
                      <a:pt x="33242" y="36862"/>
                    </a:cubicBezTo>
                    <a:cubicBezTo>
                      <a:pt x="36767" y="34576"/>
                      <a:pt x="38862" y="30670"/>
                      <a:pt x="38862" y="26575"/>
                    </a:cubicBezTo>
                    <a:cubicBezTo>
                      <a:pt x="38862" y="19812"/>
                      <a:pt x="33338" y="14288"/>
                      <a:pt x="26575" y="14288"/>
                    </a:cubicBezTo>
                    <a:cubicBezTo>
                      <a:pt x="19812" y="14288"/>
                      <a:pt x="14288" y="19812"/>
                      <a:pt x="14288" y="26575"/>
                    </a:cubicBezTo>
                    <a:cubicBezTo>
                      <a:pt x="14288" y="30766"/>
                      <a:pt x="16383" y="34576"/>
                      <a:pt x="19907" y="36862"/>
                    </a:cubicBezTo>
                    <a:cubicBezTo>
                      <a:pt x="22479" y="38481"/>
                      <a:pt x="23717" y="41624"/>
                      <a:pt x="22955" y="44577"/>
                    </a:cubicBezTo>
                    <a:lnTo>
                      <a:pt x="16288" y="71247"/>
                    </a:lnTo>
                    <a:close/>
                  </a:path>
                </a:pathLst>
              </a:custGeom>
              <a:grpFill/>
              <a:ln w="9525" cap="flat">
                <a:noFill/>
                <a:prstDash val="solid"/>
                <a:miter/>
              </a:ln>
            </p:spPr>
            <p:txBody>
              <a:bodyPr lIns="0" tIns="0" rIns="0" bIns="0" rtlCol="0" anchor="ctr"/>
              <a:lstStyle/>
              <a:p>
                <a:endParaRPr lang="en-US"/>
              </a:p>
            </p:txBody>
          </p:sp>
        </p:grpSp>
        <p:grpSp>
          <p:nvGrpSpPr>
            <p:cNvPr id="670" name="Grafik 21">
              <a:extLst>
                <a:ext uri="{FF2B5EF4-FFF2-40B4-BE49-F238E27FC236}">
                  <a16:creationId xmlns:a16="http://schemas.microsoft.com/office/drawing/2014/main" id="{CB3D57DF-90C0-96B8-9C66-8D0C4DC3BA57}"/>
                </a:ext>
              </a:extLst>
            </p:cNvPr>
            <p:cNvGrpSpPr/>
            <p:nvPr/>
          </p:nvGrpSpPr>
          <p:grpSpPr bwMode="gray">
            <a:xfrm>
              <a:off x="6167627" y="3424451"/>
              <a:ext cx="79057" cy="69318"/>
              <a:chOff x="6167627" y="3424451"/>
              <a:chExt cx="79057" cy="69318"/>
            </a:xfrm>
            <a:grpFill/>
          </p:grpSpPr>
          <p:sp>
            <p:nvSpPr>
              <p:cNvPr id="680" name="Grafik 21">
                <a:extLst>
                  <a:ext uri="{FF2B5EF4-FFF2-40B4-BE49-F238E27FC236}">
                    <a16:creationId xmlns:a16="http://schemas.microsoft.com/office/drawing/2014/main" id="{4F43F4EF-6396-25E9-C212-B2A42F7E0B5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681" name="Grafik 21">
                <a:extLst>
                  <a:ext uri="{FF2B5EF4-FFF2-40B4-BE49-F238E27FC236}">
                    <a16:creationId xmlns:a16="http://schemas.microsoft.com/office/drawing/2014/main" id="{3554911A-C0ED-C295-1D75-B96CBD0D99E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682" name="Grafik 21">
                <a:extLst>
                  <a:ext uri="{FF2B5EF4-FFF2-40B4-BE49-F238E27FC236}">
                    <a16:creationId xmlns:a16="http://schemas.microsoft.com/office/drawing/2014/main" id="{8290DB93-4AFC-F05B-6355-EC2EC2285684}"/>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671" name="Grafik 21">
              <a:extLst>
                <a:ext uri="{FF2B5EF4-FFF2-40B4-BE49-F238E27FC236}">
                  <a16:creationId xmlns:a16="http://schemas.microsoft.com/office/drawing/2014/main" id="{4CA0A11A-CDAE-F583-27CC-3EE39F5550F5}"/>
                </a:ext>
              </a:extLst>
            </p:cNvPr>
            <p:cNvGrpSpPr/>
            <p:nvPr/>
          </p:nvGrpSpPr>
          <p:grpSpPr bwMode="gray">
            <a:xfrm>
              <a:off x="5875972" y="3424451"/>
              <a:ext cx="79128" cy="69318"/>
              <a:chOff x="5875972" y="3424451"/>
              <a:chExt cx="79128" cy="69318"/>
            </a:xfrm>
            <a:grpFill/>
          </p:grpSpPr>
          <p:sp>
            <p:nvSpPr>
              <p:cNvPr id="677" name="Grafik 21">
                <a:extLst>
                  <a:ext uri="{FF2B5EF4-FFF2-40B4-BE49-F238E27FC236}">
                    <a16:creationId xmlns:a16="http://schemas.microsoft.com/office/drawing/2014/main" id="{77FB27EE-AB8B-932D-6FD8-691221FC2300}"/>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678" name="Grafik 21">
                <a:extLst>
                  <a:ext uri="{FF2B5EF4-FFF2-40B4-BE49-F238E27FC236}">
                    <a16:creationId xmlns:a16="http://schemas.microsoft.com/office/drawing/2014/main" id="{419D76FE-2E68-4D42-546C-902AC806CDF9}"/>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679" name="Grafik 21">
                <a:extLst>
                  <a:ext uri="{FF2B5EF4-FFF2-40B4-BE49-F238E27FC236}">
                    <a16:creationId xmlns:a16="http://schemas.microsoft.com/office/drawing/2014/main" id="{1D3A54F0-2E65-3BA3-773C-2E6026803FF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72" name="Grafik 21">
              <a:extLst>
                <a:ext uri="{FF2B5EF4-FFF2-40B4-BE49-F238E27FC236}">
                  <a16:creationId xmlns:a16="http://schemas.microsoft.com/office/drawing/2014/main" id="{57884EFC-2070-6506-D3E3-EE4BD68F65A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73" name="Grafik 21">
              <a:extLst>
                <a:ext uri="{FF2B5EF4-FFF2-40B4-BE49-F238E27FC236}">
                  <a16:creationId xmlns:a16="http://schemas.microsoft.com/office/drawing/2014/main" id="{E0CED228-A1A0-60F5-FFD8-C286BDC4941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74" name="Grafik 21">
              <a:extLst>
                <a:ext uri="{FF2B5EF4-FFF2-40B4-BE49-F238E27FC236}">
                  <a16:creationId xmlns:a16="http://schemas.microsoft.com/office/drawing/2014/main" id="{9D5235C9-27BE-3EC2-7288-CB63B85E8AF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5" name="Grafik 21">
              <a:extLst>
                <a:ext uri="{FF2B5EF4-FFF2-40B4-BE49-F238E27FC236}">
                  <a16:creationId xmlns:a16="http://schemas.microsoft.com/office/drawing/2014/main" id="{989E6ED5-EC6A-C8D6-1B17-A07394C031C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6" name="Grafik 21">
              <a:extLst>
                <a:ext uri="{FF2B5EF4-FFF2-40B4-BE49-F238E27FC236}">
                  <a16:creationId xmlns:a16="http://schemas.microsoft.com/office/drawing/2014/main" id="{4EC4A319-8100-8A8A-676D-D3E896E267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689" name="Grafik 25">
            <a:extLst>
              <a:ext uri="{FF2B5EF4-FFF2-40B4-BE49-F238E27FC236}">
                <a16:creationId xmlns:a16="http://schemas.microsoft.com/office/drawing/2014/main" id="{A4956518-643B-4FAE-BBFC-62CF2753E71D}"/>
              </a:ext>
            </a:extLst>
          </p:cNvPr>
          <p:cNvGrpSpPr>
            <a:grpSpLocks noChangeAspect="1"/>
          </p:cNvGrpSpPr>
          <p:nvPr/>
        </p:nvGrpSpPr>
        <p:grpSpPr bwMode="gray">
          <a:xfrm>
            <a:off x="8349529" y="5480299"/>
            <a:ext cx="374400" cy="374400"/>
            <a:chOff x="5843587" y="3176587"/>
            <a:chExt cx="500253" cy="500253"/>
          </a:xfrm>
          <a:solidFill>
            <a:schemeClr val="tx1"/>
          </a:solidFill>
        </p:grpSpPr>
        <p:sp>
          <p:nvSpPr>
            <p:cNvPr id="690" name="Grafik 25">
              <a:extLst>
                <a:ext uri="{FF2B5EF4-FFF2-40B4-BE49-F238E27FC236}">
                  <a16:creationId xmlns:a16="http://schemas.microsoft.com/office/drawing/2014/main" id="{ED07760E-B4D9-159F-112B-3A2D8F0C54E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91" name="Grafik 25">
              <a:extLst>
                <a:ext uri="{FF2B5EF4-FFF2-40B4-BE49-F238E27FC236}">
                  <a16:creationId xmlns:a16="http://schemas.microsoft.com/office/drawing/2014/main" id="{CBB75F82-6BBE-B791-228E-4738B261A44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92" name="Grafik 25">
              <a:extLst>
                <a:ext uri="{FF2B5EF4-FFF2-40B4-BE49-F238E27FC236}">
                  <a16:creationId xmlns:a16="http://schemas.microsoft.com/office/drawing/2014/main" id="{C963A6F1-EEB7-FA87-4065-DE45C5E2A76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3" name="Grafik 25">
              <a:extLst>
                <a:ext uri="{FF2B5EF4-FFF2-40B4-BE49-F238E27FC236}">
                  <a16:creationId xmlns:a16="http://schemas.microsoft.com/office/drawing/2014/main" id="{7CB90FC6-6AE2-ED50-70A8-D2320A251F2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4" name="Grafik 25">
              <a:extLst>
                <a:ext uri="{FF2B5EF4-FFF2-40B4-BE49-F238E27FC236}">
                  <a16:creationId xmlns:a16="http://schemas.microsoft.com/office/drawing/2014/main" id="{01F3650C-4BF2-B3EE-E42B-2F82FBF3287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5" name="Grafik 25">
              <a:extLst>
                <a:ext uri="{FF2B5EF4-FFF2-40B4-BE49-F238E27FC236}">
                  <a16:creationId xmlns:a16="http://schemas.microsoft.com/office/drawing/2014/main" id="{84BEBB9B-E85C-1E06-9321-C8CF80238B42}"/>
                </a:ext>
              </a:extLst>
            </p:cNvPr>
            <p:cNvSpPr/>
            <p:nvPr/>
          </p:nvSpPr>
          <p:spPr bwMode="gray">
            <a:xfrm>
              <a:off x="6135147" y="3330525"/>
              <a:ext cx="46672" cy="257256"/>
            </a:xfrm>
            <a:custGeom>
              <a:avLst/>
              <a:gdLst>
                <a:gd name="connsiteX0" fmla="*/ 7144 w 46672"/>
                <a:gd name="connsiteY0" fmla="*/ 257256 h 257256"/>
                <a:gd name="connsiteX1" fmla="*/ 4381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0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1" y="256685"/>
                  </a:cubicBezTo>
                  <a:cubicBezTo>
                    <a:pt x="1715" y="255542"/>
                    <a:pt x="0" y="252970"/>
                    <a:pt x="0" y="250112"/>
                  </a:cubicBezTo>
                  <a:lnTo>
                    <a:pt x="0" y="39515"/>
                  </a:lnTo>
                  <a:cubicBezTo>
                    <a:pt x="0" y="37610"/>
                    <a:pt x="762" y="35800"/>
                    <a:pt x="2095" y="34466"/>
                  </a:cubicBezTo>
                  <a:lnTo>
                    <a:pt x="34480"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6" name="Grafik 25">
              <a:extLst>
                <a:ext uri="{FF2B5EF4-FFF2-40B4-BE49-F238E27FC236}">
                  <a16:creationId xmlns:a16="http://schemas.microsoft.com/office/drawing/2014/main" id="{A70F25F2-171E-DEEC-EEF5-1BDF01EA1E3A}"/>
                </a:ext>
              </a:extLst>
            </p:cNvPr>
            <p:cNvSpPr/>
            <p:nvPr/>
          </p:nvSpPr>
          <p:spPr bwMode="gray">
            <a:xfrm>
              <a:off x="6037992"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5"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7" name="Grafik 25">
              <a:extLst>
                <a:ext uri="{FF2B5EF4-FFF2-40B4-BE49-F238E27FC236}">
                  <a16:creationId xmlns:a16="http://schemas.microsoft.com/office/drawing/2014/main" id="{29F5F94F-33C2-0072-E4F9-334C9B4A860D}"/>
                </a:ext>
              </a:extLst>
            </p:cNvPr>
            <p:cNvSpPr/>
            <p:nvPr/>
          </p:nvSpPr>
          <p:spPr bwMode="gray">
            <a:xfrm>
              <a:off x="5940837"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6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6"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763" y="256494"/>
                    <a:pt x="8953"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grpSp>
          <p:nvGrpSpPr>
            <p:cNvPr id="698" name="Grafik 25">
              <a:extLst>
                <a:ext uri="{FF2B5EF4-FFF2-40B4-BE49-F238E27FC236}">
                  <a16:creationId xmlns:a16="http://schemas.microsoft.com/office/drawing/2014/main" id="{8708B940-0BA5-7212-5A76-10ABA13BC520}"/>
                </a:ext>
              </a:extLst>
            </p:cNvPr>
            <p:cNvGrpSpPr/>
            <p:nvPr/>
          </p:nvGrpSpPr>
          <p:grpSpPr bwMode="gray">
            <a:xfrm>
              <a:off x="5892164" y="3379112"/>
              <a:ext cx="338327" cy="69222"/>
              <a:chOff x="5892164" y="3379112"/>
              <a:chExt cx="338327" cy="69222"/>
            </a:xfrm>
            <a:grpFill/>
          </p:grpSpPr>
          <p:sp>
            <p:nvSpPr>
              <p:cNvPr id="704" name="Grafik 25">
                <a:extLst>
                  <a:ext uri="{FF2B5EF4-FFF2-40B4-BE49-F238E27FC236}">
                    <a16:creationId xmlns:a16="http://schemas.microsoft.com/office/drawing/2014/main" id="{5056BD52-9D00-B939-5C73-AF41C55A05AF}"/>
                  </a:ext>
                </a:extLst>
              </p:cNvPr>
              <p:cNvSpPr/>
              <p:nvPr/>
            </p:nvSpPr>
            <p:spPr bwMode="gray">
              <a:xfrm>
                <a:off x="5892164" y="3406615"/>
                <a:ext cx="338327" cy="14287"/>
              </a:xfrm>
              <a:custGeom>
                <a:avLst/>
                <a:gdLst>
                  <a:gd name="connsiteX0" fmla="*/ 331184 w 338327"/>
                  <a:gd name="connsiteY0" fmla="*/ 14288 h 14287"/>
                  <a:gd name="connsiteX1" fmla="*/ 7144 w 338327"/>
                  <a:gd name="connsiteY1" fmla="*/ 14288 h 14287"/>
                  <a:gd name="connsiteX2" fmla="*/ 0 w 338327"/>
                  <a:gd name="connsiteY2" fmla="*/ 7144 h 14287"/>
                  <a:gd name="connsiteX3" fmla="*/ 7144 w 338327"/>
                  <a:gd name="connsiteY3" fmla="*/ 0 h 14287"/>
                  <a:gd name="connsiteX4" fmla="*/ 331184 w 338327"/>
                  <a:gd name="connsiteY4" fmla="*/ 0 h 14287"/>
                  <a:gd name="connsiteX5" fmla="*/ 338328 w 338327"/>
                  <a:gd name="connsiteY5" fmla="*/ 7144 h 14287"/>
                  <a:gd name="connsiteX6" fmla="*/ 331184 w 3383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327" h="14287">
                    <a:moveTo>
                      <a:pt x="331184" y="14288"/>
                    </a:moveTo>
                    <a:lnTo>
                      <a:pt x="7144" y="14288"/>
                    </a:lnTo>
                    <a:cubicBezTo>
                      <a:pt x="3239" y="14288"/>
                      <a:pt x="0" y="11049"/>
                      <a:pt x="0" y="7144"/>
                    </a:cubicBezTo>
                    <a:cubicBezTo>
                      <a:pt x="0" y="3239"/>
                      <a:pt x="3239" y="0"/>
                      <a:pt x="7144" y="0"/>
                    </a:cubicBezTo>
                    <a:lnTo>
                      <a:pt x="331184" y="0"/>
                    </a:lnTo>
                    <a:cubicBezTo>
                      <a:pt x="335090" y="0"/>
                      <a:pt x="338328" y="3239"/>
                      <a:pt x="338328" y="7144"/>
                    </a:cubicBezTo>
                    <a:cubicBezTo>
                      <a:pt x="338328" y="11049"/>
                      <a:pt x="335090" y="14288"/>
                      <a:pt x="331184" y="14288"/>
                    </a:cubicBezTo>
                    <a:close/>
                  </a:path>
                </a:pathLst>
              </a:custGeom>
              <a:grpFill/>
              <a:ln w="9525" cap="flat">
                <a:noFill/>
                <a:prstDash val="solid"/>
                <a:miter/>
              </a:ln>
            </p:spPr>
            <p:txBody>
              <a:bodyPr lIns="0" tIns="0" rIns="0" bIns="0" rtlCol="0" anchor="ctr"/>
              <a:lstStyle/>
              <a:p>
                <a:endParaRPr lang="en-US"/>
              </a:p>
            </p:txBody>
          </p:sp>
          <p:sp>
            <p:nvSpPr>
              <p:cNvPr id="705" name="Grafik 25">
                <a:extLst>
                  <a:ext uri="{FF2B5EF4-FFF2-40B4-BE49-F238E27FC236}">
                    <a16:creationId xmlns:a16="http://schemas.microsoft.com/office/drawing/2014/main" id="{BAE173BE-2207-E9AF-9C16-02C94B722194}"/>
                  </a:ext>
                </a:extLst>
              </p:cNvPr>
              <p:cNvSpPr/>
              <p:nvPr/>
            </p:nvSpPr>
            <p:spPr bwMode="gray">
              <a:xfrm>
                <a:off x="6188701" y="337911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06" name="Grafik 25">
                <a:extLst>
                  <a:ext uri="{FF2B5EF4-FFF2-40B4-BE49-F238E27FC236}">
                    <a16:creationId xmlns:a16="http://schemas.microsoft.com/office/drawing/2014/main" id="{9954723F-D813-40B4-A82A-EB18567FE337}"/>
                  </a:ext>
                </a:extLst>
              </p:cNvPr>
              <p:cNvSpPr/>
              <p:nvPr/>
            </p:nvSpPr>
            <p:spPr bwMode="gray">
              <a:xfrm>
                <a:off x="6188701" y="340654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99" name="Grafik 25">
              <a:extLst>
                <a:ext uri="{FF2B5EF4-FFF2-40B4-BE49-F238E27FC236}">
                  <a16:creationId xmlns:a16="http://schemas.microsoft.com/office/drawing/2014/main" id="{823BB3EE-3E47-600E-A8AD-9F44E83C4880}"/>
                </a:ext>
              </a:extLst>
            </p:cNvPr>
            <p:cNvSpPr/>
            <p:nvPr/>
          </p:nvSpPr>
          <p:spPr bwMode="gray">
            <a:xfrm>
              <a:off x="5892164" y="3497389"/>
              <a:ext cx="273462" cy="14287"/>
            </a:xfrm>
            <a:custGeom>
              <a:avLst/>
              <a:gdLst>
                <a:gd name="connsiteX0" fmla="*/ 266414 w 273462"/>
                <a:gd name="connsiteY0" fmla="*/ 14288 h 14287"/>
                <a:gd name="connsiteX1" fmla="*/ 7144 w 273462"/>
                <a:gd name="connsiteY1" fmla="*/ 14288 h 14287"/>
                <a:gd name="connsiteX2" fmla="*/ 0 w 273462"/>
                <a:gd name="connsiteY2" fmla="*/ 7144 h 14287"/>
                <a:gd name="connsiteX3" fmla="*/ 7144 w 273462"/>
                <a:gd name="connsiteY3" fmla="*/ 0 h 14287"/>
                <a:gd name="connsiteX4" fmla="*/ 266319 w 273462"/>
                <a:gd name="connsiteY4" fmla="*/ 0 h 14287"/>
                <a:gd name="connsiteX5" fmla="*/ 273463 w 273462"/>
                <a:gd name="connsiteY5" fmla="*/ 7144 h 14287"/>
                <a:gd name="connsiteX6" fmla="*/ 266414 w 27346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62" h="14287">
                  <a:moveTo>
                    <a:pt x="266414" y="14288"/>
                  </a:moveTo>
                  <a:lnTo>
                    <a:pt x="7144" y="14288"/>
                  </a:lnTo>
                  <a:cubicBezTo>
                    <a:pt x="3239" y="14288"/>
                    <a:pt x="0" y="11049"/>
                    <a:pt x="0" y="7144"/>
                  </a:cubicBezTo>
                  <a:cubicBezTo>
                    <a:pt x="0" y="3239"/>
                    <a:pt x="3239" y="0"/>
                    <a:pt x="7144" y="0"/>
                  </a:cubicBezTo>
                  <a:lnTo>
                    <a:pt x="266319" y="0"/>
                  </a:lnTo>
                  <a:cubicBezTo>
                    <a:pt x="270224" y="0"/>
                    <a:pt x="273463" y="3239"/>
                    <a:pt x="273463" y="7144"/>
                  </a:cubicBezTo>
                  <a:cubicBezTo>
                    <a:pt x="273463" y="11049"/>
                    <a:pt x="270320" y="14288"/>
                    <a:pt x="266414" y="14288"/>
                  </a:cubicBezTo>
                  <a:close/>
                </a:path>
              </a:pathLst>
            </a:custGeom>
            <a:grpFill/>
            <a:ln w="9525" cap="flat">
              <a:noFill/>
              <a:prstDash val="solid"/>
              <a:miter/>
            </a:ln>
          </p:spPr>
          <p:txBody>
            <a:bodyPr lIns="0" tIns="0" rIns="0" bIns="0" rtlCol="0" anchor="ctr"/>
            <a:lstStyle/>
            <a:p>
              <a:endParaRPr lang="en-US"/>
            </a:p>
          </p:txBody>
        </p:sp>
        <p:grpSp>
          <p:nvGrpSpPr>
            <p:cNvPr id="700" name="Grafik 25">
              <a:extLst>
                <a:ext uri="{FF2B5EF4-FFF2-40B4-BE49-F238E27FC236}">
                  <a16:creationId xmlns:a16="http://schemas.microsoft.com/office/drawing/2014/main" id="{03663796-EA1C-CAB8-392D-81DD906F1541}"/>
                </a:ext>
              </a:extLst>
            </p:cNvPr>
            <p:cNvGrpSpPr/>
            <p:nvPr/>
          </p:nvGrpSpPr>
          <p:grpSpPr bwMode="gray">
            <a:xfrm>
              <a:off x="6074070" y="3497412"/>
              <a:ext cx="91627" cy="91606"/>
              <a:chOff x="6074070" y="3497412"/>
              <a:chExt cx="91627" cy="91606"/>
            </a:xfrm>
            <a:grpFill/>
          </p:grpSpPr>
          <p:sp>
            <p:nvSpPr>
              <p:cNvPr id="701" name="Grafik 25">
                <a:extLst>
                  <a:ext uri="{FF2B5EF4-FFF2-40B4-BE49-F238E27FC236}">
                    <a16:creationId xmlns:a16="http://schemas.microsoft.com/office/drawing/2014/main" id="{F16C34E5-9C91-07B7-B5A2-F247EC373D7C}"/>
                  </a:ext>
                </a:extLst>
              </p:cNvPr>
              <p:cNvSpPr/>
              <p:nvPr/>
            </p:nvSpPr>
            <p:spPr bwMode="gray">
              <a:xfrm>
                <a:off x="6074115" y="3497412"/>
                <a:ext cx="91582" cy="91606"/>
              </a:xfrm>
              <a:custGeom>
                <a:avLst/>
                <a:gdLst>
                  <a:gd name="connsiteX0" fmla="*/ 7120 w 91582"/>
                  <a:gd name="connsiteY0" fmla="*/ 91607 h 91606"/>
                  <a:gd name="connsiteX1" fmla="*/ 2072 w 91582"/>
                  <a:gd name="connsiteY1" fmla="*/ 89511 h 91606"/>
                  <a:gd name="connsiteX2" fmla="*/ 2072 w 91582"/>
                  <a:gd name="connsiteY2" fmla="*/ 79415 h 91606"/>
                  <a:gd name="connsiteX3" fmla="*/ 79415 w 91582"/>
                  <a:gd name="connsiteY3" fmla="*/ 2072 h 91606"/>
                  <a:gd name="connsiteX4" fmla="*/ 89511 w 91582"/>
                  <a:gd name="connsiteY4" fmla="*/ 2072 h 91606"/>
                  <a:gd name="connsiteX5" fmla="*/ 89511 w 91582"/>
                  <a:gd name="connsiteY5" fmla="*/ 12168 h 91606"/>
                  <a:gd name="connsiteX6" fmla="*/ 12168 w 91582"/>
                  <a:gd name="connsiteY6" fmla="*/ 89511 h 91606"/>
                  <a:gd name="connsiteX7" fmla="*/ 7120 w 91582"/>
                  <a:gd name="connsiteY7" fmla="*/ 91607 h 9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82" h="91606">
                    <a:moveTo>
                      <a:pt x="7120" y="91607"/>
                    </a:moveTo>
                    <a:cubicBezTo>
                      <a:pt x="5310" y="91607"/>
                      <a:pt x="3500" y="90940"/>
                      <a:pt x="2072" y="89511"/>
                    </a:cubicBezTo>
                    <a:cubicBezTo>
                      <a:pt x="-691" y="86749"/>
                      <a:pt x="-691" y="82177"/>
                      <a:pt x="2072" y="79415"/>
                    </a:cubicBezTo>
                    <a:lnTo>
                      <a:pt x="79415" y="2072"/>
                    </a:lnTo>
                    <a:cubicBezTo>
                      <a:pt x="82177" y="-691"/>
                      <a:pt x="86749" y="-691"/>
                      <a:pt x="89511" y="2072"/>
                    </a:cubicBezTo>
                    <a:cubicBezTo>
                      <a:pt x="92273" y="4834"/>
                      <a:pt x="92273" y="9406"/>
                      <a:pt x="89511" y="12168"/>
                    </a:cubicBezTo>
                    <a:lnTo>
                      <a:pt x="12168" y="89511"/>
                    </a:lnTo>
                    <a:cubicBezTo>
                      <a:pt x="10739" y="90845"/>
                      <a:pt x="8930" y="91607"/>
                      <a:pt x="7120" y="91607"/>
                    </a:cubicBezTo>
                    <a:close/>
                  </a:path>
                </a:pathLst>
              </a:custGeom>
              <a:grpFill/>
              <a:ln w="9525" cap="flat">
                <a:noFill/>
                <a:prstDash val="solid"/>
                <a:miter/>
              </a:ln>
            </p:spPr>
            <p:txBody>
              <a:bodyPr lIns="0" tIns="0" rIns="0" bIns="0" rtlCol="0" anchor="ctr"/>
              <a:lstStyle/>
              <a:p>
                <a:endParaRPr lang="en-US"/>
              </a:p>
            </p:txBody>
          </p:sp>
          <p:sp>
            <p:nvSpPr>
              <p:cNvPr id="702" name="Grafik 25">
                <a:extLst>
                  <a:ext uri="{FF2B5EF4-FFF2-40B4-BE49-F238E27FC236}">
                    <a16:creationId xmlns:a16="http://schemas.microsoft.com/office/drawing/2014/main" id="{059CEAF2-955E-C69A-91DE-77A004B88B8B}"/>
                  </a:ext>
                </a:extLst>
              </p:cNvPr>
              <p:cNvSpPr/>
              <p:nvPr/>
            </p:nvSpPr>
            <p:spPr bwMode="gray">
              <a:xfrm>
                <a:off x="6074070" y="3560899"/>
                <a:ext cx="41952" cy="28119"/>
              </a:xfrm>
              <a:custGeom>
                <a:avLst/>
                <a:gdLst>
                  <a:gd name="connsiteX0" fmla="*/ 7165 w 41952"/>
                  <a:gd name="connsiteY0" fmla="*/ 28120 h 28119"/>
                  <a:gd name="connsiteX1" fmla="*/ 783 w 41952"/>
                  <a:gd name="connsiteY1" fmla="*/ 24119 h 28119"/>
                  <a:gd name="connsiteX2" fmla="*/ 4022 w 41952"/>
                  <a:gd name="connsiteY2" fmla="*/ 14499 h 28119"/>
                  <a:gd name="connsiteX3" fmla="*/ 31549 w 41952"/>
                  <a:gd name="connsiteY3" fmla="*/ 783 h 28119"/>
                  <a:gd name="connsiteX4" fmla="*/ 41169 w 41952"/>
                  <a:gd name="connsiteY4" fmla="*/ 4022 h 28119"/>
                  <a:gd name="connsiteX5" fmla="*/ 37931 w 41952"/>
                  <a:gd name="connsiteY5" fmla="*/ 13642 h 28119"/>
                  <a:gd name="connsiteX6" fmla="*/ 10403 w 41952"/>
                  <a:gd name="connsiteY6" fmla="*/ 27358 h 28119"/>
                  <a:gd name="connsiteX7" fmla="*/ 7165 w 41952"/>
                  <a:gd name="connsiteY7" fmla="*/ 28120 h 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52" h="28119">
                    <a:moveTo>
                      <a:pt x="7165" y="28120"/>
                    </a:moveTo>
                    <a:cubicBezTo>
                      <a:pt x="4498" y="28120"/>
                      <a:pt x="2021" y="26691"/>
                      <a:pt x="783" y="24119"/>
                    </a:cubicBezTo>
                    <a:cubicBezTo>
                      <a:pt x="-1027" y="20595"/>
                      <a:pt x="402" y="16309"/>
                      <a:pt x="4022" y="14499"/>
                    </a:cubicBezTo>
                    <a:lnTo>
                      <a:pt x="31549" y="783"/>
                    </a:lnTo>
                    <a:cubicBezTo>
                      <a:pt x="35073" y="-1027"/>
                      <a:pt x="39359" y="402"/>
                      <a:pt x="41169" y="4022"/>
                    </a:cubicBezTo>
                    <a:cubicBezTo>
                      <a:pt x="42979" y="7546"/>
                      <a:pt x="41550" y="11832"/>
                      <a:pt x="37931" y="13642"/>
                    </a:cubicBezTo>
                    <a:lnTo>
                      <a:pt x="10403" y="27358"/>
                    </a:lnTo>
                    <a:cubicBezTo>
                      <a:pt x="9356" y="27834"/>
                      <a:pt x="8213" y="28120"/>
                      <a:pt x="7165" y="28120"/>
                    </a:cubicBezTo>
                    <a:close/>
                  </a:path>
                </a:pathLst>
              </a:custGeom>
              <a:grpFill/>
              <a:ln w="9525" cap="flat">
                <a:noFill/>
                <a:prstDash val="solid"/>
                <a:miter/>
              </a:ln>
            </p:spPr>
            <p:txBody>
              <a:bodyPr lIns="0" tIns="0" rIns="0" bIns="0" rtlCol="0" anchor="ctr"/>
              <a:lstStyle/>
              <a:p>
                <a:endParaRPr lang="en-US"/>
              </a:p>
            </p:txBody>
          </p:sp>
          <p:sp>
            <p:nvSpPr>
              <p:cNvPr id="703" name="Grafik 25">
                <a:extLst>
                  <a:ext uri="{FF2B5EF4-FFF2-40B4-BE49-F238E27FC236}">
                    <a16:creationId xmlns:a16="http://schemas.microsoft.com/office/drawing/2014/main" id="{75C1CAE1-780B-1BE7-CAE3-64ECD78DCFBF}"/>
                  </a:ext>
                </a:extLst>
              </p:cNvPr>
              <p:cNvSpPr/>
              <p:nvPr/>
            </p:nvSpPr>
            <p:spPr bwMode="gray">
              <a:xfrm>
                <a:off x="6074092" y="3561016"/>
                <a:ext cx="14287" cy="28003"/>
              </a:xfrm>
              <a:custGeom>
                <a:avLst/>
                <a:gdLst>
                  <a:gd name="connsiteX0" fmla="*/ 7144 w 14287"/>
                  <a:gd name="connsiteY0" fmla="*/ 28003 h 28003"/>
                  <a:gd name="connsiteX1" fmla="*/ 0 w 14287"/>
                  <a:gd name="connsiteY1" fmla="*/ 20860 h 28003"/>
                  <a:gd name="connsiteX2" fmla="*/ 0 w 14287"/>
                  <a:gd name="connsiteY2" fmla="*/ 7144 h 28003"/>
                  <a:gd name="connsiteX3" fmla="*/ 7144 w 14287"/>
                  <a:gd name="connsiteY3" fmla="*/ 0 h 28003"/>
                  <a:gd name="connsiteX4" fmla="*/ 14288 w 14287"/>
                  <a:gd name="connsiteY4" fmla="*/ 7144 h 28003"/>
                  <a:gd name="connsiteX5" fmla="*/ 14288 w 14287"/>
                  <a:gd name="connsiteY5" fmla="*/ 20860 h 28003"/>
                  <a:gd name="connsiteX6" fmla="*/ 7144 w 14287"/>
                  <a:gd name="connsiteY6" fmla="*/ 28003 h 2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28003">
                    <a:moveTo>
                      <a:pt x="7144" y="28003"/>
                    </a:moveTo>
                    <a:cubicBezTo>
                      <a:pt x="3239" y="28003"/>
                      <a:pt x="0" y="24765"/>
                      <a:pt x="0" y="20860"/>
                    </a:cubicBezTo>
                    <a:lnTo>
                      <a:pt x="0" y="7144"/>
                    </a:lnTo>
                    <a:cubicBezTo>
                      <a:pt x="0" y="3239"/>
                      <a:pt x="3239" y="0"/>
                      <a:pt x="7144" y="0"/>
                    </a:cubicBezTo>
                    <a:cubicBezTo>
                      <a:pt x="11049" y="0"/>
                      <a:pt x="14288" y="3239"/>
                      <a:pt x="14288" y="7144"/>
                    </a:cubicBezTo>
                    <a:lnTo>
                      <a:pt x="14288" y="20860"/>
                    </a:lnTo>
                    <a:cubicBezTo>
                      <a:pt x="14288" y="24765"/>
                      <a:pt x="11049" y="28003"/>
                      <a:pt x="7144" y="28003"/>
                    </a:cubicBezTo>
                    <a:close/>
                  </a:path>
                </a:pathLst>
              </a:custGeom>
              <a:grpFill/>
              <a:ln w="9525" cap="flat">
                <a:noFill/>
                <a:prstDash val="solid"/>
                <a:miter/>
              </a:ln>
            </p:spPr>
            <p:txBody>
              <a:bodyPr lIns="0" tIns="0" rIns="0" bIns="0" rtlCol="0" anchor="ctr"/>
              <a:lstStyle/>
              <a:p>
                <a:endParaRPr lang="en-US"/>
              </a:p>
            </p:txBody>
          </p:sp>
        </p:grpSp>
      </p:grpSp>
      <p:grpSp>
        <p:nvGrpSpPr>
          <p:cNvPr id="707" name="Grafik 2">
            <a:extLst>
              <a:ext uri="{FF2B5EF4-FFF2-40B4-BE49-F238E27FC236}">
                <a16:creationId xmlns:a16="http://schemas.microsoft.com/office/drawing/2014/main" id="{A829AC2C-95B9-286D-5567-483BFEEADB2C}"/>
              </a:ext>
            </a:extLst>
          </p:cNvPr>
          <p:cNvGrpSpPr>
            <a:grpSpLocks noChangeAspect="1"/>
          </p:cNvGrpSpPr>
          <p:nvPr/>
        </p:nvGrpSpPr>
        <p:grpSpPr>
          <a:xfrm>
            <a:off x="6609893" y="5478866"/>
            <a:ext cx="374400" cy="374400"/>
            <a:chOff x="5843587" y="3176587"/>
            <a:chExt cx="500253" cy="500253"/>
          </a:xfrm>
          <a:solidFill>
            <a:schemeClr val="tx1"/>
          </a:solidFill>
        </p:grpSpPr>
        <p:sp>
          <p:nvSpPr>
            <p:cNvPr id="708" name="Grafik 2">
              <a:extLst>
                <a:ext uri="{FF2B5EF4-FFF2-40B4-BE49-F238E27FC236}">
                  <a16:creationId xmlns:a16="http://schemas.microsoft.com/office/drawing/2014/main" id="{03C17B21-10FA-F51B-6968-6CEA9D65DB5B}"/>
                </a:ext>
              </a:extLst>
            </p:cNvPr>
            <p:cNvSpPr/>
            <p:nvPr/>
          </p:nvSpPr>
          <p:spPr>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09" name="Grafik 2">
              <a:extLst>
                <a:ext uri="{FF2B5EF4-FFF2-40B4-BE49-F238E27FC236}">
                  <a16:creationId xmlns:a16="http://schemas.microsoft.com/office/drawing/2014/main" id="{542521D4-E44A-BCDF-D130-D1D7FF7D62AB}"/>
                </a:ext>
              </a:extLst>
            </p:cNvPr>
            <p:cNvSpPr/>
            <p:nvPr/>
          </p:nvSpPr>
          <p:spPr>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10" name="Grafik 2">
              <a:extLst>
                <a:ext uri="{FF2B5EF4-FFF2-40B4-BE49-F238E27FC236}">
                  <a16:creationId xmlns:a16="http://schemas.microsoft.com/office/drawing/2014/main" id="{6123DC5D-0D88-40A9-9D24-772EC32C91F2}"/>
                </a:ext>
              </a:extLst>
            </p:cNvPr>
            <p:cNvSpPr/>
            <p:nvPr/>
          </p:nvSpPr>
          <p:spPr>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1" name="Grafik 2">
              <a:extLst>
                <a:ext uri="{FF2B5EF4-FFF2-40B4-BE49-F238E27FC236}">
                  <a16:creationId xmlns:a16="http://schemas.microsoft.com/office/drawing/2014/main" id="{0AC401CA-18E1-55B1-EABF-0F8F00F159FE}"/>
                </a:ext>
              </a:extLst>
            </p:cNvPr>
            <p:cNvSpPr/>
            <p:nvPr/>
          </p:nvSpPr>
          <p:spPr>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2" name="Grafik 2">
              <a:extLst>
                <a:ext uri="{FF2B5EF4-FFF2-40B4-BE49-F238E27FC236}">
                  <a16:creationId xmlns:a16="http://schemas.microsoft.com/office/drawing/2014/main" id="{9672D397-F292-5B8B-1762-C9BCB116B278}"/>
                </a:ext>
              </a:extLst>
            </p:cNvPr>
            <p:cNvSpPr/>
            <p:nvPr/>
          </p:nvSpPr>
          <p:spPr>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13" name="Grafik 2">
              <a:extLst>
                <a:ext uri="{FF2B5EF4-FFF2-40B4-BE49-F238E27FC236}">
                  <a16:creationId xmlns:a16="http://schemas.microsoft.com/office/drawing/2014/main" id="{5B2AE877-E88B-01D8-09A2-722E26881BF7}"/>
                </a:ext>
              </a:extLst>
            </p:cNvPr>
            <p:cNvGrpSpPr/>
            <p:nvPr/>
          </p:nvGrpSpPr>
          <p:grpSpPr>
            <a:xfrm>
              <a:off x="5875995" y="3346655"/>
              <a:ext cx="370760" cy="224932"/>
              <a:chOff x="5875995" y="3346655"/>
              <a:chExt cx="370760" cy="224932"/>
            </a:xfrm>
            <a:grpFill/>
          </p:grpSpPr>
          <p:sp>
            <p:nvSpPr>
              <p:cNvPr id="714" name="Grafik 2">
                <a:extLst>
                  <a:ext uri="{FF2B5EF4-FFF2-40B4-BE49-F238E27FC236}">
                    <a16:creationId xmlns:a16="http://schemas.microsoft.com/office/drawing/2014/main" id="{73D55FD5-AAC9-1F5E-DAC2-098C1FC98A2F}"/>
                  </a:ext>
                </a:extLst>
              </p:cNvPr>
              <p:cNvSpPr/>
              <p:nvPr/>
            </p:nvSpPr>
            <p:spPr>
              <a:xfrm>
                <a:off x="5989414" y="3427666"/>
                <a:ext cx="143922" cy="143922"/>
              </a:xfrm>
              <a:custGeom>
                <a:avLst/>
                <a:gdLst>
                  <a:gd name="connsiteX0" fmla="*/ 136684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684 w 143922"/>
                  <a:gd name="connsiteY8" fmla="*/ 143923 h 143922"/>
                  <a:gd name="connsiteX9" fmla="*/ 14287 w 143922"/>
                  <a:gd name="connsiteY9" fmla="*/ 129635 h 143922"/>
                  <a:gd name="connsiteX10" fmla="*/ 129635 w 143922"/>
                  <a:gd name="connsiteY10" fmla="*/ 129635 h 143922"/>
                  <a:gd name="connsiteX11" fmla="*/ 129635 w 143922"/>
                  <a:gd name="connsiteY11" fmla="*/ 14288 h 143922"/>
                  <a:gd name="connsiteX12" fmla="*/ 14287 w 143922"/>
                  <a:gd name="connsiteY12" fmla="*/ 14288 h 143922"/>
                  <a:gd name="connsiteX13" fmla="*/ 14287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684" y="143923"/>
                    </a:moveTo>
                    <a:lnTo>
                      <a:pt x="7144" y="143923"/>
                    </a:lnTo>
                    <a:cubicBezTo>
                      <a:pt x="3238" y="143923"/>
                      <a:pt x="0" y="140684"/>
                      <a:pt x="0" y="136779"/>
                    </a:cubicBezTo>
                    <a:lnTo>
                      <a:pt x="0" y="7144"/>
                    </a:lnTo>
                    <a:cubicBezTo>
                      <a:pt x="0" y="3239"/>
                      <a:pt x="3238" y="0"/>
                      <a:pt x="7144" y="0"/>
                    </a:cubicBezTo>
                    <a:lnTo>
                      <a:pt x="136779" y="0"/>
                    </a:lnTo>
                    <a:cubicBezTo>
                      <a:pt x="140684" y="0"/>
                      <a:pt x="143923" y="3239"/>
                      <a:pt x="143923" y="7144"/>
                    </a:cubicBezTo>
                    <a:lnTo>
                      <a:pt x="143923" y="136779"/>
                    </a:lnTo>
                    <a:cubicBezTo>
                      <a:pt x="143828" y="140684"/>
                      <a:pt x="140684" y="143923"/>
                      <a:pt x="136684" y="143923"/>
                    </a:cubicBezTo>
                    <a:close/>
                    <a:moveTo>
                      <a:pt x="14287" y="129635"/>
                    </a:moveTo>
                    <a:lnTo>
                      <a:pt x="129635" y="129635"/>
                    </a:lnTo>
                    <a:lnTo>
                      <a:pt x="129635" y="14288"/>
                    </a:lnTo>
                    <a:lnTo>
                      <a:pt x="14287" y="14288"/>
                    </a:lnTo>
                    <a:lnTo>
                      <a:pt x="14287" y="129635"/>
                    </a:lnTo>
                    <a:close/>
                  </a:path>
                </a:pathLst>
              </a:custGeom>
              <a:grpFill/>
              <a:ln w="9525" cap="flat">
                <a:noFill/>
                <a:prstDash val="solid"/>
                <a:miter/>
              </a:ln>
            </p:spPr>
            <p:txBody>
              <a:bodyPr lIns="0" tIns="0" rIns="0" bIns="0" rtlCol="0" anchor="ctr"/>
              <a:lstStyle/>
              <a:p>
                <a:endParaRPr lang="en-US"/>
              </a:p>
            </p:txBody>
          </p:sp>
          <p:sp>
            <p:nvSpPr>
              <p:cNvPr id="715" name="Grafik 2">
                <a:extLst>
                  <a:ext uri="{FF2B5EF4-FFF2-40B4-BE49-F238E27FC236}">
                    <a16:creationId xmlns:a16="http://schemas.microsoft.com/office/drawing/2014/main" id="{2C5B141C-6290-DD6C-61C4-D08624B06C72}"/>
                  </a:ext>
                </a:extLst>
              </p:cNvPr>
              <p:cNvSpPr/>
              <p:nvPr/>
            </p:nvSpPr>
            <p:spPr>
              <a:xfrm>
                <a:off x="5978456" y="3346655"/>
                <a:ext cx="165929" cy="62912"/>
              </a:xfrm>
              <a:custGeom>
                <a:avLst/>
                <a:gdLst>
                  <a:gd name="connsiteX0" fmla="*/ 43057 w 165929"/>
                  <a:gd name="connsiteY0" fmla="*/ 62913 h 62912"/>
                  <a:gd name="connsiteX1" fmla="*/ 14292 w 165929"/>
                  <a:gd name="connsiteY1" fmla="*/ 62913 h 62912"/>
                  <a:gd name="connsiteX2" fmla="*/ 4005 w 165929"/>
                  <a:gd name="connsiteY2" fmla="*/ 58626 h 62912"/>
                  <a:gd name="connsiteX3" fmla="*/ 4 w 165929"/>
                  <a:gd name="connsiteY3" fmla="*/ 48435 h 62912"/>
                  <a:gd name="connsiteX4" fmla="*/ 100 w 165929"/>
                  <a:gd name="connsiteY4" fmla="*/ 31480 h 62912"/>
                  <a:gd name="connsiteX5" fmla="*/ 9910 w 165929"/>
                  <a:gd name="connsiteY5" fmla="*/ 16145 h 62912"/>
                  <a:gd name="connsiteX6" fmla="*/ 156214 w 165929"/>
                  <a:gd name="connsiteY6" fmla="*/ 16145 h 62912"/>
                  <a:gd name="connsiteX7" fmla="*/ 165930 w 165929"/>
                  <a:gd name="connsiteY7" fmla="*/ 31480 h 62912"/>
                  <a:gd name="connsiteX8" fmla="*/ 165930 w 165929"/>
                  <a:gd name="connsiteY8" fmla="*/ 48435 h 62912"/>
                  <a:gd name="connsiteX9" fmla="*/ 151547 w 165929"/>
                  <a:gd name="connsiteY9" fmla="*/ 62817 h 62912"/>
                  <a:gd name="connsiteX10" fmla="*/ 122782 w 165929"/>
                  <a:gd name="connsiteY10" fmla="*/ 62817 h 62912"/>
                  <a:gd name="connsiteX11" fmla="*/ 108399 w 165929"/>
                  <a:gd name="connsiteY11" fmla="*/ 48435 h 62912"/>
                  <a:gd name="connsiteX12" fmla="*/ 108399 w 165929"/>
                  <a:gd name="connsiteY12" fmla="*/ 33957 h 62912"/>
                  <a:gd name="connsiteX13" fmla="*/ 58012 w 165929"/>
                  <a:gd name="connsiteY13" fmla="*/ 33385 h 62912"/>
                  <a:gd name="connsiteX14" fmla="*/ 57535 w 165929"/>
                  <a:gd name="connsiteY14" fmla="*/ 48530 h 62912"/>
                  <a:gd name="connsiteX15" fmla="*/ 43057 w 165929"/>
                  <a:gd name="connsiteY15" fmla="*/ 62913 h 62912"/>
                  <a:gd name="connsiteX16" fmla="*/ 82967 w 165929"/>
                  <a:gd name="connsiteY16" fmla="*/ 14240 h 62912"/>
                  <a:gd name="connsiteX17" fmla="*/ 15721 w 165929"/>
                  <a:gd name="connsiteY17" fmla="*/ 29099 h 62912"/>
                  <a:gd name="connsiteX18" fmla="*/ 14292 w 165929"/>
                  <a:gd name="connsiteY18" fmla="*/ 31385 h 62912"/>
                  <a:gd name="connsiteX19" fmla="*/ 14197 w 165929"/>
                  <a:gd name="connsiteY19" fmla="*/ 48625 h 62912"/>
                  <a:gd name="connsiteX20" fmla="*/ 14292 w 165929"/>
                  <a:gd name="connsiteY20" fmla="*/ 48720 h 62912"/>
                  <a:gd name="connsiteX21" fmla="*/ 43057 w 165929"/>
                  <a:gd name="connsiteY21" fmla="*/ 48720 h 62912"/>
                  <a:gd name="connsiteX22" fmla="*/ 43153 w 165929"/>
                  <a:gd name="connsiteY22" fmla="*/ 34147 h 62912"/>
                  <a:gd name="connsiteX23" fmla="*/ 54678 w 165929"/>
                  <a:gd name="connsiteY23" fmla="*/ 19574 h 62912"/>
                  <a:gd name="connsiteX24" fmla="*/ 111066 w 165929"/>
                  <a:gd name="connsiteY24" fmla="*/ 19574 h 62912"/>
                  <a:gd name="connsiteX25" fmla="*/ 122591 w 165929"/>
                  <a:gd name="connsiteY25" fmla="*/ 34052 h 62912"/>
                  <a:gd name="connsiteX26" fmla="*/ 122591 w 165929"/>
                  <a:gd name="connsiteY26" fmla="*/ 48530 h 62912"/>
                  <a:gd name="connsiteX27" fmla="*/ 151452 w 165929"/>
                  <a:gd name="connsiteY27" fmla="*/ 48625 h 62912"/>
                  <a:gd name="connsiteX28" fmla="*/ 151547 w 165929"/>
                  <a:gd name="connsiteY28" fmla="*/ 31575 h 62912"/>
                  <a:gd name="connsiteX29" fmla="*/ 149928 w 165929"/>
                  <a:gd name="connsiteY29" fmla="*/ 29099 h 62912"/>
                  <a:gd name="connsiteX30" fmla="*/ 82967 w 165929"/>
                  <a:gd name="connsiteY30" fmla="*/ 14240 h 6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5929" h="62912">
                    <a:moveTo>
                      <a:pt x="43057" y="62913"/>
                    </a:moveTo>
                    <a:lnTo>
                      <a:pt x="14292" y="62913"/>
                    </a:lnTo>
                    <a:cubicBezTo>
                      <a:pt x="10387" y="62913"/>
                      <a:pt x="6672" y="61389"/>
                      <a:pt x="4005" y="58626"/>
                    </a:cubicBezTo>
                    <a:cubicBezTo>
                      <a:pt x="1338" y="55864"/>
                      <a:pt x="-91" y="52245"/>
                      <a:pt x="4" y="48435"/>
                    </a:cubicBezTo>
                    <a:lnTo>
                      <a:pt x="100" y="31480"/>
                    </a:lnTo>
                    <a:cubicBezTo>
                      <a:pt x="4" y="25003"/>
                      <a:pt x="3814" y="18907"/>
                      <a:pt x="9910" y="16145"/>
                    </a:cubicBezTo>
                    <a:cubicBezTo>
                      <a:pt x="56392" y="-5382"/>
                      <a:pt x="109732" y="-5382"/>
                      <a:pt x="156214" y="16145"/>
                    </a:cubicBezTo>
                    <a:cubicBezTo>
                      <a:pt x="162120" y="19098"/>
                      <a:pt x="165930" y="25098"/>
                      <a:pt x="165930" y="31480"/>
                    </a:cubicBezTo>
                    <a:lnTo>
                      <a:pt x="165930" y="48435"/>
                    </a:lnTo>
                    <a:cubicBezTo>
                      <a:pt x="165930" y="56340"/>
                      <a:pt x="159453" y="62817"/>
                      <a:pt x="151547" y="62817"/>
                    </a:cubicBezTo>
                    <a:lnTo>
                      <a:pt x="122782" y="62817"/>
                    </a:lnTo>
                    <a:cubicBezTo>
                      <a:pt x="114876" y="62817"/>
                      <a:pt x="108399" y="56340"/>
                      <a:pt x="108399" y="48435"/>
                    </a:cubicBezTo>
                    <a:lnTo>
                      <a:pt x="108399" y="33957"/>
                    </a:lnTo>
                    <a:cubicBezTo>
                      <a:pt x="91921" y="29670"/>
                      <a:pt x="74680" y="29670"/>
                      <a:pt x="58012" y="33385"/>
                    </a:cubicBezTo>
                    <a:lnTo>
                      <a:pt x="57535" y="48530"/>
                    </a:lnTo>
                    <a:cubicBezTo>
                      <a:pt x="57440" y="56436"/>
                      <a:pt x="50963" y="62913"/>
                      <a:pt x="43057" y="62913"/>
                    </a:cubicBezTo>
                    <a:close/>
                    <a:moveTo>
                      <a:pt x="82967" y="14240"/>
                    </a:moveTo>
                    <a:cubicBezTo>
                      <a:pt x="60012" y="14240"/>
                      <a:pt x="37152" y="19193"/>
                      <a:pt x="15721" y="29099"/>
                    </a:cubicBezTo>
                    <a:cubicBezTo>
                      <a:pt x="14768" y="29480"/>
                      <a:pt x="14292" y="30337"/>
                      <a:pt x="14292" y="31385"/>
                    </a:cubicBezTo>
                    <a:lnTo>
                      <a:pt x="14197" y="48625"/>
                    </a:lnTo>
                    <a:lnTo>
                      <a:pt x="14292" y="48720"/>
                    </a:lnTo>
                    <a:lnTo>
                      <a:pt x="43057" y="48720"/>
                    </a:lnTo>
                    <a:lnTo>
                      <a:pt x="43153" y="34147"/>
                    </a:lnTo>
                    <a:cubicBezTo>
                      <a:pt x="43153" y="27194"/>
                      <a:pt x="47915" y="21193"/>
                      <a:pt x="54678" y="19574"/>
                    </a:cubicBezTo>
                    <a:cubicBezTo>
                      <a:pt x="73537" y="15383"/>
                      <a:pt x="92968" y="15383"/>
                      <a:pt x="111066" y="19574"/>
                    </a:cubicBezTo>
                    <a:cubicBezTo>
                      <a:pt x="117733" y="21098"/>
                      <a:pt x="122591" y="27194"/>
                      <a:pt x="122591" y="34052"/>
                    </a:cubicBezTo>
                    <a:lnTo>
                      <a:pt x="122591" y="48530"/>
                    </a:lnTo>
                    <a:lnTo>
                      <a:pt x="151452" y="48625"/>
                    </a:lnTo>
                    <a:lnTo>
                      <a:pt x="151547" y="31575"/>
                    </a:lnTo>
                    <a:cubicBezTo>
                      <a:pt x="151547" y="30528"/>
                      <a:pt x="150976" y="29575"/>
                      <a:pt x="149928" y="29099"/>
                    </a:cubicBezTo>
                    <a:cubicBezTo>
                      <a:pt x="128687" y="19193"/>
                      <a:pt x="105827" y="14240"/>
                      <a:pt x="82967" y="14240"/>
                    </a:cubicBezTo>
                    <a:close/>
                  </a:path>
                </a:pathLst>
              </a:custGeom>
              <a:grpFill/>
              <a:ln w="9525" cap="flat">
                <a:noFill/>
                <a:prstDash val="solid"/>
                <a:miter/>
              </a:ln>
            </p:spPr>
            <p:txBody>
              <a:bodyPr lIns="0" tIns="0" rIns="0" bIns="0" rtlCol="0" anchor="ctr"/>
              <a:lstStyle/>
              <a:p>
                <a:endParaRPr lang="en-US"/>
              </a:p>
            </p:txBody>
          </p:sp>
          <p:grpSp>
            <p:nvGrpSpPr>
              <p:cNvPr id="716" name="Grafik 2">
                <a:extLst>
                  <a:ext uri="{FF2B5EF4-FFF2-40B4-BE49-F238E27FC236}">
                    <a16:creationId xmlns:a16="http://schemas.microsoft.com/office/drawing/2014/main" id="{BAB5AC1D-A33D-B684-CB5F-102079E827EE}"/>
                  </a:ext>
                </a:extLst>
              </p:cNvPr>
              <p:cNvGrpSpPr/>
              <p:nvPr/>
            </p:nvGrpSpPr>
            <p:grpSpPr>
              <a:xfrm>
                <a:off x="6151434" y="3469695"/>
                <a:ext cx="95321" cy="59983"/>
                <a:chOff x="6151434" y="3469695"/>
                <a:chExt cx="95321" cy="59983"/>
              </a:xfrm>
              <a:grpFill/>
            </p:grpSpPr>
            <p:grpSp>
              <p:nvGrpSpPr>
                <p:cNvPr id="730" name="Grafik 2">
                  <a:extLst>
                    <a:ext uri="{FF2B5EF4-FFF2-40B4-BE49-F238E27FC236}">
                      <a16:creationId xmlns:a16="http://schemas.microsoft.com/office/drawing/2014/main" id="{F91DDEAD-B622-8919-6B4D-F71D774C433D}"/>
                    </a:ext>
                  </a:extLst>
                </p:cNvPr>
                <p:cNvGrpSpPr/>
                <p:nvPr/>
              </p:nvGrpSpPr>
              <p:grpSpPr>
                <a:xfrm>
                  <a:off x="6151434" y="3469695"/>
                  <a:ext cx="95321" cy="59983"/>
                  <a:chOff x="6151434" y="3469695"/>
                  <a:chExt cx="95321" cy="59983"/>
                </a:xfrm>
                <a:grpFill/>
              </p:grpSpPr>
              <p:sp>
                <p:nvSpPr>
                  <p:cNvPr id="734" name="Grafik 2">
                    <a:extLst>
                      <a:ext uri="{FF2B5EF4-FFF2-40B4-BE49-F238E27FC236}">
                        <a16:creationId xmlns:a16="http://schemas.microsoft.com/office/drawing/2014/main" id="{444B4D9C-BE6B-AB93-6AC8-5D92302FB2D9}"/>
                      </a:ext>
                    </a:extLst>
                  </p:cNvPr>
                  <p:cNvSpPr/>
                  <p:nvPr/>
                </p:nvSpPr>
                <p:spPr>
                  <a:xfrm>
                    <a:off x="6151434" y="3492531"/>
                    <a:ext cx="95250" cy="14287"/>
                  </a:xfrm>
                  <a:custGeom>
                    <a:avLst/>
                    <a:gdLst>
                      <a:gd name="connsiteX0" fmla="*/ 88106 w 95250"/>
                      <a:gd name="connsiteY0" fmla="*/ 14288 h 14287"/>
                      <a:gd name="connsiteX1" fmla="*/ 7144 w 95250"/>
                      <a:gd name="connsiteY1" fmla="*/ 14288 h 14287"/>
                      <a:gd name="connsiteX2" fmla="*/ 0 w 95250"/>
                      <a:gd name="connsiteY2" fmla="*/ 7144 h 14287"/>
                      <a:gd name="connsiteX3" fmla="*/ 7144 w 95250"/>
                      <a:gd name="connsiteY3" fmla="*/ 0 h 14287"/>
                      <a:gd name="connsiteX4" fmla="*/ 88106 w 95250"/>
                      <a:gd name="connsiteY4" fmla="*/ 0 h 14287"/>
                      <a:gd name="connsiteX5" fmla="*/ 95250 w 95250"/>
                      <a:gd name="connsiteY5" fmla="*/ 7144 h 14287"/>
                      <a:gd name="connsiteX6" fmla="*/ 88106 w 9525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4287">
                        <a:moveTo>
                          <a:pt x="88106" y="14288"/>
                        </a:moveTo>
                        <a:lnTo>
                          <a:pt x="7144" y="14288"/>
                        </a:lnTo>
                        <a:cubicBezTo>
                          <a:pt x="3239" y="14288"/>
                          <a:pt x="0" y="11049"/>
                          <a:pt x="0" y="7144"/>
                        </a:cubicBezTo>
                        <a:cubicBezTo>
                          <a:pt x="0" y="3239"/>
                          <a:pt x="3239" y="0"/>
                          <a:pt x="7144" y="0"/>
                        </a:cubicBezTo>
                        <a:lnTo>
                          <a:pt x="88106" y="0"/>
                        </a:lnTo>
                        <a:cubicBezTo>
                          <a:pt x="92012" y="0"/>
                          <a:pt x="95250" y="3239"/>
                          <a:pt x="95250" y="7144"/>
                        </a:cubicBezTo>
                        <a:cubicBezTo>
                          <a:pt x="95250" y="11049"/>
                          <a:pt x="92107" y="14288"/>
                          <a:pt x="88106" y="14288"/>
                        </a:cubicBezTo>
                        <a:close/>
                      </a:path>
                    </a:pathLst>
                  </a:custGeom>
                  <a:grpFill/>
                  <a:ln w="9525" cap="flat">
                    <a:noFill/>
                    <a:prstDash val="solid"/>
                    <a:miter/>
                  </a:ln>
                </p:spPr>
                <p:txBody>
                  <a:bodyPr lIns="0" tIns="0" rIns="0" bIns="0" rtlCol="0" anchor="ctr"/>
                  <a:lstStyle/>
                  <a:p>
                    <a:endParaRPr lang="en-US"/>
                  </a:p>
                </p:txBody>
              </p:sp>
              <p:sp>
                <p:nvSpPr>
                  <p:cNvPr id="735" name="Grafik 2">
                    <a:extLst>
                      <a:ext uri="{FF2B5EF4-FFF2-40B4-BE49-F238E27FC236}">
                        <a16:creationId xmlns:a16="http://schemas.microsoft.com/office/drawing/2014/main" id="{1D0D6A54-0177-9430-8086-199EA849D262}"/>
                      </a:ext>
                    </a:extLst>
                  </p:cNvPr>
                  <p:cNvSpPr/>
                  <p:nvPr/>
                </p:nvSpPr>
                <p:spPr>
                  <a:xfrm>
                    <a:off x="6209466" y="3469695"/>
                    <a:ext cx="37195" cy="37123"/>
                  </a:xfrm>
                  <a:custGeom>
                    <a:avLst/>
                    <a:gdLst>
                      <a:gd name="connsiteX0" fmla="*/ 30075 w 37195"/>
                      <a:gd name="connsiteY0" fmla="*/ 37124 h 37123"/>
                      <a:gd name="connsiteX1" fmla="*/ 25027 w 37195"/>
                      <a:gd name="connsiteY1" fmla="*/ 35028 h 37123"/>
                      <a:gd name="connsiteX2" fmla="*/ 2072 w 37195"/>
                      <a:gd name="connsiteY2" fmla="*/ 12168 h 37123"/>
                      <a:gd name="connsiteX3" fmla="*/ 2072 w 37195"/>
                      <a:gd name="connsiteY3" fmla="*/ 2072 h 37123"/>
                      <a:gd name="connsiteX4" fmla="*/ 12168 w 37195"/>
                      <a:gd name="connsiteY4" fmla="*/ 2072 h 37123"/>
                      <a:gd name="connsiteX5" fmla="*/ 35123 w 37195"/>
                      <a:gd name="connsiteY5" fmla="*/ 24932 h 37123"/>
                      <a:gd name="connsiteX6" fmla="*/ 35123 w 37195"/>
                      <a:gd name="connsiteY6" fmla="*/ 35028 h 37123"/>
                      <a:gd name="connsiteX7" fmla="*/ 30075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30075" y="37124"/>
                        </a:moveTo>
                        <a:cubicBezTo>
                          <a:pt x="28265" y="37124"/>
                          <a:pt x="26456" y="36457"/>
                          <a:pt x="25027" y="35028"/>
                        </a:cubicBezTo>
                        <a:lnTo>
                          <a:pt x="2072" y="12168"/>
                        </a:lnTo>
                        <a:cubicBezTo>
                          <a:pt x="-691" y="9406"/>
                          <a:pt x="-691" y="4834"/>
                          <a:pt x="2072" y="2072"/>
                        </a:cubicBezTo>
                        <a:cubicBezTo>
                          <a:pt x="4834" y="-691"/>
                          <a:pt x="9406" y="-691"/>
                          <a:pt x="12168" y="2072"/>
                        </a:cubicBezTo>
                        <a:lnTo>
                          <a:pt x="35123" y="24932"/>
                        </a:lnTo>
                        <a:cubicBezTo>
                          <a:pt x="37886" y="27694"/>
                          <a:pt x="37886" y="32266"/>
                          <a:pt x="35123" y="35028"/>
                        </a:cubicBezTo>
                        <a:cubicBezTo>
                          <a:pt x="33790" y="36362"/>
                          <a:pt x="31885" y="37124"/>
                          <a:pt x="30075" y="37124"/>
                        </a:cubicBezTo>
                        <a:close/>
                      </a:path>
                    </a:pathLst>
                  </a:custGeom>
                  <a:grpFill/>
                  <a:ln w="9525" cap="flat">
                    <a:noFill/>
                    <a:prstDash val="solid"/>
                    <a:miter/>
                  </a:ln>
                </p:spPr>
                <p:txBody>
                  <a:bodyPr lIns="0" tIns="0" rIns="0" bIns="0" rtlCol="0" anchor="ctr"/>
                  <a:lstStyle/>
                  <a:p>
                    <a:endParaRPr lang="en-US"/>
                  </a:p>
                </p:txBody>
              </p:sp>
              <p:sp>
                <p:nvSpPr>
                  <p:cNvPr id="736" name="Grafik 2">
                    <a:extLst>
                      <a:ext uri="{FF2B5EF4-FFF2-40B4-BE49-F238E27FC236}">
                        <a16:creationId xmlns:a16="http://schemas.microsoft.com/office/drawing/2014/main" id="{D2B0DBC7-ECD6-B4FA-3259-761475049AE3}"/>
                      </a:ext>
                    </a:extLst>
                  </p:cNvPr>
                  <p:cNvSpPr/>
                  <p:nvPr/>
                </p:nvSpPr>
                <p:spPr>
                  <a:xfrm>
                    <a:off x="6209561" y="3492459"/>
                    <a:ext cx="37195" cy="37218"/>
                  </a:xfrm>
                  <a:custGeom>
                    <a:avLst/>
                    <a:gdLst>
                      <a:gd name="connsiteX0" fmla="*/ 7120 w 37195"/>
                      <a:gd name="connsiteY0" fmla="*/ 37219 h 37218"/>
                      <a:gd name="connsiteX1" fmla="*/ 2072 w 37195"/>
                      <a:gd name="connsiteY1" fmla="*/ 35123 h 37218"/>
                      <a:gd name="connsiteX2" fmla="*/ 2072 w 37195"/>
                      <a:gd name="connsiteY2" fmla="*/ 25027 h 37218"/>
                      <a:gd name="connsiteX3" fmla="*/ 25027 w 37195"/>
                      <a:gd name="connsiteY3" fmla="*/ 2072 h 37218"/>
                      <a:gd name="connsiteX4" fmla="*/ 35123 w 37195"/>
                      <a:gd name="connsiteY4" fmla="*/ 2072 h 37218"/>
                      <a:gd name="connsiteX5" fmla="*/ 35123 w 37195"/>
                      <a:gd name="connsiteY5" fmla="*/ 12168 h 37218"/>
                      <a:gd name="connsiteX6" fmla="*/ 12168 w 37195"/>
                      <a:gd name="connsiteY6" fmla="*/ 35123 h 37218"/>
                      <a:gd name="connsiteX7" fmla="*/ 7120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7120" y="37219"/>
                        </a:moveTo>
                        <a:cubicBezTo>
                          <a:pt x="5310" y="37219"/>
                          <a:pt x="3500" y="36552"/>
                          <a:pt x="2072" y="35123"/>
                        </a:cubicBezTo>
                        <a:cubicBezTo>
                          <a:pt x="-691" y="32361"/>
                          <a:pt x="-691" y="27789"/>
                          <a:pt x="2072" y="25027"/>
                        </a:cubicBezTo>
                        <a:lnTo>
                          <a:pt x="25027" y="2072"/>
                        </a:lnTo>
                        <a:cubicBezTo>
                          <a:pt x="27789" y="-691"/>
                          <a:pt x="32361" y="-691"/>
                          <a:pt x="35123" y="2072"/>
                        </a:cubicBezTo>
                        <a:cubicBezTo>
                          <a:pt x="37886" y="4834"/>
                          <a:pt x="37886" y="9406"/>
                          <a:pt x="35123" y="12168"/>
                        </a:cubicBezTo>
                        <a:lnTo>
                          <a:pt x="12168" y="35123"/>
                        </a:lnTo>
                        <a:cubicBezTo>
                          <a:pt x="10739" y="36552"/>
                          <a:pt x="8930"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31" name="Grafik 2">
                  <a:extLst>
                    <a:ext uri="{FF2B5EF4-FFF2-40B4-BE49-F238E27FC236}">
                      <a16:creationId xmlns:a16="http://schemas.microsoft.com/office/drawing/2014/main" id="{55B757CC-FE21-4613-D9D3-D3A4D340AA4E}"/>
                    </a:ext>
                  </a:extLst>
                </p:cNvPr>
                <p:cNvGrpSpPr/>
                <p:nvPr/>
              </p:nvGrpSpPr>
              <p:grpSpPr>
                <a:xfrm>
                  <a:off x="6151458" y="3469695"/>
                  <a:ext cx="37099" cy="59983"/>
                  <a:chOff x="6151458" y="3469695"/>
                  <a:chExt cx="37099" cy="59983"/>
                </a:xfrm>
                <a:grpFill/>
              </p:grpSpPr>
              <p:sp>
                <p:nvSpPr>
                  <p:cNvPr id="732" name="Grafik 2">
                    <a:extLst>
                      <a:ext uri="{FF2B5EF4-FFF2-40B4-BE49-F238E27FC236}">
                        <a16:creationId xmlns:a16="http://schemas.microsoft.com/office/drawing/2014/main" id="{D87C1C10-D7F6-3422-4DF8-20382183CC54}"/>
                      </a:ext>
                    </a:extLst>
                  </p:cNvPr>
                  <p:cNvSpPr/>
                  <p:nvPr/>
                </p:nvSpPr>
                <p:spPr>
                  <a:xfrm>
                    <a:off x="6151458" y="3492459"/>
                    <a:ext cx="37099" cy="37218"/>
                  </a:xfrm>
                  <a:custGeom>
                    <a:avLst/>
                    <a:gdLst>
                      <a:gd name="connsiteX0" fmla="*/ 29980 w 37099"/>
                      <a:gd name="connsiteY0" fmla="*/ 37219 h 37218"/>
                      <a:gd name="connsiteX1" fmla="*/ 24932 w 37099"/>
                      <a:gd name="connsiteY1" fmla="*/ 35123 h 37218"/>
                      <a:gd name="connsiteX2" fmla="*/ 2072 w 37099"/>
                      <a:gd name="connsiteY2" fmla="*/ 12168 h 37218"/>
                      <a:gd name="connsiteX3" fmla="*/ 2072 w 37099"/>
                      <a:gd name="connsiteY3" fmla="*/ 2072 h 37218"/>
                      <a:gd name="connsiteX4" fmla="*/ 12168 w 37099"/>
                      <a:gd name="connsiteY4" fmla="*/ 2072 h 37218"/>
                      <a:gd name="connsiteX5" fmla="*/ 35028 w 37099"/>
                      <a:gd name="connsiteY5" fmla="*/ 25027 h 37218"/>
                      <a:gd name="connsiteX6" fmla="*/ 35028 w 37099"/>
                      <a:gd name="connsiteY6" fmla="*/ 35123 h 37218"/>
                      <a:gd name="connsiteX7" fmla="*/ 2998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29980" y="37219"/>
                        </a:moveTo>
                        <a:cubicBezTo>
                          <a:pt x="28170" y="37219"/>
                          <a:pt x="26360" y="36552"/>
                          <a:pt x="24932" y="35123"/>
                        </a:cubicBezTo>
                        <a:lnTo>
                          <a:pt x="2072" y="12168"/>
                        </a:lnTo>
                        <a:cubicBezTo>
                          <a:pt x="-691" y="9406"/>
                          <a:pt x="-691" y="4834"/>
                          <a:pt x="2072" y="2072"/>
                        </a:cubicBezTo>
                        <a:cubicBezTo>
                          <a:pt x="4834" y="-691"/>
                          <a:pt x="9406" y="-691"/>
                          <a:pt x="12168" y="2072"/>
                        </a:cubicBezTo>
                        <a:lnTo>
                          <a:pt x="35028" y="25027"/>
                        </a:lnTo>
                        <a:cubicBezTo>
                          <a:pt x="37790" y="27789"/>
                          <a:pt x="37790" y="32361"/>
                          <a:pt x="35028" y="35123"/>
                        </a:cubicBezTo>
                        <a:cubicBezTo>
                          <a:pt x="33695" y="36552"/>
                          <a:pt x="31790" y="37219"/>
                          <a:pt x="29980" y="37219"/>
                        </a:cubicBezTo>
                        <a:close/>
                      </a:path>
                    </a:pathLst>
                  </a:custGeom>
                  <a:grpFill/>
                  <a:ln w="9525" cap="flat">
                    <a:noFill/>
                    <a:prstDash val="solid"/>
                    <a:miter/>
                  </a:ln>
                </p:spPr>
                <p:txBody>
                  <a:bodyPr lIns="0" tIns="0" rIns="0" bIns="0" rtlCol="0" anchor="ctr"/>
                  <a:lstStyle/>
                  <a:p>
                    <a:endParaRPr lang="en-US"/>
                  </a:p>
                </p:txBody>
              </p:sp>
              <p:sp>
                <p:nvSpPr>
                  <p:cNvPr id="733" name="Grafik 2">
                    <a:extLst>
                      <a:ext uri="{FF2B5EF4-FFF2-40B4-BE49-F238E27FC236}">
                        <a16:creationId xmlns:a16="http://schemas.microsoft.com/office/drawing/2014/main" id="{BE0328FA-B1B0-1416-823E-9B5AEA54EEF6}"/>
                      </a:ext>
                    </a:extLst>
                  </p:cNvPr>
                  <p:cNvSpPr/>
                  <p:nvPr/>
                </p:nvSpPr>
                <p:spPr>
                  <a:xfrm>
                    <a:off x="6151458" y="3469695"/>
                    <a:ext cx="37099" cy="37123"/>
                  </a:xfrm>
                  <a:custGeom>
                    <a:avLst/>
                    <a:gdLst>
                      <a:gd name="connsiteX0" fmla="*/ 7120 w 37099"/>
                      <a:gd name="connsiteY0" fmla="*/ 37124 h 37123"/>
                      <a:gd name="connsiteX1" fmla="*/ 2072 w 37099"/>
                      <a:gd name="connsiteY1" fmla="*/ 35028 h 37123"/>
                      <a:gd name="connsiteX2" fmla="*/ 2072 w 37099"/>
                      <a:gd name="connsiteY2" fmla="*/ 24932 h 37123"/>
                      <a:gd name="connsiteX3" fmla="*/ 24932 w 37099"/>
                      <a:gd name="connsiteY3" fmla="*/ 2072 h 37123"/>
                      <a:gd name="connsiteX4" fmla="*/ 35028 w 37099"/>
                      <a:gd name="connsiteY4" fmla="*/ 2072 h 37123"/>
                      <a:gd name="connsiteX5" fmla="*/ 35028 w 37099"/>
                      <a:gd name="connsiteY5" fmla="*/ 12168 h 37123"/>
                      <a:gd name="connsiteX6" fmla="*/ 12168 w 37099"/>
                      <a:gd name="connsiteY6" fmla="*/ 35028 h 37123"/>
                      <a:gd name="connsiteX7" fmla="*/ 712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7120" y="37124"/>
                        </a:moveTo>
                        <a:cubicBezTo>
                          <a:pt x="5310" y="37124"/>
                          <a:pt x="3500" y="36457"/>
                          <a:pt x="2072" y="35028"/>
                        </a:cubicBezTo>
                        <a:cubicBezTo>
                          <a:pt x="-691" y="32266"/>
                          <a:pt x="-691" y="27694"/>
                          <a:pt x="2072" y="24932"/>
                        </a:cubicBezTo>
                        <a:lnTo>
                          <a:pt x="24932" y="2072"/>
                        </a:lnTo>
                        <a:cubicBezTo>
                          <a:pt x="27694" y="-691"/>
                          <a:pt x="32266" y="-691"/>
                          <a:pt x="35028" y="2072"/>
                        </a:cubicBezTo>
                        <a:cubicBezTo>
                          <a:pt x="37790" y="4834"/>
                          <a:pt x="37790" y="9406"/>
                          <a:pt x="35028" y="12168"/>
                        </a:cubicBezTo>
                        <a:lnTo>
                          <a:pt x="12168" y="35028"/>
                        </a:lnTo>
                        <a:cubicBezTo>
                          <a:pt x="10739"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7" name="Grafik 2">
                <a:extLst>
                  <a:ext uri="{FF2B5EF4-FFF2-40B4-BE49-F238E27FC236}">
                    <a16:creationId xmlns:a16="http://schemas.microsoft.com/office/drawing/2014/main" id="{AD115607-56F3-6BE0-DFE5-62D8827DA8D0}"/>
                  </a:ext>
                </a:extLst>
              </p:cNvPr>
              <p:cNvGrpSpPr/>
              <p:nvPr/>
            </p:nvGrpSpPr>
            <p:grpSpPr>
              <a:xfrm>
                <a:off x="5875995" y="3469695"/>
                <a:ext cx="95321" cy="59983"/>
                <a:chOff x="5875995" y="3469695"/>
                <a:chExt cx="95321" cy="59983"/>
              </a:xfrm>
              <a:grpFill/>
            </p:grpSpPr>
            <p:grpSp>
              <p:nvGrpSpPr>
                <p:cNvPr id="723" name="Grafik 2">
                  <a:extLst>
                    <a:ext uri="{FF2B5EF4-FFF2-40B4-BE49-F238E27FC236}">
                      <a16:creationId xmlns:a16="http://schemas.microsoft.com/office/drawing/2014/main" id="{71507DF6-C0D5-A4FB-2BAF-33B961F22313}"/>
                    </a:ext>
                  </a:extLst>
                </p:cNvPr>
                <p:cNvGrpSpPr/>
                <p:nvPr/>
              </p:nvGrpSpPr>
              <p:grpSpPr>
                <a:xfrm>
                  <a:off x="5876067" y="3469695"/>
                  <a:ext cx="95249" cy="59983"/>
                  <a:chOff x="5876067" y="3469695"/>
                  <a:chExt cx="95249" cy="59983"/>
                </a:xfrm>
                <a:grpFill/>
              </p:grpSpPr>
              <p:sp>
                <p:nvSpPr>
                  <p:cNvPr id="727" name="Grafik 2">
                    <a:extLst>
                      <a:ext uri="{FF2B5EF4-FFF2-40B4-BE49-F238E27FC236}">
                        <a16:creationId xmlns:a16="http://schemas.microsoft.com/office/drawing/2014/main" id="{77AA7935-D376-A31B-13C5-4123CBB91105}"/>
                      </a:ext>
                    </a:extLst>
                  </p:cNvPr>
                  <p:cNvSpPr/>
                  <p:nvPr/>
                </p:nvSpPr>
                <p:spPr>
                  <a:xfrm>
                    <a:off x="5876067" y="3492531"/>
                    <a:ext cx="95249" cy="14287"/>
                  </a:xfrm>
                  <a:custGeom>
                    <a:avLst/>
                    <a:gdLst>
                      <a:gd name="connsiteX0" fmla="*/ 88106 w 95249"/>
                      <a:gd name="connsiteY0" fmla="*/ 14288 h 14287"/>
                      <a:gd name="connsiteX1" fmla="*/ 7144 w 95249"/>
                      <a:gd name="connsiteY1" fmla="*/ 14288 h 14287"/>
                      <a:gd name="connsiteX2" fmla="*/ 0 w 95249"/>
                      <a:gd name="connsiteY2" fmla="*/ 7144 h 14287"/>
                      <a:gd name="connsiteX3" fmla="*/ 7144 w 95249"/>
                      <a:gd name="connsiteY3" fmla="*/ 0 h 14287"/>
                      <a:gd name="connsiteX4" fmla="*/ 88106 w 95249"/>
                      <a:gd name="connsiteY4" fmla="*/ 0 h 14287"/>
                      <a:gd name="connsiteX5" fmla="*/ 95250 w 95249"/>
                      <a:gd name="connsiteY5" fmla="*/ 7144 h 14287"/>
                      <a:gd name="connsiteX6" fmla="*/ 88106 w 952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49" h="14287">
                        <a:moveTo>
                          <a:pt x="88106" y="14288"/>
                        </a:moveTo>
                        <a:lnTo>
                          <a:pt x="7144" y="14288"/>
                        </a:lnTo>
                        <a:cubicBezTo>
                          <a:pt x="3238" y="14288"/>
                          <a:pt x="0" y="11049"/>
                          <a:pt x="0" y="7144"/>
                        </a:cubicBezTo>
                        <a:cubicBezTo>
                          <a:pt x="0" y="3239"/>
                          <a:pt x="3238" y="0"/>
                          <a:pt x="7144" y="0"/>
                        </a:cubicBezTo>
                        <a:lnTo>
                          <a:pt x="88106" y="0"/>
                        </a:lnTo>
                        <a:cubicBezTo>
                          <a:pt x="92012" y="0"/>
                          <a:pt x="95250" y="3239"/>
                          <a:pt x="95250" y="7144"/>
                        </a:cubicBezTo>
                        <a:cubicBezTo>
                          <a:pt x="95250" y="11049"/>
                          <a:pt x="92012" y="14288"/>
                          <a:pt x="88106" y="14288"/>
                        </a:cubicBezTo>
                        <a:close/>
                      </a:path>
                    </a:pathLst>
                  </a:custGeom>
                  <a:grpFill/>
                  <a:ln w="9525" cap="flat">
                    <a:noFill/>
                    <a:prstDash val="solid"/>
                    <a:miter/>
                  </a:ln>
                </p:spPr>
                <p:txBody>
                  <a:bodyPr lIns="0" tIns="0" rIns="0" bIns="0" rtlCol="0" anchor="ctr"/>
                  <a:lstStyle/>
                  <a:p>
                    <a:endParaRPr lang="en-US"/>
                  </a:p>
                </p:txBody>
              </p:sp>
              <p:sp>
                <p:nvSpPr>
                  <p:cNvPr id="728" name="Grafik 2">
                    <a:extLst>
                      <a:ext uri="{FF2B5EF4-FFF2-40B4-BE49-F238E27FC236}">
                        <a16:creationId xmlns:a16="http://schemas.microsoft.com/office/drawing/2014/main" id="{95C8568A-2FD8-F56E-11B8-DE7827041564}"/>
                      </a:ext>
                    </a:extLst>
                  </p:cNvPr>
                  <p:cNvSpPr/>
                  <p:nvPr/>
                </p:nvSpPr>
                <p:spPr>
                  <a:xfrm>
                    <a:off x="5934193" y="3469695"/>
                    <a:ext cx="37099" cy="37123"/>
                  </a:xfrm>
                  <a:custGeom>
                    <a:avLst/>
                    <a:gdLst>
                      <a:gd name="connsiteX0" fmla="*/ 29980 w 37099"/>
                      <a:gd name="connsiteY0" fmla="*/ 37124 h 37123"/>
                      <a:gd name="connsiteX1" fmla="*/ 24932 w 37099"/>
                      <a:gd name="connsiteY1" fmla="*/ 35028 h 37123"/>
                      <a:gd name="connsiteX2" fmla="*/ 2072 w 37099"/>
                      <a:gd name="connsiteY2" fmla="*/ 12168 h 37123"/>
                      <a:gd name="connsiteX3" fmla="*/ 2072 w 37099"/>
                      <a:gd name="connsiteY3" fmla="*/ 2072 h 37123"/>
                      <a:gd name="connsiteX4" fmla="*/ 12168 w 37099"/>
                      <a:gd name="connsiteY4" fmla="*/ 2072 h 37123"/>
                      <a:gd name="connsiteX5" fmla="*/ 35028 w 37099"/>
                      <a:gd name="connsiteY5" fmla="*/ 24932 h 37123"/>
                      <a:gd name="connsiteX6" fmla="*/ 35028 w 37099"/>
                      <a:gd name="connsiteY6" fmla="*/ 35028 h 37123"/>
                      <a:gd name="connsiteX7" fmla="*/ 2998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29980" y="37124"/>
                        </a:moveTo>
                        <a:cubicBezTo>
                          <a:pt x="28170" y="37124"/>
                          <a:pt x="26360" y="36457"/>
                          <a:pt x="24932" y="35028"/>
                        </a:cubicBezTo>
                        <a:lnTo>
                          <a:pt x="2072" y="12168"/>
                        </a:lnTo>
                        <a:cubicBezTo>
                          <a:pt x="-691" y="9406"/>
                          <a:pt x="-691" y="4834"/>
                          <a:pt x="2072" y="2072"/>
                        </a:cubicBezTo>
                        <a:cubicBezTo>
                          <a:pt x="4834" y="-691"/>
                          <a:pt x="9406" y="-691"/>
                          <a:pt x="12168" y="2072"/>
                        </a:cubicBezTo>
                        <a:lnTo>
                          <a:pt x="35028" y="24932"/>
                        </a:lnTo>
                        <a:cubicBezTo>
                          <a:pt x="37790" y="27694"/>
                          <a:pt x="37790" y="32266"/>
                          <a:pt x="35028" y="35028"/>
                        </a:cubicBezTo>
                        <a:cubicBezTo>
                          <a:pt x="33599" y="36362"/>
                          <a:pt x="31790" y="37124"/>
                          <a:pt x="29980" y="37124"/>
                        </a:cubicBezTo>
                        <a:close/>
                      </a:path>
                    </a:pathLst>
                  </a:custGeom>
                  <a:grpFill/>
                  <a:ln w="9525" cap="flat">
                    <a:noFill/>
                    <a:prstDash val="solid"/>
                    <a:miter/>
                  </a:ln>
                </p:spPr>
                <p:txBody>
                  <a:bodyPr lIns="0" tIns="0" rIns="0" bIns="0" rtlCol="0" anchor="ctr"/>
                  <a:lstStyle/>
                  <a:p>
                    <a:endParaRPr lang="en-US"/>
                  </a:p>
                </p:txBody>
              </p:sp>
              <p:sp>
                <p:nvSpPr>
                  <p:cNvPr id="729" name="Grafik 2">
                    <a:extLst>
                      <a:ext uri="{FF2B5EF4-FFF2-40B4-BE49-F238E27FC236}">
                        <a16:creationId xmlns:a16="http://schemas.microsoft.com/office/drawing/2014/main" id="{AEA6B2A7-365F-7A5F-26BE-52FAB85FC2A1}"/>
                      </a:ext>
                    </a:extLst>
                  </p:cNvPr>
                  <p:cNvSpPr/>
                  <p:nvPr/>
                </p:nvSpPr>
                <p:spPr>
                  <a:xfrm>
                    <a:off x="5934098" y="3492459"/>
                    <a:ext cx="37099" cy="37218"/>
                  </a:xfrm>
                  <a:custGeom>
                    <a:avLst/>
                    <a:gdLst>
                      <a:gd name="connsiteX0" fmla="*/ 7120 w 37099"/>
                      <a:gd name="connsiteY0" fmla="*/ 37219 h 37218"/>
                      <a:gd name="connsiteX1" fmla="*/ 2072 w 37099"/>
                      <a:gd name="connsiteY1" fmla="*/ 35123 h 37218"/>
                      <a:gd name="connsiteX2" fmla="*/ 2072 w 37099"/>
                      <a:gd name="connsiteY2" fmla="*/ 25027 h 37218"/>
                      <a:gd name="connsiteX3" fmla="*/ 24932 w 37099"/>
                      <a:gd name="connsiteY3" fmla="*/ 2072 h 37218"/>
                      <a:gd name="connsiteX4" fmla="*/ 35028 w 37099"/>
                      <a:gd name="connsiteY4" fmla="*/ 2072 h 37218"/>
                      <a:gd name="connsiteX5" fmla="*/ 35028 w 37099"/>
                      <a:gd name="connsiteY5" fmla="*/ 12168 h 37218"/>
                      <a:gd name="connsiteX6" fmla="*/ 12168 w 37099"/>
                      <a:gd name="connsiteY6" fmla="*/ 35123 h 37218"/>
                      <a:gd name="connsiteX7" fmla="*/ 712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7120" y="37219"/>
                        </a:moveTo>
                        <a:cubicBezTo>
                          <a:pt x="5310" y="37219"/>
                          <a:pt x="3500" y="36552"/>
                          <a:pt x="2072" y="35123"/>
                        </a:cubicBezTo>
                        <a:cubicBezTo>
                          <a:pt x="-691" y="32361"/>
                          <a:pt x="-691" y="27789"/>
                          <a:pt x="2072" y="25027"/>
                        </a:cubicBezTo>
                        <a:lnTo>
                          <a:pt x="24932" y="2072"/>
                        </a:lnTo>
                        <a:cubicBezTo>
                          <a:pt x="27694" y="-691"/>
                          <a:pt x="32266" y="-691"/>
                          <a:pt x="35028" y="2072"/>
                        </a:cubicBezTo>
                        <a:cubicBezTo>
                          <a:pt x="37790" y="4834"/>
                          <a:pt x="37790" y="9406"/>
                          <a:pt x="35028" y="12168"/>
                        </a:cubicBezTo>
                        <a:lnTo>
                          <a:pt x="12168" y="35123"/>
                        </a:lnTo>
                        <a:cubicBezTo>
                          <a:pt x="10835" y="36552"/>
                          <a:pt x="9025"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24" name="Grafik 2">
                  <a:extLst>
                    <a:ext uri="{FF2B5EF4-FFF2-40B4-BE49-F238E27FC236}">
                      <a16:creationId xmlns:a16="http://schemas.microsoft.com/office/drawing/2014/main" id="{B86FBB2B-4557-EB2F-C355-0B4F77F9C3DB}"/>
                    </a:ext>
                  </a:extLst>
                </p:cNvPr>
                <p:cNvGrpSpPr/>
                <p:nvPr/>
              </p:nvGrpSpPr>
              <p:grpSpPr>
                <a:xfrm>
                  <a:off x="5875995" y="3469695"/>
                  <a:ext cx="37195" cy="59983"/>
                  <a:chOff x="5875995" y="3469695"/>
                  <a:chExt cx="37195" cy="59983"/>
                </a:xfrm>
                <a:grpFill/>
              </p:grpSpPr>
              <p:sp>
                <p:nvSpPr>
                  <p:cNvPr id="725" name="Grafik 2">
                    <a:extLst>
                      <a:ext uri="{FF2B5EF4-FFF2-40B4-BE49-F238E27FC236}">
                        <a16:creationId xmlns:a16="http://schemas.microsoft.com/office/drawing/2014/main" id="{FA59640B-E58D-A3C6-C35A-2C021F767B13}"/>
                      </a:ext>
                    </a:extLst>
                  </p:cNvPr>
                  <p:cNvSpPr/>
                  <p:nvPr/>
                </p:nvSpPr>
                <p:spPr>
                  <a:xfrm>
                    <a:off x="5875995" y="3492459"/>
                    <a:ext cx="37195" cy="37218"/>
                  </a:xfrm>
                  <a:custGeom>
                    <a:avLst/>
                    <a:gdLst>
                      <a:gd name="connsiteX0" fmla="*/ 30075 w 37195"/>
                      <a:gd name="connsiteY0" fmla="*/ 37219 h 37218"/>
                      <a:gd name="connsiteX1" fmla="*/ 25027 w 37195"/>
                      <a:gd name="connsiteY1" fmla="*/ 35123 h 37218"/>
                      <a:gd name="connsiteX2" fmla="*/ 2072 w 37195"/>
                      <a:gd name="connsiteY2" fmla="*/ 12168 h 37218"/>
                      <a:gd name="connsiteX3" fmla="*/ 2072 w 37195"/>
                      <a:gd name="connsiteY3" fmla="*/ 2072 h 37218"/>
                      <a:gd name="connsiteX4" fmla="*/ 12168 w 37195"/>
                      <a:gd name="connsiteY4" fmla="*/ 2072 h 37218"/>
                      <a:gd name="connsiteX5" fmla="*/ 35123 w 37195"/>
                      <a:gd name="connsiteY5" fmla="*/ 25027 h 37218"/>
                      <a:gd name="connsiteX6" fmla="*/ 35123 w 37195"/>
                      <a:gd name="connsiteY6" fmla="*/ 35123 h 37218"/>
                      <a:gd name="connsiteX7" fmla="*/ 30075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5123" y="25027"/>
                        </a:lnTo>
                        <a:cubicBezTo>
                          <a:pt x="37886" y="27789"/>
                          <a:pt x="37886" y="32361"/>
                          <a:pt x="35123" y="35123"/>
                        </a:cubicBezTo>
                        <a:cubicBezTo>
                          <a:pt x="33695" y="36552"/>
                          <a:pt x="31885" y="37219"/>
                          <a:pt x="30075" y="37219"/>
                        </a:cubicBezTo>
                        <a:close/>
                      </a:path>
                    </a:pathLst>
                  </a:custGeom>
                  <a:grpFill/>
                  <a:ln w="9525" cap="flat">
                    <a:noFill/>
                    <a:prstDash val="solid"/>
                    <a:miter/>
                  </a:ln>
                </p:spPr>
                <p:txBody>
                  <a:bodyPr lIns="0" tIns="0" rIns="0" bIns="0" rtlCol="0" anchor="ctr"/>
                  <a:lstStyle/>
                  <a:p>
                    <a:endParaRPr lang="en-US"/>
                  </a:p>
                </p:txBody>
              </p:sp>
              <p:sp>
                <p:nvSpPr>
                  <p:cNvPr id="726" name="Grafik 2">
                    <a:extLst>
                      <a:ext uri="{FF2B5EF4-FFF2-40B4-BE49-F238E27FC236}">
                        <a16:creationId xmlns:a16="http://schemas.microsoft.com/office/drawing/2014/main" id="{113D1465-2060-8706-0E9D-799F769384D6}"/>
                      </a:ext>
                    </a:extLst>
                  </p:cNvPr>
                  <p:cNvSpPr/>
                  <p:nvPr/>
                </p:nvSpPr>
                <p:spPr>
                  <a:xfrm>
                    <a:off x="5875995" y="3469695"/>
                    <a:ext cx="37195" cy="37123"/>
                  </a:xfrm>
                  <a:custGeom>
                    <a:avLst/>
                    <a:gdLst>
                      <a:gd name="connsiteX0" fmla="*/ 7120 w 37195"/>
                      <a:gd name="connsiteY0" fmla="*/ 37124 h 37123"/>
                      <a:gd name="connsiteX1" fmla="*/ 2072 w 37195"/>
                      <a:gd name="connsiteY1" fmla="*/ 35028 h 37123"/>
                      <a:gd name="connsiteX2" fmla="*/ 2072 w 37195"/>
                      <a:gd name="connsiteY2" fmla="*/ 24932 h 37123"/>
                      <a:gd name="connsiteX3" fmla="*/ 25027 w 37195"/>
                      <a:gd name="connsiteY3" fmla="*/ 2072 h 37123"/>
                      <a:gd name="connsiteX4" fmla="*/ 35123 w 37195"/>
                      <a:gd name="connsiteY4" fmla="*/ 2072 h 37123"/>
                      <a:gd name="connsiteX5" fmla="*/ 35123 w 37195"/>
                      <a:gd name="connsiteY5" fmla="*/ 12168 h 37123"/>
                      <a:gd name="connsiteX6" fmla="*/ 12168 w 37195"/>
                      <a:gd name="connsiteY6" fmla="*/ 35028 h 37123"/>
                      <a:gd name="connsiteX7" fmla="*/ 7120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7120" y="37124"/>
                        </a:moveTo>
                        <a:cubicBezTo>
                          <a:pt x="5310" y="37124"/>
                          <a:pt x="3500" y="36457"/>
                          <a:pt x="2072" y="35028"/>
                        </a:cubicBezTo>
                        <a:cubicBezTo>
                          <a:pt x="-691" y="32266"/>
                          <a:pt x="-691" y="27694"/>
                          <a:pt x="2072" y="24932"/>
                        </a:cubicBezTo>
                        <a:lnTo>
                          <a:pt x="25027" y="2072"/>
                        </a:lnTo>
                        <a:cubicBezTo>
                          <a:pt x="27789" y="-691"/>
                          <a:pt x="32361" y="-691"/>
                          <a:pt x="35123" y="2072"/>
                        </a:cubicBezTo>
                        <a:cubicBezTo>
                          <a:pt x="37886" y="4834"/>
                          <a:pt x="37886" y="9406"/>
                          <a:pt x="35123" y="12168"/>
                        </a:cubicBezTo>
                        <a:lnTo>
                          <a:pt x="12168" y="35028"/>
                        </a:lnTo>
                        <a:cubicBezTo>
                          <a:pt x="10835"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8" name="Grafik 2">
                <a:extLst>
                  <a:ext uri="{FF2B5EF4-FFF2-40B4-BE49-F238E27FC236}">
                    <a16:creationId xmlns:a16="http://schemas.microsoft.com/office/drawing/2014/main" id="{AFFADB72-8A16-D7ED-A5BC-203C53686890}"/>
                  </a:ext>
                </a:extLst>
              </p:cNvPr>
              <p:cNvGrpSpPr/>
              <p:nvPr/>
            </p:nvGrpSpPr>
            <p:grpSpPr>
              <a:xfrm>
                <a:off x="6026752" y="3456621"/>
                <a:ext cx="69151" cy="85915"/>
                <a:chOff x="6026752" y="3456621"/>
                <a:chExt cx="69151" cy="85915"/>
              </a:xfrm>
              <a:grpFill/>
            </p:grpSpPr>
            <p:sp>
              <p:nvSpPr>
                <p:cNvPr id="719" name="Grafik 2">
                  <a:extLst>
                    <a:ext uri="{FF2B5EF4-FFF2-40B4-BE49-F238E27FC236}">
                      <a16:creationId xmlns:a16="http://schemas.microsoft.com/office/drawing/2014/main" id="{7F1C62A7-A36C-BC6D-6686-6B1F19485697}"/>
                    </a:ext>
                  </a:extLst>
                </p:cNvPr>
                <p:cNvSpPr/>
                <p:nvPr/>
              </p:nvSpPr>
              <p:spPr>
                <a:xfrm>
                  <a:off x="6026752"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144" y="85915"/>
                        <a:pt x="7144" y="85915"/>
                      </a:cubicBezTo>
                      <a:close/>
                    </a:path>
                  </a:pathLst>
                </a:custGeom>
                <a:grpFill/>
                <a:ln w="9525" cap="flat">
                  <a:noFill/>
                  <a:prstDash val="solid"/>
                  <a:miter/>
                </a:ln>
              </p:spPr>
              <p:txBody>
                <a:bodyPr lIns="0" tIns="0" rIns="0" bIns="0" rtlCol="0" anchor="ctr"/>
                <a:lstStyle/>
                <a:p>
                  <a:endParaRPr lang="en-US"/>
                </a:p>
              </p:txBody>
            </p:sp>
            <p:sp>
              <p:nvSpPr>
                <p:cNvPr id="720" name="Grafik 2">
                  <a:extLst>
                    <a:ext uri="{FF2B5EF4-FFF2-40B4-BE49-F238E27FC236}">
                      <a16:creationId xmlns:a16="http://schemas.microsoft.com/office/drawing/2014/main" id="{E23D91AA-D920-61B9-A147-F3DFD2E7905B}"/>
                    </a:ext>
                  </a:extLst>
                </p:cNvPr>
                <p:cNvSpPr/>
                <p:nvPr/>
              </p:nvSpPr>
              <p:spPr>
                <a:xfrm>
                  <a:off x="6081616"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049" y="85915"/>
                        <a:pt x="7144" y="85915"/>
                      </a:cubicBezTo>
                      <a:close/>
                    </a:path>
                  </a:pathLst>
                </a:custGeom>
                <a:grpFill/>
                <a:ln w="9525" cap="flat">
                  <a:noFill/>
                  <a:prstDash val="solid"/>
                  <a:miter/>
                </a:ln>
              </p:spPr>
              <p:txBody>
                <a:bodyPr lIns="0" tIns="0" rIns="0" bIns="0" rtlCol="0" anchor="ctr"/>
                <a:lstStyle/>
                <a:p>
                  <a:endParaRPr lang="en-US"/>
                </a:p>
              </p:txBody>
            </p:sp>
            <p:sp>
              <p:nvSpPr>
                <p:cNvPr id="721" name="Grafik 2">
                  <a:extLst>
                    <a:ext uri="{FF2B5EF4-FFF2-40B4-BE49-F238E27FC236}">
                      <a16:creationId xmlns:a16="http://schemas.microsoft.com/office/drawing/2014/main" id="{3CA63241-53B4-5D36-1ECD-6EE0E030B6D6}"/>
                    </a:ext>
                  </a:extLst>
                </p:cNvPr>
                <p:cNvSpPr/>
                <p:nvPr/>
              </p:nvSpPr>
              <p:spPr>
                <a:xfrm>
                  <a:off x="6028594" y="3456749"/>
                  <a:ext cx="39559" cy="45306"/>
                </a:xfrm>
                <a:custGeom>
                  <a:avLst/>
                  <a:gdLst>
                    <a:gd name="connsiteX0" fmla="*/ 32448 w 39559"/>
                    <a:gd name="connsiteY0" fmla="*/ 45307 h 45306"/>
                    <a:gd name="connsiteX1" fmla="*/ 26924 w 39559"/>
                    <a:gd name="connsiteY1" fmla="*/ 42640 h 45306"/>
                    <a:gd name="connsiteX2" fmla="*/ 1587 w 39559"/>
                    <a:gd name="connsiteY2" fmla="*/ 11588 h 45306"/>
                    <a:gd name="connsiteX3" fmla="*/ 2635 w 39559"/>
                    <a:gd name="connsiteY3" fmla="*/ 1587 h 45306"/>
                    <a:gd name="connsiteX4" fmla="*/ 12636 w 39559"/>
                    <a:gd name="connsiteY4" fmla="*/ 2635 h 45306"/>
                    <a:gd name="connsiteX5" fmla="*/ 37973 w 39559"/>
                    <a:gd name="connsiteY5" fmla="*/ 33686 h 45306"/>
                    <a:gd name="connsiteX6" fmla="*/ 36925 w 39559"/>
                    <a:gd name="connsiteY6" fmla="*/ 43688 h 45306"/>
                    <a:gd name="connsiteX7" fmla="*/ 32448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32448" y="45307"/>
                      </a:moveTo>
                      <a:cubicBezTo>
                        <a:pt x="30353" y="45307"/>
                        <a:pt x="28352" y="44450"/>
                        <a:pt x="26924" y="42640"/>
                      </a:cubicBezTo>
                      <a:lnTo>
                        <a:pt x="1587" y="11588"/>
                      </a:lnTo>
                      <a:cubicBezTo>
                        <a:pt x="-889" y="8540"/>
                        <a:pt x="-413" y="4064"/>
                        <a:pt x="2635" y="1587"/>
                      </a:cubicBezTo>
                      <a:cubicBezTo>
                        <a:pt x="5683" y="-889"/>
                        <a:pt x="10160" y="-413"/>
                        <a:pt x="12636" y="2635"/>
                      </a:cubicBezTo>
                      <a:lnTo>
                        <a:pt x="37973" y="33686"/>
                      </a:lnTo>
                      <a:cubicBezTo>
                        <a:pt x="40449" y="36734"/>
                        <a:pt x="39973" y="41211"/>
                        <a:pt x="36925" y="43688"/>
                      </a:cubicBezTo>
                      <a:cubicBezTo>
                        <a:pt x="35687" y="44735"/>
                        <a:pt x="34067" y="45307"/>
                        <a:pt x="32448" y="45307"/>
                      </a:cubicBezTo>
                      <a:close/>
                    </a:path>
                  </a:pathLst>
                </a:custGeom>
                <a:grpFill/>
                <a:ln w="9525" cap="flat">
                  <a:noFill/>
                  <a:prstDash val="solid"/>
                  <a:miter/>
                </a:ln>
              </p:spPr>
              <p:txBody>
                <a:bodyPr lIns="0" tIns="0" rIns="0" bIns="0" rtlCol="0" anchor="ctr"/>
                <a:lstStyle/>
                <a:p>
                  <a:endParaRPr lang="en-US"/>
                </a:p>
              </p:txBody>
            </p:sp>
            <p:sp>
              <p:nvSpPr>
                <p:cNvPr id="722" name="Grafik 2">
                  <a:extLst>
                    <a:ext uri="{FF2B5EF4-FFF2-40B4-BE49-F238E27FC236}">
                      <a16:creationId xmlns:a16="http://schemas.microsoft.com/office/drawing/2014/main" id="{05F9FA8B-F9E6-AB2F-CBBD-E1910D0CDB3A}"/>
                    </a:ext>
                  </a:extLst>
                </p:cNvPr>
                <p:cNvSpPr/>
                <p:nvPr/>
              </p:nvSpPr>
              <p:spPr>
                <a:xfrm>
                  <a:off x="6055264" y="3456749"/>
                  <a:ext cx="39559" cy="45306"/>
                </a:xfrm>
                <a:custGeom>
                  <a:avLst/>
                  <a:gdLst>
                    <a:gd name="connsiteX0" fmla="*/ 7112 w 39559"/>
                    <a:gd name="connsiteY0" fmla="*/ 45307 h 45306"/>
                    <a:gd name="connsiteX1" fmla="*/ 2635 w 39559"/>
                    <a:gd name="connsiteY1" fmla="*/ 43688 h 45306"/>
                    <a:gd name="connsiteX2" fmla="*/ 1587 w 39559"/>
                    <a:gd name="connsiteY2" fmla="*/ 33686 h 45306"/>
                    <a:gd name="connsiteX3" fmla="*/ 26924 w 39559"/>
                    <a:gd name="connsiteY3" fmla="*/ 2635 h 45306"/>
                    <a:gd name="connsiteX4" fmla="*/ 36925 w 39559"/>
                    <a:gd name="connsiteY4" fmla="*/ 1587 h 45306"/>
                    <a:gd name="connsiteX5" fmla="*/ 37973 w 39559"/>
                    <a:gd name="connsiteY5" fmla="*/ 11588 h 45306"/>
                    <a:gd name="connsiteX6" fmla="*/ 12636 w 39559"/>
                    <a:gd name="connsiteY6" fmla="*/ 42640 h 45306"/>
                    <a:gd name="connsiteX7" fmla="*/ 7112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7112" y="45307"/>
                      </a:moveTo>
                      <a:cubicBezTo>
                        <a:pt x="5492" y="45307"/>
                        <a:pt x="3968" y="44735"/>
                        <a:pt x="2635" y="43688"/>
                      </a:cubicBezTo>
                      <a:cubicBezTo>
                        <a:pt x="-413" y="41211"/>
                        <a:pt x="-889" y="36734"/>
                        <a:pt x="1587" y="33686"/>
                      </a:cubicBezTo>
                      <a:lnTo>
                        <a:pt x="26924" y="2635"/>
                      </a:lnTo>
                      <a:cubicBezTo>
                        <a:pt x="29400" y="-413"/>
                        <a:pt x="33972" y="-889"/>
                        <a:pt x="36925" y="1587"/>
                      </a:cubicBezTo>
                      <a:cubicBezTo>
                        <a:pt x="39973" y="4064"/>
                        <a:pt x="40449" y="8540"/>
                        <a:pt x="37973" y="11588"/>
                      </a:cubicBezTo>
                      <a:lnTo>
                        <a:pt x="12636" y="42640"/>
                      </a:lnTo>
                      <a:cubicBezTo>
                        <a:pt x="11303" y="44354"/>
                        <a:pt x="9207" y="45307"/>
                        <a:pt x="7112" y="45307"/>
                      </a:cubicBezTo>
                      <a:close/>
                    </a:path>
                  </a:pathLst>
                </a:custGeom>
                <a:grpFill/>
                <a:ln w="9525" cap="flat">
                  <a:noFill/>
                  <a:prstDash val="solid"/>
                  <a:miter/>
                </a:ln>
              </p:spPr>
              <p:txBody>
                <a:bodyPr lIns="0" tIns="0" rIns="0" bIns="0" rtlCol="0" anchor="ctr"/>
                <a:lstStyle/>
                <a:p>
                  <a:endParaRPr lang="en-US"/>
                </a:p>
              </p:txBody>
            </p:sp>
          </p:grpSp>
        </p:grpSp>
      </p:grpSp>
      <p:grpSp>
        <p:nvGrpSpPr>
          <p:cNvPr id="737" name="Grafik 5">
            <a:extLst>
              <a:ext uri="{FF2B5EF4-FFF2-40B4-BE49-F238E27FC236}">
                <a16:creationId xmlns:a16="http://schemas.microsoft.com/office/drawing/2014/main" id="{C27704E2-8B3D-BB92-C467-5ACAE0EE9100}"/>
              </a:ext>
            </a:extLst>
          </p:cNvPr>
          <p:cNvGrpSpPr>
            <a:grpSpLocks noChangeAspect="1"/>
          </p:cNvGrpSpPr>
          <p:nvPr/>
        </p:nvGrpSpPr>
        <p:grpSpPr>
          <a:xfrm>
            <a:off x="6611784" y="5937499"/>
            <a:ext cx="370619" cy="374399"/>
            <a:chOff x="5910262" y="3176587"/>
            <a:chExt cx="370619" cy="500253"/>
          </a:xfrm>
          <a:solidFill>
            <a:schemeClr val="tx1"/>
          </a:solidFill>
        </p:grpSpPr>
        <p:sp>
          <p:nvSpPr>
            <p:cNvPr id="738" name="Grafik 5">
              <a:extLst>
                <a:ext uri="{FF2B5EF4-FFF2-40B4-BE49-F238E27FC236}">
                  <a16:creationId xmlns:a16="http://schemas.microsoft.com/office/drawing/2014/main" id="{7927AA63-892F-0B87-2AED-E9521365447E}"/>
                </a:ext>
              </a:extLst>
            </p:cNvPr>
            <p:cNvSpPr/>
            <p:nvPr/>
          </p:nvSpPr>
          <p:spPr>
            <a:xfrm>
              <a:off x="5910262" y="3370992"/>
              <a:ext cx="305847" cy="305847"/>
            </a:xfrm>
            <a:custGeom>
              <a:avLst/>
              <a:gdLst>
                <a:gd name="connsiteX0" fmla="*/ 298704 w 305847"/>
                <a:gd name="connsiteY0" fmla="*/ 305848 h 305847"/>
                <a:gd name="connsiteX1" fmla="*/ 7144 w 305847"/>
                <a:gd name="connsiteY1" fmla="*/ 305848 h 305847"/>
                <a:gd name="connsiteX2" fmla="*/ 0 w 305847"/>
                <a:gd name="connsiteY2" fmla="*/ 298704 h 305847"/>
                <a:gd name="connsiteX3" fmla="*/ 0 w 305847"/>
                <a:gd name="connsiteY3" fmla="*/ 7144 h 305847"/>
                <a:gd name="connsiteX4" fmla="*/ 7144 w 305847"/>
                <a:gd name="connsiteY4" fmla="*/ 0 h 305847"/>
                <a:gd name="connsiteX5" fmla="*/ 298704 w 305847"/>
                <a:gd name="connsiteY5" fmla="*/ 0 h 305847"/>
                <a:gd name="connsiteX6" fmla="*/ 305848 w 305847"/>
                <a:gd name="connsiteY6" fmla="*/ 7144 h 305847"/>
                <a:gd name="connsiteX7" fmla="*/ 305848 w 305847"/>
                <a:gd name="connsiteY7" fmla="*/ 298704 h 305847"/>
                <a:gd name="connsiteX8" fmla="*/ 298704 w 305847"/>
                <a:gd name="connsiteY8" fmla="*/ 305848 h 305847"/>
                <a:gd name="connsiteX9" fmla="*/ 14288 w 305847"/>
                <a:gd name="connsiteY9" fmla="*/ 291560 h 305847"/>
                <a:gd name="connsiteX10" fmla="*/ 291560 w 305847"/>
                <a:gd name="connsiteY10" fmla="*/ 291560 h 305847"/>
                <a:gd name="connsiteX11" fmla="*/ 291560 w 305847"/>
                <a:gd name="connsiteY11" fmla="*/ 14288 h 305847"/>
                <a:gd name="connsiteX12" fmla="*/ 14288 w 305847"/>
                <a:gd name="connsiteY12" fmla="*/ 14288 h 305847"/>
                <a:gd name="connsiteX13" fmla="*/ 14288 w 30584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305847">
                  <a:moveTo>
                    <a:pt x="298704" y="305848"/>
                  </a:moveTo>
                  <a:lnTo>
                    <a:pt x="7144" y="305848"/>
                  </a:lnTo>
                  <a:cubicBezTo>
                    <a:pt x="3239" y="305848"/>
                    <a:pt x="0" y="302705"/>
                    <a:pt x="0" y="298704"/>
                  </a:cubicBezTo>
                  <a:lnTo>
                    <a:pt x="0" y="7144"/>
                  </a:lnTo>
                  <a:cubicBezTo>
                    <a:pt x="0" y="3239"/>
                    <a:pt x="3239" y="0"/>
                    <a:pt x="7144" y="0"/>
                  </a:cubicBezTo>
                  <a:lnTo>
                    <a:pt x="298704" y="0"/>
                  </a:lnTo>
                  <a:cubicBezTo>
                    <a:pt x="302609" y="0"/>
                    <a:pt x="305848" y="3239"/>
                    <a:pt x="305848" y="7144"/>
                  </a:cubicBezTo>
                  <a:lnTo>
                    <a:pt x="305848" y="298704"/>
                  </a:lnTo>
                  <a:cubicBezTo>
                    <a:pt x="305848" y="302705"/>
                    <a:pt x="302705" y="305848"/>
                    <a:pt x="298704"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739" name="Grafik 5">
              <a:extLst>
                <a:ext uri="{FF2B5EF4-FFF2-40B4-BE49-F238E27FC236}">
                  <a16:creationId xmlns:a16="http://schemas.microsoft.com/office/drawing/2014/main" id="{1A83FEFA-4339-A72D-6D53-BD7E5A34F9F1}"/>
                </a:ext>
              </a:extLst>
            </p:cNvPr>
            <p:cNvSpPr/>
            <p:nvPr/>
          </p:nvSpPr>
          <p:spPr>
            <a:xfrm>
              <a:off x="5958839" y="3419569"/>
              <a:ext cx="208692" cy="208692"/>
            </a:xfrm>
            <a:custGeom>
              <a:avLst/>
              <a:gdLst>
                <a:gd name="connsiteX0" fmla="*/ 201549 w 208692"/>
                <a:gd name="connsiteY0" fmla="*/ 208693 h 208692"/>
                <a:gd name="connsiteX1" fmla="*/ 7144 w 208692"/>
                <a:gd name="connsiteY1" fmla="*/ 208693 h 208692"/>
                <a:gd name="connsiteX2" fmla="*/ 0 w 208692"/>
                <a:gd name="connsiteY2" fmla="*/ 201549 h 208692"/>
                <a:gd name="connsiteX3" fmla="*/ 0 w 208692"/>
                <a:gd name="connsiteY3" fmla="*/ 7144 h 208692"/>
                <a:gd name="connsiteX4" fmla="*/ 7144 w 208692"/>
                <a:gd name="connsiteY4" fmla="*/ 0 h 208692"/>
                <a:gd name="connsiteX5" fmla="*/ 201549 w 208692"/>
                <a:gd name="connsiteY5" fmla="*/ 0 h 208692"/>
                <a:gd name="connsiteX6" fmla="*/ 208693 w 208692"/>
                <a:gd name="connsiteY6" fmla="*/ 7144 h 208692"/>
                <a:gd name="connsiteX7" fmla="*/ 208693 w 208692"/>
                <a:gd name="connsiteY7" fmla="*/ 201549 h 208692"/>
                <a:gd name="connsiteX8" fmla="*/ 201549 w 208692"/>
                <a:gd name="connsiteY8" fmla="*/ 208693 h 208692"/>
                <a:gd name="connsiteX9" fmla="*/ 14288 w 208692"/>
                <a:gd name="connsiteY9" fmla="*/ 194405 h 208692"/>
                <a:gd name="connsiteX10" fmla="*/ 194405 w 208692"/>
                <a:gd name="connsiteY10" fmla="*/ 194405 h 208692"/>
                <a:gd name="connsiteX11" fmla="*/ 194405 w 208692"/>
                <a:gd name="connsiteY11" fmla="*/ 14288 h 208692"/>
                <a:gd name="connsiteX12" fmla="*/ 14288 w 208692"/>
                <a:gd name="connsiteY12" fmla="*/ 14288 h 208692"/>
                <a:gd name="connsiteX13" fmla="*/ 14288 w 208692"/>
                <a:gd name="connsiteY13" fmla="*/ 194405 h 20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692" h="208692">
                  <a:moveTo>
                    <a:pt x="201549" y="208693"/>
                  </a:moveTo>
                  <a:lnTo>
                    <a:pt x="7144" y="208693"/>
                  </a:lnTo>
                  <a:cubicBezTo>
                    <a:pt x="3239" y="208693"/>
                    <a:pt x="0" y="205454"/>
                    <a:pt x="0" y="201549"/>
                  </a:cubicBezTo>
                  <a:lnTo>
                    <a:pt x="0" y="7144"/>
                  </a:lnTo>
                  <a:cubicBezTo>
                    <a:pt x="0" y="3239"/>
                    <a:pt x="3239" y="0"/>
                    <a:pt x="7144" y="0"/>
                  </a:cubicBezTo>
                  <a:lnTo>
                    <a:pt x="201549" y="0"/>
                  </a:lnTo>
                  <a:cubicBezTo>
                    <a:pt x="205454" y="0"/>
                    <a:pt x="208693" y="3239"/>
                    <a:pt x="208693" y="7144"/>
                  </a:cubicBezTo>
                  <a:lnTo>
                    <a:pt x="208693" y="201549"/>
                  </a:lnTo>
                  <a:cubicBezTo>
                    <a:pt x="208693" y="205454"/>
                    <a:pt x="205550" y="208693"/>
                    <a:pt x="201549" y="208693"/>
                  </a:cubicBezTo>
                  <a:close/>
                  <a:moveTo>
                    <a:pt x="14288" y="194405"/>
                  </a:moveTo>
                  <a:lnTo>
                    <a:pt x="194405" y="194405"/>
                  </a:lnTo>
                  <a:lnTo>
                    <a:pt x="194405" y="14288"/>
                  </a:lnTo>
                  <a:lnTo>
                    <a:pt x="14288" y="14288"/>
                  </a:lnTo>
                  <a:lnTo>
                    <a:pt x="14288" y="194405"/>
                  </a:lnTo>
                  <a:close/>
                </a:path>
              </a:pathLst>
            </a:custGeom>
            <a:grpFill/>
            <a:ln w="9525" cap="flat">
              <a:noFill/>
              <a:prstDash val="solid"/>
              <a:miter/>
            </a:ln>
          </p:spPr>
          <p:txBody>
            <a:bodyPr lIns="0" tIns="0" rIns="0" bIns="0" rtlCol="0" anchor="ctr"/>
            <a:lstStyle/>
            <a:p>
              <a:endParaRPr lang="en-US"/>
            </a:p>
          </p:txBody>
        </p:sp>
        <p:sp>
          <p:nvSpPr>
            <p:cNvPr id="740" name="Grafik 5">
              <a:extLst>
                <a:ext uri="{FF2B5EF4-FFF2-40B4-BE49-F238E27FC236}">
                  <a16:creationId xmlns:a16="http://schemas.microsoft.com/office/drawing/2014/main" id="{C1CEF334-9D28-BE9F-73C0-774FA218B073}"/>
                </a:ext>
              </a:extLst>
            </p:cNvPr>
            <p:cNvSpPr/>
            <p:nvPr/>
          </p:nvSpPr>
          <p:spPr>
            <a:xfrm>
              <a:off x="5991224" y="3451954"/>
              <a:ext cx="143922" cy="143922"/>
            </a:xfrm>
            <a:custGeom>
              <a:avLst/>
              <a:gdLst>
                <a:gd name="connsiteX0" fmla="*/ 136779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779 w 143922"/>
                <a:gd name="connsiteY8" fmla="*/ 143923 h 143922"/>
                <a:gd name="connsiteX9" fmla="*/ 14288 w 143922"/>
                <a:gd name="connsiteY9" fmla="*/ 129635 h 143922"/>
                <a:gd name="connsiteX10" fmla="*/ 129635 w 143922"/>
                <a:gd name="connsiteY10" fmla="*/ 129635 h 143922"/>
                <a:gd name="connsiteX11" fmla="*/ 129635 w 143922"/>
                <a:gd name="connsiteY11" fmla="*/ 14288 h 143922"/>
                <a:gd name="connsiteX12" fmla="*/ 14288 w 143922"/>
                <a:gd name="connsiteY12" fmla="*/ 14288 h 143922"/>
                <a:gd name="connsiteX13" fmla="*/ 14288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779" y="143923"/>
                  </a:moveTo>
                  <a:lnTo>
                    <a:pt x="7144" y="143923"/>
                  </a:lnTo>
                  <a:cubicBezTo>
                    <a:pt x="3239" y="143923"/>
                    <a:pt x="0" y="140684"/>
                    <a:pt x="0" y="136779"/>
                  </a:cubicBezTo>
                  <a:lnTo>
                    <a:pt x="0" y="7144"/>
                  </a:lnTo>
                  <a:cubicBezTo>
                    <a:pt x="0" y="3239"/>
                    <a:pt x="3239" y="0"/>
                    <a:pt x="7144" y="0"/>
                  </a:cubicBezTo>
                  <a:lnTo>
                    <a:pt x="136779" y="0"/>
                  </a:lnTo>
                  <a:cubicBezTo>
                    <a:pt x="140684" y="0"/>
                    <a:pt x="143923" y="3239"/>
                    <a:pt x="143923" y="7144"/>
                  </a:cubicBezTo>
                  <a:lnTo>
                    <a:pt x="143923" y="136779"/>
                  </a:lnTo>
                  <a:cubicBezTo>
                    <a:pt x="143923" y="140684"/>
                    <a:pt x="140684" y="143923"/>
                    <a:pt x="136779" y="143923"/>
                  </a:cubicBezTo>
                  <a:close/>
                  <a:moveTo>
                    <a:pt x="14288" y="129635"/>
                  </a:moveTo>
                  <a:lnTo>
                    <a:pt x="129635" y="129635"/>
                  </a:lnTo>
                  <a:lnTo>
                    <a:pt x="129635"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1" name="Grafik 5">
              <a:extLst>
                <a:ext uri="{FF2B5EF4-FFF2-40B4-BE49-F238E27FC236}">
                  <a16:creationId xmlns:a16="http://schemas.microsoft.com/office/drawing/2014/main" id="{FAA39D12-C664-4603-54B2-A8A0163C5FCF}"/>
                </a:ext>
              </a:extLst>
            </p:cNvPr>
            <p:cNvSpPr/>
            <p:nvPr/>
          </p:nvSpPr>
          <p:spPr>
            <a:xfrm>
              <a:off x="5975032" y="3176587"/>
              <a:ext cx="305849" cy="435483"/>
            </a:xfrm>
            <a:custGeom>
              <a:avLst/>
              <a:gdLst>
                <a:gd name="connsiteX0" fmla="*/ 298799 w 305849"/>
                <a:gd name="connsiteY0" fmla="*/ 435483 h 435483"/>
                <a:gd name="connsiteX1" fmla="*/ 291655 w 305849"/>
                <a:gd name="connsiteY1" fmla="*/ 428339 h 435483"/>
                <a:gd name="connsiteX2" fmla="*/ 291655 w 305849"/>
                <a:gd name="connsiteY2" fmla="*/ 14288 h 435483"/>
                <a:gd name="connsiteX3" fmla="*/ 7144 w 305849"/>
                <a:gd name="connsiteY3" fmla="*/ 14288 h 435483"/>
                <a:gd name="connsiteX4" fmla="*/ 0 w 305849"/>
                <a:gd name="connsiteY4" fmla="*/ 7144 h 435483"/>
                <a:gd name="connsiteX5" fmla="*/ 7144 w 305849"/>
                <a:gd name="connsiteY5" fmla="*/ 0 h 435483"/>
                <a:gd name="connsiteX6" fmla="*/ 298704 w 305849"/>
                <a:gd name="connsiteY6" fmla="*/ 0 h 435483"/>
                <a:gd name="connsiteX7" fmla="*/ 305848 w 305849"/>
                <a:gd name="connsiteY7" fmla="*/ 7144 h 435483"/>
                <a:gd name="connsiteX8" fmla="*/ 305848 w 305849"/>
                <a:gd name="connsiteY8" fmla="*/ 428339 h 435483"/>
                <a:gd name="connsiteX9" fmla="*/ 298799 w 305849"/>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849" h="435483">
                  <a:moveTo>
                    <a:pt x="298799" y="435483"/>
                  </a:moveTo>
                  <a:cubicBezTo>
                    <a:pt x="294894" y="435483"/>
                    <a:pt x="291655" y="432245"/>
                    <a:pt x="291655" y="428339"/>
                  </a:cubicBezTo>
                  <a:lnTo>
                    <a:pt x="291655" y="14288"/>
                  </a:lnTo>
                  <a:lnTo>
                    <a:pt x="7144" y="14288"/>
                  </a:lnTo>
                  <a:cubicBezTo>
                    <a:pt x="3238" y="14288"/>
                    <a:pt x="0" y="11049"/>
                    <a:pt x="0" y="7144"/>
                  </a:cubicBezTo>
                  <a:cubicBezTo>
                    <a:pt x="0" y="3239"/>
                    <a:pt x="3238" y="0"/>
                    <a:pt x="7144" y="0"/>
                  </a:cubicBezTo>
                  <a:lnTo>
                    <a:pt x="298704" y="0"/>
                  </a:lnTo>
                  <a:cubicBezTo>
                    <a:pt x="302609" y="0"/>
                    <a:pt x="305848" y="3239"/>
                    <a:pt x="305848" y="7144"/>
                  </a:cubicBezTo>
                  <a:lnTo>
                    <a:pt x="305848" y="428339"/>
                  </a:lnTo>
                  <a:cubicBezTo>
                    <a:pt x="305943" y="432245"/>
                    <a:pt x="302705" y="435483"/>
                    <a:pt x="298799" y="435483"/>
                  </a:cubicBezTo>
                  <a:close/>
                </a:path>
              </a:pathLst>
            </a:custGeom>
            <a:grpFill/>
            <a:ln w="9525" cap="flat">
              <a:noFill/>
              <a:prstDash val="solid"/>
              <a:miter/>
            </a:ln>
          </p:spPr>
          <p:txBody>
            <a:bodyPr lIns="0" tIns="0" rIns="0" bIns="0" rtlCol="0" anchor="ctr"/>
            <a:lstStyle/>
            <a:p>
              <a:endParaRPr lang="en-US"/>
            </a:p>
          </p:txBody>
        </p:sp>
        <p:sp>
          <p:nvSpPr>
            <p:cNvPr id="742" name="Grafik 5">
              <a:extLst>
                <a:ext uri="{FF2B5EF4-FFF2-40B4-BE49-F238E27FC236}">
                  <a16:creationId xmlns:a16="http://schemas.microsoft.com/office/drawing/2014/main" id="{A6469684-F8BB-C6B3-1997-5A25D9FE99EA}"/>
                </a:ext>
              </a:extLst>
            </p:cNvPr>
            <p:cNvSpPr/>
            <p:nvPr/>
          </p:nvSpPr>
          <p:spPr>
            <a:xfrm>
              <a:off x="620184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3" name="Grafik 5">
              <a:extLst>
                <a:ext uri="{FF2B5EF4-FFF2-40B4-BE49-F238E27FC236}">
                  <a16:creationId xmlns:a16="http://schemas.microsoft.com/office/drawing/2014/main" id="{4CB6BB14-12F6-5D68-9D97-C129DDD6B291}"/>
                </a:ext>
              </a:extLst>
            </p:cNvPr>
            <p:cNvSpPr/>
            <p:nvPr/>
          </p:nvSpPr>
          <p:spPr>
            <a:xfrm>
              <a:off x="6201846" y="330624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4" name="Grafik 5">
              <a:extLst>
                <a:ext uri="{FF2B5EF4-FFF2-40B4-BE49-F238E27FC236}">
                  <a16:creationId xmlns:a16="http://schemas.microsoft.com/office/drawing/2014/main" id="{90BB99F6-C160-9975-1F8B-FF0F1545F658}"/>
                </a:ext>
              </a:extLst>
            </p:cNvPr>
            <p:cNvSpPr/>
            <p:nvPr/>
          </p:nvSpPr>
          <p:spPr>
            <a:xfrm>
              <a:off x="5910285"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45" name="Grafik 5">
              <a:extLst>
                <a:ext uri="{FF2B5EF4-FFF2-40B4-BE49-F238E27FC236}">
                  <a16:creationId xmlns:a16="http://schemas.microsoft.com/office/drawing/2014/main" id="{FB92C667-59AC-6BD1-9A57-1C4683560284}"/>
                </a:ext>
              </a:extLst>
            </p:cNvPr>
            <p:cNvSpPr/>
            <p:nvPr/>
          </p:nvSpPr>
          <p:spPr>
            <a:xfrm>
              <a:off x="620184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grpSp>
          <p:nvGrpSpPr>
            <p:cNvPr id="746" name="Grafik 5">
              <a:extLst>
                <a:ext uri="{FF2B5EF4-FFF2-40B4-BE49-F238E27FC236}">
                  <a16:creationId xmlns:a16="http://schemas.microsoft.com/office/drawing/2014/main" id="{C4AA5A0B-D8A4-5DA8-00C4-18AA1472A6B0}"/>
                </a:ext>
              </a:extLst>
            </p:cNvPr>
            <p:cNvGrpSpPr/>
            <p:nvPr/>
          </p:nvGrpSpPr>
          <p:grpSpPr>
            <a:xfrm>
              <a:off x="5991248" y="3451978"/>
              <a:ext cx="143875" cy="143898"/>
              <a:chOff x="5991248" y="3451978"/>
              <a:chExt cx="143875" cy="143898"/>
            </a:xfrm>
            <a:grpFill/>
          </p:grpSpPr>
          <p:sp>
            <p:nvSpPr>
              <p:cNvPr id="753" name="Grafik 5">
                <a:extLst>
                  <a:ext uri="{FF2B5EF4-FFF2-40B4-BE49-F238E27FC236}">
                    <a16:creationId xmlns:a16="http://schemas.microsoft.com/office/drawing/2014/main" id="{1964FA42-0DB5-0589-3AAD-26CDA63593F2}"/>
                  </a:ext>
                </a:extLst>
              </p:cNvPr>
              <p:cNvSpPr/>
              <p:nvPr/>
            </p:nvSpPr>
            <p:spPr>
              <a:xfrm>
                <a:off x="5991248" y="3451978"/>
                <a:ext cx="143875" cy="143898"/>
              </a:xfrm>
              <a:custGeom>
                <a:avLst/>
                <a:gdLst>
                  <a:gd name="connsiteX0" fmla="*/ 136755 w 143875"/>
                  <a:gd name="connsiteY0" fmla="*/ 143899 h 143898"/>
                  <a:gd name="connsiteX1" fmla="*/ 131707 w 143875"/>
                  <a:gd name="connsiteY1" fmla="*/ 141803 h 143898"/>
                  <a:gd name="connsiteX2" fmla="*/ 2072 w 143875"/>
                  <a:gd name="connsiteY2" fmla="*/ 12168 h 143898"/>
                  <a:gd name="connsiteX3" fmla="*/ 2072 w 143875"/>
                  <a:gd name="connsiteY3" fmla="*/ 2072 h 143898"/>
                  <a:gd name="connsiteX4" fmla="*/ 12168 w 143875"/>
                  <a:gd name="connsiteY4" fmla="*/ 2072 h 143898"/>
                  <a:gd name="connsiteX5" fmla="*/ 141803 w 143875"/>
                  <a:gd name="connsiteY5" fmla="*/ 131707 h 143898"/>
                  <a:gd name="connsiteX6" fmla="*/ 141803 w 143875"/>
                  <a:gd name="connsiteY6" fmla="*/ 141803 h 143898"/>
                  <a:gd name="connsiteX7" fmla="*/ 136755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136755" y="143899"/>
                    </a:moveTo>
                    <a:cubicBezTo>
                      <a:pt x="134945" y="143899"/>
                      <a:pt x="133136" y="143232"/>
                      <a:pt x="131707" y="141803"/>
                    </a:cubicBezTo>
                    <a:lnTo>
                      <a:pt x="2072" y="12168"/>
                    </a:lnTo>
                    <a:cubicBezTo>
                      <a:pt x="-691" y="9406"/>
                      <a:pt x="-691" y="4834"/>
                      <a:pt x="2072" y="2072"/>
                    </a:cubicBezTo>
                    <a:cubicBezTo>
                      <a:pt x="4834" y="-691"/>
                      <a:pt x="9406" y="-691"/>
                      <a:pt x="12168" y="2072"/>
                    </a:cubicBezTo>
                    <a:lnTo>
                      <a:pt x="141803" y="131707"/>
                    </a:lnTo>
                    <a:cubicBezTo>
                      <a:pt x="144566" y="134469"/>
                      <a:pt x="144566" y="139041"/>
                      <a:pt x="141803" y="141803"/>
                    </a:cubicBezTo>
                    <a:cubicBezTo>
                      <a:pt x="140375" y="143232"/>
                      <a:pt x="138565" y="143899"/>
                      <a:pt x="136755" y="143899"/>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B90C4F94-6EA3-EE18-AF99-D3BB16F5C3EE}"/>
                  </a:ext>
                </a:extLst>
              </p:cNvPr>
              <p:cNvSpPr/>
              <p:nvPr/>
            </p:nvSpPr>
            <p:spPr>
              <a:xfrm>
                <a:off x="5991248" y="3516843"/>
                <a:ext cx="79009" cy="79033"/>
              </a:xfrm>
              <a:custGeom>
                <a:avLst/>
                <a:gdLst>
                  <a:gd name="connsiteX0" fmla="*/ 71985 w 79009"/>
                  <a:gd name="connsiteY0" fmla="*/ 79034 h 79033"/>
                  <a:gd name="connsiteX1" fmla="*/ 66937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985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985" y="79034"/>
                    </a:moveTo>
                    <a:cubicBezTo>
                      <a:pt x="70175" y="79034"/>
                      <a:pt x="68366" y="78367"/>
                      <a:pt x="66937"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605" y="78367"/>
                      <a:pt x="73795" y="79034"/>
                      <a:pt x="71985"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41080CF3-B365-479A-E6ED-0EEA2BD9E0F1}"/>
                  </a:ext>
                </a:extLst>
              </p:cNvPr>
              <p:cNvSpPr/>
              <p:nvPr/>
            </p:nvSpPr>
            <p:spPr>
              <a:xfrm>
                <a:off x="6056113" y="3452073"/>
                <a:ext cx="79009" cy="79033"/>
              </a:xfrm>
              <a:custGeom>
                <a:avLst/>
                <a:gdLst>
                  <a:gd name="connsiteX0" fmla="*/ 71890 w 79009"/>
                  <a:gd name="connsiteY0" fmla="*/ 79034 h 79033"/>
                  <a:gd name="connsiteX1" fmla="*/ 66842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89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890" y="79034"/>
                    </a:moveTo>
                    <a:cubicBezTo>
                      <a:pt x="70080" y="79034"/>
                      <a:pt x="68270" y="78367"/>
                      <a:pt x="66842"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509" y="78272"/>
                      <a:pt x="73700" y="79034"/>
                      <a:pt x="7189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1F6D84F5-9F0A-1C29-C5F8-56C336207A75}"/>
                  </a:ext>
                </a:extLst>
              </p:cNvPr>
              <p:cNvSpPr/>
              <p:nvPr/>
            </p:nvSpPr>
            <p:spPr>
              <a:xfrm>
                <a:off x="5991248" y="3451978"/>
                <a:ext cx="143875" cy="143898"/>
              </a:xfrm>
              <a:custGeom>
                <a:avLst/>
                <a:gdLst>
                  <a:gd name="connsiteX0" fmla="*/ 7120 w 143875"/>
                  <a:gd name="connsiteY0" fmla="*/ 143899 h 143898"/>
                  <a:gd name="connsiteX1" fmla="*/ 2072 w 143875"/>
                  <a:gd name="connsiteY1" fmla="*/ 141803 h 143898"/>
                  <a:gd name="connsiteX2" fmla="*/ 2072 w 143875"/>
                  <a:gd name="connsiteY2" fmla="*/ 131707 h 143898"/>
                  <a:gd name="connsiteX3" fmla="*/ 131707 w 143875"/>
                  <a:gd name="connsiteY3" fmla="*/ 2072 h 143898"/>
                  <a:gd name="connsiteX4" fmla="*/ 141803 w 143875"/>
                  <a:gd name="connsiteY4" fmla="*/ 2072 h 143898"/>
                  <a:gd name="connsiteX5" fmla="*/ 141803 w 143875"/>
                  <a:gd name="connsiteY5" fmla="*/ 12168 h 143898"/>
                  <a:gd name="connsiteX6" fmla="*/ 12168 w 143875"/>
                  <a:gd name="connsiteY6" fmla="*/ 141803 h 143898"/>
                  <a:gd name="connsiteX7" fmla="*/ 7120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7120" y="143899"/>
                    </a:moveTo>
                    <a:cubicBezTo>
                      <a:pt x="5310" y="143899"/>
                      <a:pt x="3500" y="143232"/>
                      <a:pt x="2072" y="141803"/>
                    </a:cubicBezTo>
                    <a:cubicBezTo>
                      <a:pt x="-691" y="139041"/>
                      <a:pt x="-691" y="134469"/>
                      <a:pt x="2072" y="131707"/>
                    </a:cubicBezTo>
                    <a:lnTo>
                      <a:pt x="131707" y="2072"/>
                    </a:lnTo>
                    <a:cubicBezTo>
                      <a:pt x="134469" y="-691"/>
                      <a:pt x="139041" y="-691"/>
                      <a:pt x="141803" y="2072"/>
                    </a:cubicBezTo>
                    <a:cubicBezTo>
                      <a:pt x="144566" y="4834"/>
                      <a:pt x="144566" y="9406"/>
                      <a:pt x="141803" y="12168"/>
                    </a:cubicBezTo>
                    <a:lnTo>
                      <a:pt x="12168" y="141803"/>
                    </a:lnTo>
                    <a:cubicBezTo>
                      <a:pt x="10835" y="143232"/>
                      <a:pt x="9025" y="143899"/>
                      <a:pt x="7120" y="143899"/>
                    </a:cubicBezTo>
                    <a:close/>
                  </a:path>
                </a:pathLst>
              </a:custGeom>
              <a:grpFill/>
              <a:ln w="9525" cap="flat">
                <a:noFill/>
                <a:prstDash val="solid"/>
                <a:miter/>
              </a:ln>
            </p:spPr>
            <p:txBody>
              <a:bodyPr lIns="0" tIns="0" rIns="0" bIns="0" rtlCol="0" anchor="ctr"/>
              <a:lstStyle/>
              <a:p>
                <a:endParaRPr lang="en-US"/>
              </a:p>
            </p:txBody>
          </p:sp>
          <p:sp>
            <p:nvSpPr>
              <p:cNvPr id="757" name="Grafik 5">
                <a:extLst>
                  <a:ext uri="{FF2B5EF4-FFF2-40B4-BE49-F238E27FC236}">
                    <a16:creationId xmlns:a16="http://schemas.microsoft.com/office/drawing/2014/main" id="{6D917CAD-9CCF-A486-6653-DD47A38B73CF}"/>
                  </a:ext>
                </a:extLst>
              </p:cNvPr>
              <p:cNvSpPr/>
              <p:nvPr/>
            </p:nvSpPr>
            <p:spPr>
              <a:xfrm>
                <a:off x="6056113" y="351684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8" name="Grafik 5">
                <a:extLst>
                  <a:ext uri="{FF2B5EF4-FFF2-40B4-BE49-F238E27FC236}">
                    <a16:creationId xmlns:a16="http://schemas.microsoft.com/office/drawing/2014/main" id="{FBB2B35F-7E92-61DD-FB96-199BECA3EAC0}"/>
                  </a:ext>
                </a:extLst>
              </p:cNvPr>
              <p:cNvSpPr/>
              <p:nvPr/>
            </p:nvSpPr>
            <p:spPr>
              <a:xfrm>
                <a:off x="5991248" y="345207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272"/>
                      <a:pt x="9025" y="79034"/>
                      <a:pt x="7120" y="79034"/>
                    </a:cubicBezTo>
                    <a:close/>
                  </a:path>
                </a:pathLst>
              </a:custGeom>
              <a:grpFill/>
              <a:ln w="9525" cap="flat">
                <a:noFill/>
                <a:prstDash val="solid"/>
                <a:miter/>
              </a:ln>
            </p:spPr>
            <p:txBody>
              <a:bodyPr lIns="0" tIns="0" rIns="0" bIns="0" rtlCol="0" anchor="ctr"/>
              <a:lstStyle/>
              <a:p>
                <a:endParaRPr lang="en-US"/>
              </a:p>
            </p:txBody>
          </p:sp>
        </p:grpSp>
        <p:sp>
          <p:nvSpPr>
            <p:cNvPr id="747" name="Grafik 5">
              <a:extLst>
                <a:ext uri="{FF2B5EF4-FFF2-40B4-BE49-F238E27FC236}">
                  <a16:creationId xmlns:a16="http://schemas.microsoft.com/office/drawing/2014/main" id="{DE2392E0-A275-A904-F058-EDAF57959AAA}"/>
                </a:ext>
              </a:extLst>
            </p:cNvPr>
            <p:cNvSpPr/>
            <p:nvPr/>
          </p:nvSpPr>
          <p:spPr>
            <a:xfrm>
              <a:off x="5910262" y="3241357"/>
              <a:ext cx="305847" cy="143922"/>
            </a:xfrm>
            <a:custGeom>
              <a:avLst/>
              <a:gdLst>
                <a:gd name="connsiteX0" fmla="*/ 298704 w 305847"/>
                <a:gd name="connsiteY0" fmla="*/ 143923 h 143922"/>
                <a:gd name="connsiteX1" fmla="*/ 7144 w 305847"/>
                <a:gd name="connsiteY1" fmla="*/ 143923 h 143922"/>
                <a:gd name="connsiteX2" fmla="*/ 0 w 305847"/>
                <a:gd name="connsiteY2" fmla="*/ 136779 h 143922"/>
                <a:gd name="connsiteX3" fmla="*/ 0 w 305847"/>
                <a:gd name="connsiteY3" fmla="*/ 7144 h 143922"/>
                <a:gd name="connsiteX4" fmla="*/ 7144 w 305847"/>
                <a:gd name="connsiteY4" fmla="*/ 0 h 143922"/>
                <a:gd name="connsiteX5" fmla="*/ 298704 w 305847"/>
                <a:gd name="connsiteY5" fmla="*/ 0 h 143922"/>
                <a:gd name="connsiteX6" fmla="*/ 305848 w 305847"/>
                <a:gd name="connsiteY6" fmla="*/ 7144 h 143922"/>
                <a:gd name="connsiteX7" fmla="*/ 305848 w 305847"/>
                <a:gd name="connsiteY7" fmla="*/ 136779 h 143922"/>
                <a:gd name="connsiteX8" fmla="*/ 298704 w 305847"/>
                <a:gd name="connsiteY8" fmla="*/ 143923 h 143922"/>
                <a:gd name="connsiteX9" fmla="*/ 14288 w 305847"/>
                <a:gd name="connsiteY9" fmla="*/ 129635 h 143922"/>
                <a:gd name="connsiteX10" fmla="*/ 291560 w 305847"/>
                <a:gd name="connsiteY10" fmla="*/ 129635 h 143922"/>
                <a:gd name="connsiteX11" fmla="*/ 291560 w 305847"/>
                <a:gd name="connsiteY11" fmla="*/ 14288 h 143922"/>
                <a:gd name="connsiteX12" fmla="*/ 14288 w 305847"/>
                <a:gd name="connsiteY12" fmla="*/ 14288 h 143922"/>
                <a:gd name="connsiteX13" fmla="*/ 14288 w 305847"/>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143922">
                  <a:moveTo>
                    <a:pt x="298704" y="143923"/>
                  </a:moveTo>
                  <a:lnTo>
                    <a:pt x="7144" y="143923"/>
                  </a:lnTo>
                  <a:cubicBezTo>
                    <a:pt x="3239" y="143923"/>
                    <a:pt x="0" y="140684"/>
                    <a:pt x="0" y="136779"/>
                  </a:cubicBezTo>
                  <a:lnTo>
                    <a:pt x="0" y="7144"/>
                  </a:lnTo>
                  <a:cubicBezTo>
                    <a:pt x="0" y="3238"/>
                    <a:pt x="3239" y="0"/>
                    <a:pt x="7144" y="0"/>
                  </a:cubicBezTo>
                  <a:lnTo>
                    <a:pt x="298704" y="0"/>
                  </a:lnTo>
                  <a:cubicBezTo>
                    <a:pt x="302609" y="0"/>
                    <a:pt x="305848" y="3238"/>
                    <a:pt x="305848" y="7144"/>
                  </a:cubicBezTo>
                  <a:lnTo>
                    <a:pt x="305848" y="136779"/>
                  </a:lnTo>
                  <a:cubicBezTo>
                    <a:pt x="305848" y="140684"/>
                    <a:pt x="302705" y="143923"/>
                    <a:pt x="298704" y="143923"/>
                  </a:cubicBezTo>
                  <a:close/>
                  <a:moveTo>
                    <a:pt x="14288" y="129635"/>
                  </a:moveTo>
                  <a:lnTo>
                    <a:pt x="291560" y="129635"/>
                  </a:lnTo>
                  <a:lnTo>
                    <a:pt x="291560"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8" name="Grafik 5">
              <a:extLst>
                <a:ext uri="{FF2B5EF4-FFF2-40B4-BE49-F238E27FC236}">
                  <a16:creationId xmlns:a16="http://schemas.microsoft.com/office/drawing/2014/main" id="{94807E92-6EBA-9CE6-3F05-F0598F8EB322}"/>
                </a:ext>
              </a:extLst>
            </p:cNvPr>
            <p:cNvSpPr/>
            <p:nvPr/>
          </p:nvSpPr>
          <p:spPr>
            <a:xfrm>
              <a:off x="5942647"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2"/>
                    <a:pt x="0" y="23336"/>
                  </a:cubicBezTo>
                  <a:lnTo>
                    <a:pt x="0" y="7144"/>
                  </a:lnTo>
                  <a:cubicBezTo>
                    <a:pt x="0" y="3239"/>
                    <a:pt x="3238" y="0"/>
                    <a:pt x="7144" y="0"/>
                  </a:cubicBezTo>
                  <a:lnTo>
                    <a:pt x="39529" y="0"/>
                  </a:lnTo>
                  <a:cubicBezTo>
                    <a:pt x="43434" y="0"/>
                    <a:pt x="46673" y="3239"/>
                    <a:pt x="46673" y="7144"/>
                  </a:cubicBezTo>
                  <a:lnTo>
                    <a:pt x="46673" y="23336"/>
                  </a:lnTo>
                  <a:cubicBezTo>
                    <a:pt x="46673"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49" name="Grafik 5">
              <a:extLst>
                <a:ext uri="{FF2B5EF4-FFF2-40B4-BE49-F238E27FC236}">
                  <a16:creationId xmlns:a16="http://schemas.microsoft.com/office/drawing/2014/main" id="{69D7318E-F2AF-FCBB-494D-6ED8DB415177}"/>
                </a:ext>
              </a:extLst>
            </p:cNvPr>
            <p:cNvSpPr/>
            <p:nvPr/>
          </p:nvSpPr>
          <p:spPr>
            <a:xfrm>
              <a:off x="5942647"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1"/>
                    <a:pt x="0" y="23336"/>
                  </a:cubicBezTo>
                  <a:lnTo>
                    <a:pt x="0" y="7144"/>
                  </a:lnTo>
                  <a:cubicBezTo>
                    <a:pt x="0" y="3238"/>
                    <a:pt x="3238" y="0"/>
                    <a:pt x="7144" y="0"/>
                  </a:cubicBezTo>
                  <a:lnTo>
                    <a:pt x="39529" y="0"/>
                  </a:lnTo>
                  <a:cubicBezTo>
                    <a:pt x="43434" y="0"/>
                    <a:pt x="46673" y="3238"/>
                    <a:pt x="46673" y="7144"/>
                  </a:cubicBezTo>
                  <a:lnTo>
                    <a:pt x="46673" y="23336"/>
                  </a:lnTo>
                  <a:cubicBezTo>
                    <a:pt x="46673"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0" name="Grafik 5">
              <a:extLst>
                <a:ext uri="{FF2B5EF4-FFF2-40B4-BE49-F238E27FC236}">
                  <a16:creationId xmlns:a16="http://schemas.microsoft.com/office/drawing/2014/main" id="{AB67D47E-562E-0750-3A6E-D85E0A04959B}"/>
                </a:ext>
              </a:extLst>
            </p:cNvPr>
            <p:cNvSpPr/>
            <p:nvPr/>
          </p:nvSpPr>
          <p:spPr>
            <a:xfrm>
              <a:off x="6137052"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2"/>
                    <a:pt x="0" y="23336"/>
                  </a:cubicBezTo>
                  <a:lnTo>
                    <a:pt x="0" y="7144"/>
                  </a:lnTo>
                  <a:cubicBezTo>
                    <a:pt x="0" y="3239"/>
                    <a:pt x="3239" y="0"/>
                    <a:pt x="7144" y="0"/>
                  </a:cubicBezTo>
                  <a:lnTo>
                    <a:pt x="39529" y="0"/>
                  </a:lnTo>
                  <a:cubicBezTo>
                    <a:pt x="43434" y="0"/>
                    <a:pt x="46672" y="3239"/>
                    <a:pt x="46672" y="7144"/>
                  </a:cubicBezTo>
                  <a:lnTo>
                    <a:pt x="46672" y="23336"/>
                  </a:lnTo>
                  <a:cubicBezTo>
                    <a:pt x="46672"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51" name="Grafik 5">
              <a:extLst>
                <a:ext uri="{FF2B5EF4-FFF2-40B4-BE49-F238E27FC236}">
                  <a16:creationId xmlns:a16="http://schemas.microsoft.com/office/drawing/2014/main" id="{6ECE201E-F615-CC49-3C86-525FF49B7BBE}"/>
                </a:ext>
              </a:extLst>
            </p:cNvPr>
            <p:cNvSpPr/>
            <p:nvPr/>
          </p:nvSpPr>
          <p:spPr>
            <a:xfrm>
              <a:off x="6137052"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1"/>
                    <a:pt x="0" y="23336"/>
                  </a:cubicBezTo>
                  <a:lnTo>
                    <a:pt x="0" y="7144"/>
                  </a:lnTo>
                  <a:cubicBezTo>
                    <a:pt x="0" y="3238"/>
                    <a:pt x="3239" y="0"/>
                    <a:pt x="7144" y="0"/>
                  </a:cubicBezTo>
                  <a:lnTo>
                    <a:pt x="39529" y="0"/>
                  </a:lnTo>
                  <a:cubicBezTo>
                    <a:pt x="43434" y="0"/>
                    <a:pt x="46672" y="3238"/>
                    <a:pt x="46672" y="7144"/>
                  </a:cubicBezTo>
                  <a:lnTo>
                    <a:pt x="46672" y="23336"/>
                  </a:lnTo>
                  <a:cubicBezTo>
                    <a:pt x="46672"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A0A335FB-FCE1-B376-1E11-A693389C5B77}"/>
                </a:ext>
              </a:extLst>
            </p:cNvPr>
            <p:cNvSpPr/>
            <p:nvPr/>
          </p:nvSpPr>
          <p:spPr>
            <a:xfrm>
              <a:off x="5975060" y="3281933"/>
              <a:ext cx="176251" cy="62864"/>
            </a:xfrm>
            <a:custGeom>
              <a:avLst/>
              <a:gdLst>
                <a:gd name="connsiteX0" fmla="*/ 169136 w 176251"/>
                <a:gd name="connsiteY0" fmla="*/ 62865 h 62864"/>
                <a:gd name="connsiteX1" fmla="*/ 7116 w 176251"/>
                <a:gd name="connsiteY1" fmla="*/ 62865 h 62864"/>
                <a:gd name="connsiteX2" fmla="*/ 67 w 176251"/>
                <a:gd name="connsiteY2" fmla="*/ 56769 h 62864"/>
                <a:gd name="connsiteX3" fmla="*/ 5115 w 176251"/>
                <a:gd name="connsiteY3" fmla="*/ 48863 h 62864"/>
                <a:gd name="connsiteX4" fmla="*/ 63313 w 176251"/>
                <a:gd name="connsiteY4" fmla="*/ 31432 h 62864"/>
                <a:gd name="connsiteX5" fmla="*/ 5115 w 176251"/>
                <a:gd name="connsiteY5" fmla="*/ 14002 h 62864"/>
                <a:gd name="connsiteX6" fmla="*/ 67 w 176251"/>
                <a:gd name="connsiteY6" fmla="*/ 6096 h 62864"/>
                <a:gd name="connsiteX7" fmla="*/ 7116 w 176251"/>
                <a:gd name="connsiteY7" fmla="*/ 0 h 62864"/>
                <a:gd name="connsiteX8" fmla="*/ 169136 w 176251"/>
                <a:gd name="connsiteY8" fmla="*/ 0 h 62864"/>
                <a:gd name="connsiteX9" fmla="*/ 176184 w 176251"/>
                <a:gd name="connsiteY9" fmla="*/ 6096 h 62864"/>
                <a:gd name="connsiteX10" fmla="*/ 171136 w 176251"/>
                <a:gd name="connsiteY10" fmla="*/ 14002 h 62864"/>
                <a:gd name="connsiteX11" fmla="*/ 112938 w 176251"/>
                <a:gd name="connsiteY11" fmla="*/ 31432 h 62864"/>
                <a:gd name="connsiteX12" fmla="*/ 171136 w 176251"/>
                <a:gd name="connsiteY12" fmla="*/ 48863 h 62864"/>
                <a:gd name="connsiteX13" fmla="*/ 176184 w 176251"/>
                <a:gd name="connsiteY13" fmla="*/ 56769 h 62864"/>
                <a:gd name="connsiteX14" fmla="*/ 169136 w 176251"/>
                <a:gd name="connsiteY14" fmla="*/ 62865 h 62864"/>
                <a:gd name="connsiteX15" fmla="*/ 55788 w 176251"/>
                <a:gd name="connsiteY15" fmla="*/ 48577 h 62864"/>
                <a:gd name="connsiteX16" fmla="*/ 120463 w 176251"/>
                <a:gd name="connsiteY16" fmla="*/ 48577 h 62864"/>
                <a:gd name="connsiteX17" fmla="*/ 88173 w 176251"/>
                <a:gd name="connsiteY17" fmla="*/ 38862 h 62864"/>
                <a:gd name="connsiteX18" fmla="*/ 55788 w 176251"/>
                <a:gd name="connsiteY18" fmla="*/ 48577 h 62864"/>
                <a:gd name="connsiteX19" fmla="*/ 55788 w 176251"/>
                <a:gd name="connsiteY19" fmla="*/ 14192 h 62864"/>
                <a:gd name="connsiteX20" fmla="*/ 88078 w 176251"/>
                <a:gd name="connsiteY20" fmla="*/ 23908 h 62864"/>
                <a:gd name="connsiteX21" fmla="*/ 120368 w 176251"/>
                <a:gd name="connsiteY21" fmla="*/ 14192 h 62864"/>
                <a:gd name="connsiteX22" fmla="*/ 55788 w 176251"/>
                <a:gd name="connsiteY22"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251" h="62864">
                  <a:moveTo>
                    <a:pt x="169136" y="62865"/>
                  </a:moveTo>
                  <a:lnTo>
                    <a:pt x="7116" y="62865"/>
                  </a:lnTo>
                  <a:cubicBezTo>
                    <a:pt x="3591" y="62865"/>
                    <a:pt x="543" y="60293"/>
                    <a:pt x="67" y="56769"/>
                  </a:cubicBezTo>
                  <a:cubicBezTo>
                    <a:pt x="-409" y="53245"/>
                    <a:pt x="1686" y="49911"/>
                    <a:pt x="5115" y="48863"/>
                  </a:cubicBezTo>
                  <a:lnTo>
                    <a:pt x="63313" y="31432"/>
                  </a:lnTo>
                  <a:lnTo>
                    <a:pt x="5115" y="14002"/>
                  </a:lnTo>
                  <a:cubicBezTo>
                    <a:pt x="1686" y="12954"/>
                    <a:pt x="-409" y="9620"/>
                    <a:pt x="67" y="6096"/>
                  </a:cubicBezTo>
                  <a:cubicBezTo>
                    <a:pt x="543" y="2572"/>
                    <a:pt x="3591" y="0"/>
                    <a:pt x="7116" y="0"/>
                  </a:cubicBezTo>
                  <a:lnTo>
                    <a:pt x="169136" y="0"/>
                  </a:lnTo>
                  <a:cubicBezTo>
                    <a:pt x="172660" y="0"/>
                    <a:pt x="175708" y="2572"/>
                    <a:pt x="176184" y="6096"/>
                  </a:cubicBezTo>
                  <a:cubicBezTo>
                    <a:pt x="176661" y="9620"/>
                    <a:pt x="174565" y="12954"/>
                    <a:pt x="171136" y="14002"/>
                  </a:cubicBezTo>
                  <a:lnTo>
                    <a:pt x="112938" y="31432"/>
                  </a:lnTo>
                  <a:lnTo>
                    <a:pt x="171136" y="48863"/>
                  </a:lnTo>
                  <a:cubicBezTo>
                    <a:pt x="174565" y="49911"/>
                    <a:pt x="176661" y="53245"/>
                    <a:pt x="176184" y="56769"/>
                  </a:cubicBezTo>
                  <a:cubicBezTo>
                    <a:pt x="175708" y="60198"/>
                    <a:pt x="172660" y="62865"/>
                    <a:pt x="169136" y="62865"/>
                  </a:cubicBezTo>
                  <a:close/>
                  <a:moveTo>
                    <a:pt x="55788" y="48577"/>
                  </a:moveTo>
                  <a:lnTo>
                    <a:pt x="120463" y="48577"/>
                  </a:lnTo>
                  <a:lnTo>
                    <a:pt x="88173" y="38862"/>
                  </a:lnTo>
                  <a:lnTo>
                    <a:pt x="55788" y="48577"/>
                  </a:lnTo>
                  <a:close/>
                  <a:moveTo>
                    <a:pt x="55788" y="14192"/>
                  </a:moveTo>
                  <a:lnTo>
                    <a:pt x="88078" y="23908"/>
                  </a:lnTo>
                  <a:lnTo>
                    <a:pt x="120368" y="14192"/>
                  </a:lnTo>
                  <a:lnTo>
                    <a:pt x="55788" y="14192"/>
                  </a:lnTo>
                  <a:close/>
                </a:path>
              </a:pathLst>
            </a:custGeom>
            <a:grpFill/>
            <a:ln w="9525" cap="flat">
              <a:noFill/>
              <a:prstDash val="solid"/>
              <a:miter/>
            </a:ln>
          </p:spPr>
          <p:txBody>
            <a:bodyPr lIns="0" tIns="0" rIns="0" bIns="0" rtlCol="0" anchor="ctr"/>
            <a:lstStyle/>
            <a:p>
              <a:endParaRPr lang="en-US"/>
            </a:p>
          </p:txBody>
        </p:sp>
      </p:grpSp>
    </p:spTree>
    <p:extLst>
      <p:ext uri="{BB962C8B-B14F-4D97-AF65-F5344CB8AC3E}">
        <p14:creationId xmlns:p14="http://schemas.microsoft.com/office/powerpoint/2010/main" val="2143891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60524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2085922"/>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566601"/>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33034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784093"/>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520906"/>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500158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11" name="Title 1">
            <a:extLst>
              <a:ext uri="{FF2B5EF4-FFF2-40B4-BE49-F238E27FC236}">
                <a16:creationId xmlns:a16="http://schemas.microsoft.com/office/drawing/2014/main" id="{0F5F61A7-FE84-6598-59BE-869F5AE4D4D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NOS Controller</a:t>
            </a:r>
            <a:endParaRPr lang="en-DE" sz="3600" dirty="0"/>
          </a:p>
        </p:txBody>
      </p:sp>
      <p:pic>
        <p:nvPicPr>
          <p:cNvPr id="13" name="Picture 12">
            <a:extLst>
              <a:ext uri="{FF2B5EF4-FFF2-40B4-BE49-F238E27FC236}">
                <a16:creationId xmlns:a16="http://schemas.microsoft.com/office/drawing/2014/main" id="{3C6E9CE2-28BC-788D-80E4-EA7F78211066}"/>
              </a:ext>
            </a:extLst>
          </p:cNvPr>
          <p:cNvPicPr>
            <a:picLocks noChangeAspect="1"/>
          </p:cNvPicPr>
          <p:nvPr/>
        </p:nvPicPr>
        <p:blipFill>
          <a:blip r:embed="rId2"/>
          <a:stretch>
            <a:fillRect/>
          </a:stretch>
        </p:blipFill>
        <p:spPr>
          <a:xfrm>
            <a:off x="2068855" y="1219557"/>
            <a:ext cx="8054289" cy="4782435"/>
          </a:xfrm>
          <a:prstGeom prst="rect">
            <a:avLst/>
          </a:prstGeom>
        </p:spPr>
      </p:pic>
    </p:spTree>
    <p:extLst>
      <p:ext uri="{BB962C8B-B14F-4D97-AF65-F5344CB8AC3E}">
        <p14:creationId xmlns:p14="http://schemas.microsoft.com/office/powerpoint/2010/main" val="4018439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3AC9DB4-167D-C706-93BC-515B73158EBD}"/>
              </a:ext>
            </a:extLst>
          </p:cNvPr>
          <p:cNvSpPr/>
          <p:nvPr/>
        </p:nvSpPr>
        <p:spPr>
          <a:xfrm>
            <a:off x="3072997" y="13013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3072997" y="17099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3072997" y="21185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3072997" y="49178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3072997" y="53264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5495196" y="20737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3291456"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7310838"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5301147"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3072997" y="45092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
        <p:nvSpPr>
          <p:cNvPr id="10" name="Title 1">
            <a:extLst>
              <a:ext uri="{FF2B5EF4-FFF2-40B4-BE49-F238E27FC236}">
                <a16:creationId xmlns:a16="http://schemas.microsoft.com/office/drawing/2014/main" id="{19AE2736-120C-FF00-B794-3476E345D68A}"/>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Daylight Controller</a:t>
            </a:r>
            <a:endParaRPr lang="en-DE" sz="3600" dirty="0"/>
          </a:p>
        </p:txBody>
      </p:sp>
      <p:pic>
        <p:nvPicPr>
          <p:cNvPr id="15" name="Picture 14">
            <a:extLst>
              <a:ext uri="{FF2B5EF4-FFF2-40B4-BE49-F238E27FC236}">
                <a16:creationId xmlns:a16="http://schemas.microsoft.com/office/drawing/2014/main" id="{A37203AD-6430-174A-23D4-9BB9A134A53A}"/>
              </a:ext>
            </a:extLst>
          </p:cNvPr>
          <p:cNvPicPr>
            <a:picLocks noChangeAspect="1"/>
          </p:cNvPicPr>
          <p:nvPr/>
        </p:nvPicPr>
        <p:blipFill>
          <a:blip r:embed="rId2"/>
          <a:stretch>
            <a:fillRect/>
          </a:stretch>
        </p:blipFill>
        <p:spPr>
          <a:xfrm>
            <a:off x="2381743" y="1224207"/>
            <a:ext cx="7428513" cy="5092364"/>
          </a:xfrm>
          <a:prstGeom prst="rect">
            <a:avLst/>
          </a:prstGeom>
        </p:spPr>
      </p:pic>
    </p:spTree>
    <p:extLst>
      <p:ext uri="{BB962C8B-B14F-4D97-AF65-F5344CB8AC3E}">
        <p14:creationId xmlns:p14="http://schemas.microsoft.com/office/powerpoint/2010/main" val="1269405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0B805173-8BFB-DA69-9ACB-FF0D8B043379}"/>
              </a:ext>
            </a:extLst>
          </p:cNvPr>
          <p:cNvSpPr/>
          <p:nvPr/>
        </p:nvSpPr>
        <p:spPr>
          <a:xfrm>
            <a:off x="3208990" y="162285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3208990" y="202733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3208990" y="243181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3208990" y="48183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3208990" y="522279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5562718" y="242388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3541464" y="278224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3541464" y="312022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3541464" y="345821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6590897" y="345821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
        <p:nvSpPr>
          <p:cNvPr id="3" name="Title 1">
            <a:extLst>
              <a:ext uri="{FF2B5EF4-FFF2-40B4-BE49-F238E27FC236}">
                <a16:creationId xmlns:a16="http://schemas.microsoft.com/office/drawing/2014/main" id="{97D6C0B8-7EC1-A902-B14B-5FF4A774C5EE}"/>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Ryu Controller</a:t>
            </a:r>
            <a:endParaRPr lang="en-DE" sz="3600" dirty="0"/>
          </a:p>
        </p:txBody>
      </p:sp>
      <p:pic>
        <p:nvPicPr>
          <p:cNvPr id="5" name="Picture 4">
            <a:extLst>
              <a:ext uri="{FF2B5EF4-FFF2-40B4-BE49-F238E27FC236}">
                <a16:creationId xmlns:a16="http://schemas.microsoft.com/office/drawing/2014/main" id="{C71DD254-A371-CD60-B784-E9349C6A3BE3}"/>
              </a:ext>
            </a:extLst>
          </p:cNvPr>
          <p:cNvPicPr>
            <a:picLocks noChangeAspect="1"/>
          </p:cNvPicPr>
          <p:nvPr/>
        </p:nvPicPr>
        <p:blipFill>
          <a:blip r:embed="rId2"/>
          <a:stretch>
            <a:fillRect/>
          </a:stretch>
        </p:blipFill>
        <p:spPr>
          <a:xfrm>
            <a:off x="1779630" y="1144966"/>
            <a:ext cx="8632740" cy="5347909"/>
          </a:xfrm>
          <a:prstGeom prst="rect">
            <a:avLst/>
          </a:prstGeom>
        </p:spPr>
      </p:pic>
    </p:spTree>
    <p:extLst>
      <p:ext uri="{BB962C8B-B14F-4D97-AF65-F5344CB8AC3E}">
        <p14:creationId xmlns:p14="http://schemas.microsoft.com/office/powerpoint/2010/main" val="2673093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486</Words>
  <Application>Microsoft Office PowerPoint</Application>
  <PresentationFormat>Widescreen</PresentationFormat>
  <Paragraphs>868</Paragraphs>
  <Slides>6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1" baseType="lpstr">
      <vt:lpstr>-apple-system</vt:lpstr>
      <vt:lpstr>Arial</vt:lpstr>
      <vt:lpstr>Bahnschrift Light Condensed</vt:lpstr>
      <vt:lpstr>Calibri</vt:lpstr>
      <vt:lpstr>Calibri Light</vt:lpstr>
      <vt:lpstr>Times New Roman</vt:lpstr>
      <vt:lpstr>Wingdings</vt:lpstr>
      <vt:lpstr>Office Theme</vt:lpstr>
      <vt:lpstr>think-cell Slide</vt:lpstr>
      <vt:lpstr>SDN based Network Management in Emulated Environment</vt:lpstr>
      <vt:lpstr>Agenda</vt:lpstr>
      <vt:lpstr>SDN Architecture</vt:lpstr>
      <vt:lpstr>Different SDN Architectures (1/3)</vt:lpstr>
      <vt:lpstr>Different SDN Architectures (2/3)</vt:lpstr>
      <vt:lpstr>Different SDN Architectures (3/3)</vt:lpstr>
      <vt:lpstr>PowerPoint Presentation</vt:lpstr>
      <vt:lpstr>PowerPoint Presentation</vt:lpstr>
      <vt:lpstr>PowerPoint Presentation</vt:lpstr>
      <vt:lpstr>PowerPoint Presentation</vt:lpstr>
      <vt:lpstr>PowerPoint Presentation</vt:lpstr>
      <vt:lpstr>SDN network emulators</vt:lpstr>
      <vt:lpstr>Flow Rules</vt:lpstr>
      <vt:lpstr>PowerPoint Presentation</vt:lpstr>
      <vt:lpstr>I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DN network components</vt:lpstr>
      <vt:lpstr>SDN Archite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221</cp:revision>
  <dcterms:created xsi:type="dcterms:W3CDTF">2022-07-08T09:27:23Z</dcterms:created>
  <dcterms:modified xsi:type="dcterms:W3CDTF">2022-10-20T17:45:14Z</dcterms:modified>
</cp:coreProperties>
</file>